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19" r:id="rId1"/>
    <p:sldMasterId id="2147483782" r:id="rId2"/>
    <p:sldMasterId id="2147483843" r:id="rId3"/>
    <p:sldMasterId id="2147483870" r:id="rId4"/>
    <p:sldMasterId id="2147483886" r:id="rId5"/>
    <p:sldMasterId id="2147483913" r:id="rId6"/>
    <p:sldMasterId id="2147483955" r:id="rId7"/>
  </p:sldMasterIdLst>
  <p:notesMasterIdLst>
    <p:notesMasterId r:id="rId39"/>
  </p:notesMasterIdLst>
  <p:sldIdLst>
    <p:sldId id="1001" r:id="rId8"/>
    <p:sldId id="914" r:id="rId9"/>
    <p:sldId id="982" r:id="rId10"/>
    <p:sldId id="1012" r:id="rId11"/>
    <p:sldId id="995" r:id="rId12"/>
    <p:sldId id="996" r:id="rId13"/>
    <p:sldId id="997" r:id="rId14"/>
    <p:sldId id="998" r:id="rId15"/>
    <p:sldId id="1014" r:id="rId16"/>
    <p:sldId id="1000" r:id="rId17"/>
    <p:sldId id="1003" r:id="rId18"/>
    <p:sldId id="947" r:id="rId19"/>
    <p:sldId id="949" r:id="rId20"/>
    <p:sldId id="289" r:id="rId21"/>
    <p:sldId id="953" r:id="rId22"/>
    <p:sldId id="1004" r:id="rId23"/>
    <p:sldId id="1005" r:id="rId24"/>
    <p:sldId id="1013" r:id="rId25"/>
    <p:sldId id="286" r:id="rId26"/>
    <p:sldId id="994" r:id="rId27"/>
    <p:sldId id="1006" r:id="rId28"/>
    <p:sldId id="1007" r:id="rId29"/>
    <p:sldId id="1008" r:id="rId30"/>
    <p:sldId id="1010" r:id="rId31"/>
    <p:sldId id="1009" r:id="rId32"/>
    <p:sldId id="943" r:id="rId33"/>
    <p:sldId id="1011" r:id="rId34"/>
    <p:sldId id="1015" r:id="rId35"/>
    <p:sldId id="1017" r:id="rId36"/>
    <p:sldId id="992" r:id="rId37"/>
    <p:sldId id="1016" r:id="rId38"/>
  </p:sldIdLst>
  <p:sldSz cx="12188825" cy="6858000"/>
  <p:notesSz cx="7010400" cy="9296400"/>
  <p:embeddedFontLst>
    <p:embeddedFont>
      <p:font typeface="Arial Black" panose="020B0A04020102020204" pitchFamily="34" charset="0"/>
      <p:bold r:id="rId40"/>
    </p:embeddedFont>
    <p:embeddedFont>
      <p:font typeface="Arial Narrow" panose="020B0606020202030204" pitchFamily="34" charset="0"/>
      <p:regular r:id="rId41"/>
      <p:bold r:id="rId42"/>
      <p:italic r:id="rId43"/>
      <p:boldItalic r:id="rId44"/>
    </p:embeddedFont>
    <p:embeddedFont>
      <p:font typeface="Helvetica" panose="020B0604020202020204" pitchFamily="34" charset="0"/>
      <p:regular r:id="rId45"/>
      <p:bold r:id="rId46"/>
      <p:italic r:id="rId47"/>
      <p:boldItalic r:id="rId48"/>
    </p:embeddedFont>
    <p:embeddedFont>
      <p:font typeface="Helvetica Neue" panose="020B0604020202020204" charset="0"/>
      <p:regular r:id="rId49"/>
      <p:bold r:id="rId50"/>
      <p:italic r:id="rId51"/>
      <p:boldItalic r:id="rId52"/>
    </p:embeddedFont>
    <p:embeddedFont>
      <p:font typeface="Segoe UI" panose="020B0502040204020203" pitchFamily="34" charset="0"/>
      <p:regular r:id="rId53"/>
      <p:bold r:id="rId54"/>
      <p:italic r:id="rId55"/>
      <p:boldItalic r:id="rId5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4201" userDrawn="1">
          <p15:clr>
            <a:srgbClr val="A4A3A4"/>
          </p15:clr>
        </p15:guide>
        <p15:guide id="2" orient="horz" pos="3430" userDrawn="1">
          <p15:clr>
            <a:srgbClr val="A4A3A4"/>
          </p15:clr>
        </p15:guide>
        <p15:guide id="3" orient="horz" pos="2001" userDrawn="1">
          <p15:clr>
            <a:srgbClr val="A4A3A4"/>
          </p15:clr>
        </p15:guide>
        <p15:guide id="5" pos="369">
          <p15:clr>
            <a:srgbClr val="A4A3A4"/>
          </p15:clr>
        </p15:guide>
        <p15:guide id="6" pos="3385" userDrawn="1">
          <p15:clr>
            <a:srgbClr val="A4A3A4"/>
          </p15:clr>
        </p15:guide>
        <p15:guide id="7" orient="horz" pos="3770" userDrawn="1">
          <p15:clr>
            <a:srgbClr val="A4A3A4"/>
          </p15:clr>
        </p15:guide>
        <p15:guide id="8" pos="6561" userDrawn="1">
          <p15:clr>
            <a:srgbClr val="A4A3A4"/>
          </p15:clr>
        </p15:guide>
        <p15:guide id="9" pos="6493" userDrawn="1">
          <p15:clr>
            <a:srgbClr val="A4A3A4"/>
          </p15:clr>
        </p15:guide>
        <p15:guide id="10" pos="6379" userDrawn="1">
          <p15:clr>
            <a:srgbClr val="A4A3A4"/>
          </p15:clr>
        </p15:guide>
        <p15:guide id="11" pos="2478" userDrawn="1">
          <p15:clr>
            <a:srgbClr val="A4A3A4"/>
          </p15:clr>
        </p15:guide>
        <p15:guide id="12" orient="horz" pos="4088">
          <p15:clr>
            <a:srgbClr val="A4A3A4"/>
          </p15:clr>
        </p15:guide>
        <p15:guide id="14" pos="7400">
          <p15:clr>
            <a:srgbClr val="A4A3A4"/>
          </p15:clr>
        </p15:guide>
        <p15:guide id="15" pos="5222" userDrawn="1">
          <p15:clr>
            <a:srgbClr val="A4A3A4"/>
          </p15:clr>
        </p15:guide>
        <p15:guide id="16" orient="horz" pos="3861" userDrawn="1">
          <p15:clr>
            <a:srgbClr val="A4A3A4"/>
          </p15:clr>
        </p15:guide>
        <p15:guide id="17" orient="horz" pos="3090" userDrawn="1">
          <p15:clr>
            <a:srgbClr val="A4A3A4"/>
          </p15:clr>
        </p15:guide>
        <p15:guide id="18" orient="horz" pos="3906" userDrawn="1">
          <p15:clr>
            <a:srgbClr val="A4A3A4"/>
          </p15:clr>
        </p15:guide>
        <p15:guide id="19" pos="1322" userDrawn="1">
          <p15:clr>
            <a:srgbClr val="A4A3A4"/>
          </p15:clr>
        </p15:guide>
        <p15:guide id="20" orient="horz" pos="1729"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8" roundtripDataSignature="AMtx7mjBNPYahRaGsYyr6je/UAc9CVn5x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527C"/>
    <a:srgbClr val="BB8CA1"/>
    <a:srgbClr val="700046"/>
    <a:srgbClr val="F7F7F7"/>
    <a:srgbClr val="8500C4"/>
    <a:srgbClr val="FF25A1"/>
    <a:srgbClr val="FBCBE0"/>
    <a:srgbClr val="FF6DC0"/>
    <a:srgbClr val="405888"/>
    <a:srgbClr val="C837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FE0B01F-B86F-4725-B9D8-CF90B0B6C2EF}">
  <a:tblStyle styleId="{CFE0B01F-B86F-4725-B9D8-CF90B0B6C2EF}"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7E6EA"/>
          </a:solidFill>
        </a:fill>
      </a:tcStyle>
    </a:wholeTbl>
    <a:band1H>
      <a:tcTxStyle/>
      <a:tcStyle>
        <a:tcBdr/>
        <a:fill>
          <a:solidFill>
            <a:srgbClr val="EFCAD2"/>
          </a:solidFill>
        </a:fill>
      </a:tcStyle>
    </a:band1H>
    <a:band2H>
      <a:tcTxStyle/>
      <a:tcStyle>
        <a:tcBdr/>
      </a:tcStyle>
    </a:band2H>
    <a:band1V>
      <a:tcTxStyle/>
      <a:tcStyle>
        <a:tcBdr/>
        <a:fill>
          <a:solidFill>
            <a:srgbClr val="EFCAD2"/>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36054A13-BE3E-42F9-8B62-0DA6EC9EEC8E}" styleName="Table_1">
    <a:wholeTbl>
      <a:tcTxStyle b="off" i="off">
        <a:font>
          <a:latin typeface="Calibri"/>
          <a:ea typeface="Calibri"/>
          <a:cs typeface="Calibri"/>
        </a:font>
        <a:schemeClr val="dk1"/>
      </a:tcTxStyle>
      <a:tcStyle>
        <a:tcBdr>
          <a:left>
            <a:ln w="12700" cap="flat" cmpd="sng">
              <a:solidFill>
                <a:schemeClr val="dk1"/>
              </a:solidFill>
              <a:prstDash val="solid"/>
              <a:round/>
              <a:headEnd type="none" w="sm" len="sm"/>
              <a:tailEnd type="none" w="sm" len="sm"/>
            </a:ln>
          </a:left>
          <a:right>
            <a:ln w="12700" cap="flat" cmpd="sng">
              <a:solidFill>
                <a:schemeClr val="dk1"/>
              </a:solidFill>
              <a:prstDash val="solid"/>
              <a:round/>
              <a:headEnd type="none" w="sm" len="sm"/>
              <a:tailEnd type="none" w="sm" len="sm"/>
            </a:ln>
          </a:right>
          <a:top>
            <a:ln w="12700" cap="flat" cmpd="sng">
              <a:solidFill>
                <a:schemeClr val="dk1"/>
              </a:solidFill>
              <a:prstDash val="solid"/>
              <a:round/>
              <a:headEnd type="none" w="sm" len="sm"/>
              <a:tailEnd type="none" w="sm" len="sm"/>
            </a:ln>
          </a:top>
          <a:bottom>
            <a:ln w="12700" cap="flat" cmpd="sng">
              <a:solidFill>
                <a:schemeClr val="dk1"/>
              </a:solidFill>
              <a:prstDash val="solid"/>
              <a:round/>
              <a:headEnd type="none" w="sm" len="sm"/>
              <a:tailEnd type="none" w="sm" len="sm"/>
            </a:ln>
          </a:bottom>
          <a:insideH>
            <a:ln w="12700" cap="flat" cmpd="sng">
              <a:solidFill>
                <a:schemeClr val="dk1"/>
              </a:solidFill>
              <a:prstDash val="solid"/>
              <a:round/>
              <a:headEnd type="none" w="sm" len="sm"/>
              <a:tailEnd type="none" w="sm" len="sm"/>
            </a:ln>
          </a:insideH>
          <a:insideV>
            <a:ln w="12700" cap="flat" cmpd="sng">
              <a:solidFill>
                <a:schemeClr val="dk1"/>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autoAdjust="0"/>
    <p:restoredTop sz="77560" autoAdjust="0"/>
  </p:normalViewPr>
  <p:slideViewPr>
    <p:cSldViewPr snapToGrid="0">
      <p:cViewPr varScale="1">
        <p:scale>
          <a:sx n="103" d="100"/>
          <a:sy n="103" d="100"/>
        </p:scale>
        <p:origin x="438" y="78"/>
      </p:cViewPr>
      <p:guideLst>
        <p:guide orient="horz" pos="4201"/>
        <p:guide orient="horz" pos="3430"/>
        <p:guide orient="horz" pos="2001"/>
        <p:guide pos="369"/>
        <p:guide pos="3385"/>
        <p:guide orient="horz" pos="3770"/>
        <p:guide pos="6561"/>
        <p:guide pos="6493"/>
        <p:guide pos="6379"/>
        <p:guide pos="2478"/>
        <p:guide orient="horz" pos="4088"/>
        <p:guide pos="7400"/>
        <p:guide pos="5222"/>
        <p:guide orient="horz" pos="3861"/>
        <p:guide orient="horz" pos="3090"/>
        <p:guide orient="horz" pos="3906"/>
        <p:guide pos="1322"/>
        <p:guide orient="horz" pos="1729"/>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0" y="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79" Type="http://schemas.openxmlformats.org/officeDocument/2006/relationships/presProps" Target="presProps.xml"/><Relationship Id="rId5" Type="http://schemas.openxmlformats.org/officeDocument/2006/relationships/slideMaster" Target="slideMasters/slideMaster5.xml"/><Relationship Id="rId82"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8" Type="http://schemas.openxmlformats.org/officeDocument/2006/relationships/slide" Target="slides/slide1.xml"/><Relationship Id="rId51" Type="http://schemas.openxmlformats.org/officeDocument/2006/relationships/font" Target="fonts/font12.fntdata"/><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7.fntdata"/><Relationship Id="rId20" Type="http://schemas.openxmlformats.org/officeDocument/2006/relationships/slide" Target="slides/slide13.xml"/><Relationship Id="rId41" Type="http://schemas.openxmlformats.org/officeDocument/2006/relationships/font" Target="fonts/font2.fntdata"/><Relationship Id="rId54"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font" Target="fonts/font13.fntdata"/><Relationship Id="rId78" Type="http://customschemas.google.com/relationships/presentationmetadata" Target="metadata"/><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4820"/>
          </a:xfrm>
          <a:prstGeom prst="rect">
            <a:avLst/>
          </a:prstGeom>
          <a:noFill/>
          <a:ln>
            <a:noFill/>
          </a:ln>
        </p:spPr>
        <p:txBody>
          <a:bodyPr spcFirstLastPara="1" wrap="square" lIns="93175" tIns="46575" rIns="93175" bIns="46575" anchor="t" anchorCtr="0">
            <a:noAutofit/>
          </a:bodyPr>
          <a:lstStyle>
            <a:lvl1pPr marR="0" lvl="0" algn="l" rtl="0">
              <a:spcBef>
                <a:spcPts val="0"/>
              </a:spcBef>
              <a:spcAft>
                <a:spcPts val="0"/>
              </a:spcAft>
              <a:buClr>
                <a:schemeClr val="dk1"/>
              </a:buClr>
              <a:buSzPts val="1200"/>
              <a:buFont typeface="Noto Sans Symbols"/>
              <a:buNone/>
              <a:defRPr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2pPr>
            <a:lvl3pPr marR="0" lvl="2"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3pPr>
            <a:lvl4pPr marR="0" lvl="3"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4pPr>
            <a:lvl5pPr marR="0" lvl="4"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5pPr>
            <a:lvl6pPr marR="0" lvl="5"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6pPr>
            <a:lvl7pPr marR="0" lvl="6"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7pPr>
            <a:lvl8pPr marR="0" lvl="7"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8pPr>
            <a:lvl9pPr marR="0" lvl="8"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9pPr>
          </a:lstStyle>
          <a:p>
            <a:endParaRPr lang="en-US" dirty="0"/>
          </a:p>
        </p:txBody>
      </p:sp>
      <p:sp>
        <p:nvSpPr>
          <p:cNvPr id="4" name="Google Shape;4;n"/>
          <p:cNvSpPr>
            <a:spLocks noGrp="1" noRot="1" noChangeAspect="1"/>
          </p:cNvSpPr>
          <p:nvPr>
            <p:ph type="sldImg" idx="3"/>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5" name="Google Shape;5;n"/>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lvl1pPr marL="457200" marR="0" lvl="0" indent="-228600" algn="l" rtl="0">
              <a:spcBef>
                <a:spcPts val="48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228600" algn="l" rtl="0">
              <a:spcBef>
                <a:spcPts val="480"/>
              </a:spcBef>
              <a:spcAft>
                <a:spcPts val="0"/>
              </a:spcAft>
              <a:buSzPts val="1400"/>
              <a:buNone/>
              <a:defRPr sz="1600" b="0"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SzPts val="1400"/>
              <a:buNone/>
              <a:defRPr sz="1600" b="0" i="0" u="none" strike="noStrike" cap="none">
                <a:solidFill>
                  <a:schemeClr val="dk1"/>
                </a:solidFill>
                <a:latin typeface="Arial"/>
                <a:ea typeface="Arial"/>
                <a:cs typeface="Arial"/>
                <a:sym typeface="Arial"/>
              </a:defRPr>
            </a:lvl3pPr>
            <a:lvl4pPr marL="1828800" marR="0" lvl="3" indent="-228600" algn="l" rtl="0">
              <a:spcBef>
                <a:spcPts val="480"/>
              </a:spcBef>
              <a:spcAft>
                <a:spcPts val="0"/>
              </a:spcAft>
              <a:buSzPts val="1400"/>
              <a:buNone/>
              <a:defRPr sz="1600" b="0" i="0" u="none" strike="noStrike" cap="none">
                <a:solidFill>
                  <a:schemeClr val="dk1"/>
                </a:solidFill>
                <a:latin typeface="Arial"/>
                <a:ea typeface="Arial"/>
                <a:cs typeface="Arial"/>
                <a:sym typeface="Arial"/>
              </a:defRPr>
            </a:lvl4pPr>
            <a:lvl5pPr marL="2286000" marR="0" lvl="4" indent="-228600" algn="l" rtl="0">
              <a:spcBef>
                <a:spcPts val="480"/>
              </a:spcBef>
              <a:spcAft>
                <a:spcPts val="0"/>
              </a:spcAft>
              <a:buSzPts val="1400"/>
              <a:buNone/>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dirty="0"/>
          </a:p>
        </p:txBody>
      </p:sp>
      <p:sp>
        <p:nvSpPr>
          <p:cNvPr id="6" name="Google Shape;6;n"/>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noAutofit/>
          </a:bodyPr>
          <a:lstStyle>
            <a:lvl1pPr marR="0" lvl="0" algn="l" rtl="0">
              <a:spcBef>
                <a:spcPts val="0"/>
              </a:spcBef>
              <a:spcAft>
                <a:spcPts val="0"/>
              </a:spcAft>
              <a:buClr>
                <a:schemeClr val="dk1"/>
              </a:buClr>
              <a:buSzPts val="1200"/>
              <a:buFont typeface="Noto Sans Symbols"/>
              <a:buNone/>
              <a:defRPr sz="1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2pPr>
            <a:lvl3pPr marR="0" lvl="2"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3pPr>
            <a:lvl4pPr marR="0" lvl="3"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4pPr>
            <a:lvl5pPr marR="0" lvl="4" algn="l" rtl="0">
              <a:spcBef>
                <a:spcPts val="800"/>
              </a:spcBef>
              <a:spcAft>
                <a:spcPts val="0"/>
              </a:spcAft>
              <a:buSzPts val="1400"/>
              <a:buNone/>
              <a:defRPr sz="4000" b="0" i="0" u="none" strike="noStrike" cap="none">
                <a:solidFill>
                  <a:schemeClr val="dk1"/>
                </a:solidFill>
                <a:latin typeface="Helvetica Neue"/>
                <a:ea typeface="Helvetica Neue"/>
                <a:cs typeface="Helvetica Neue"/>
                <a:sym typeface="Helvetica Neue"/>
              </a:defRPr>
            </a:lvl5pPr>
            <a:lvl6pPr marR="0" lvl="5"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6pPr>
            <a:lvl7pPr marR="0" lvl="6"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7pPr>
            <a:lvl8pPr marR="0" lvl="7"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8pPr>
            <a:lvl9pPr marR="0" lvl="8" algn="l" rtl="0">
              <a:spcBef>
                <a:spcPts val="0"/>
              </a:spcBef>
              <a:spcAft>
                <a:spcPts val="0"/>
              </a:spcAft>
              <a:buSzPts val="1400"/>
              <a:buNone/>
              <a:defRPr sz="4000" b="0" i="0" u="none" strike="noStrike" cap="none">
                <a:solidFill>
                  <a:schemeClr val="dk1"/>
                </a:solidFill>
                <a:latin typeface="Helvetica Neue"/>
                <a:ea typeface="Helvetica Neue"/>
                <a:cs typeface="Helvetica Neue"/>
                <a:sym typeface="Helvetica Neue"/>
              </a:defRPr>
            </a:lvl9pPr>
          </a:lstStyle>
          <a:p>
            <a:endParaRPr lang="en-US" dirty="0"/>
          </a:p>
        </p:txBody>
      </p:sp>
      <p:sp>
        <p:nvSpPr>
          <p:cNvPr id="7" name="Google Shape;7;n"/>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lvl1pPr>
              <a:defRPr>
                <a:latin typeface="Calibri" panose="020F0502020204030204" pitchFamily="34" charset="0"/>
                <a:cs typeface="Calibri" panose="020F0502020204030204" pitchFamily="34" charset="0"/>
              </a:defRPr>
            </a:lvl1pPr>
          </a:lstStyle>
          <a:p>
            <a:pPr algn="r">
              <a:buClr>
                <a:schemeClr val="dk1"/>
              </a:buClr>
              <a:buSzPts val="1200"/>
              <a:buFont typeface="Noto Sans Symbols"/>
              <a:buNone/>
            </a:pPr>
            <a:fld id="{00000000-1234-1234-1234-123412341234}" type="slidenum">
              <a:rPr lang="en-US" sz="1200" smtClean="0">
                <a:solidFill>
                  <a:schemeClr val="dk1"/>
                </a:solidFill>
              </a:rPr>
              <a:pPr algn="r">
                <a:buClr>
                  <a:schemeClr val="dk1"/>
                </a:buClr>
                <a:buSzPts val="1200"/>
                <a:buFont typeface="Noto Sans Symbols"/>
                <a:buNone/>
              </a:pPr>
              <a:t>‹#›</a:t>
            </a:fld>
            <a:endParaRPr lang="en-US" sz="1200" dirty="0">
              <a:solidFill>
                <a:schemeClr val="dk1"/>
              </a:solidFill>
            </a:endParaRPr>
          </a:p>
        </p:txBody>
      </p:sp>
    </p:spTree>
    <p:extLst>
      <p:ext uri="{BB962C8B-B14F-4D97-AF65-F5344CB8AC3E}">
        <p14:creationId xmlns:p14="http://schemas.microsoft.com/office/powerpoint/2010/main" val="285501960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checkpoint.com/harmony/"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heckpoint.com/press/2020/check-point-research-covid-19-pandemic-drives-criminal-and-political-cyber-attacks-across-networks-cloud-and-mobile-in-h1-2020/"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checkpoint.com/harmony/browse/"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artner.com/en/insights/coronavirus?utm_source=press-release&amp;utm_medium=press-release&amp;utm_campaign=RM_GB_2020_HRL_NPP_PR1_CORONAVIRUS"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gartner.com/en/newsroom/press-releases/2020-04-03-gartner-cfo-surey-reveals-74-percent-of-organizations-to-shift-some-employees-to-remote-work-permanently2#:~:text=A%20Gartner%2C%20Inc.,remote%20positions%20post%2DCOVID%2019." TargetMode="Externa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checkpoint.com/harmony/"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checkpoint.com/solutions/threat-intelligence-research/"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research.checkpoint.com/2020/cyber-attack-trends-2020-mid-year-report/"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infosecurity-magazine.com/news/swatch-group-hit-by-likely/" TargetMode="External"/><Relationship Id="rId5" Type="http://schemas.openxmlformats.org/officeDocument/2006/relationships/hyperlink" Target="https://www.insurancenews.com.au/international/gallagher-hit-by-ransomware-attack" TargetMode="External"/><Relationship Id="rId4" Type="http://schemas.openxmlformats.org/officeDocument/2006/relationships/hyperlink" Target="https://www.infosecurity-magazine.com/news/ransomware-attack-on-shipping-gian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heckpoint.com/harmony/"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p:txBody>
      </p:sp>
      <p:sp>
        <p:nvSpPr>
          <p:cNvPr id="182" name="Google Shape;182;p1: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20214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indent="-169863">
              <a:lnSpc>
                <a:spcPct val="100000"/>
              </a:lnSpc>
              <a:buClr>
                <a:schemeClr val="bg2"/>
              </a:buClr>
            </a:pP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Check Point Harmony</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consolidates six security products to provide uncompromised protection and simplicity for everyone. The solution protects remote devices and internet connections from the most sophisticated attacks while ensuring Zero-Trust Access to corporate applications – all in a single solution that is easy to use, manage and buy.</a:t>
            </a:r>
          </a:p>
          <a:p>
            <a:pPr marL="169863" indent="-169863">
              <a:lnSpc>
                <a:spcPct val="100000"/>
              </a:lnSpc>
              <a:buClr>
                <a:schemeClr val="bg2"/>
              </a:buClr>
            </a:pP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Check Point Harmony</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is easy to deploy with a simple per-user pricing model and is managed via a cloud service, enabling user-centric security policies to be applied across organizations’ environments.</a:t>
            </a:r>
          </a:p>
          <a:p>
            <a:pPr marL="169863" indent="-169863">
              <a:lnSpc>
                <a:spcPct val="100000"/>
              </a:lnSpc>
              <a:buClr>
                <a:schemeClr val="bg2"/>
              </a:buCl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Lets</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take a closer look into the entire Harmony product suite… </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2857226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1"/>
        <p:cNvGrpSpPr/>
        <p:nvPr/>
      </p:nvGrpSpPr>
      <p:grpSpPr>
        <a:xfrm>
          <a:off x="0" y="0"/>
          <a:ext cx="0" cy="0"/>
          <a:chOff x="0" y="0"/>
          <a:chExt cx="0" cy="0"/>
        </a:xfrm>
      </p:grpSpPr>
      <p:sp>
        <p:nvSpPr>
          <p:cNvPr id="5002" name="Google Shape;5002;p35: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5003" name="Google Shape;5003;p35: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Today more than ever, endpoint security plays a critical role in enabling your remote workforce.</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 Endpoint is a complete endpoint security solution built to protect the remote workforce from today’s complex threat landscape. It prevents the most imminent threats to the endpoint such as ransomware, phishing, or drive-by malware, while quickly minimizing breach impact with autonomous detection and response. </a:t>
            </a:r>
          </a:p>
          <a:p>
            <a:pPr marL="0" marR="0" lvl="0" indent="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dirty="0">
                <a:latin typeface="Calibri" panose="020F0502020204030204" pitchFamily="34" charset="0"/>
                <a:cs typeface="Calibri" panose="020F0502020204030204" pitchFamily="34" charset="0"/>
              </a:rPr>
              <a:t>Multiple capabilities of Harmony Endpoint are provided in a way to ensure endpoints have multi-layered 360 degrees protection.</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r>
              <a:rPr lang="en-US" dirty="0">
                <a:latin typeface="Calibri" panose="020F0502020204030204" pitchFamily="34" charset="0"/>
                <a:cs typeface="Calibri" panose="020F0502020204030204" pitchFamily="34" charset="0"/>
              </a:rPr>
              <a:t>It all starts with reducing the attack surface with VPN, host firewall, data and web protection.</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r>
              <a:rPr lang="en-US" dirty="0">
                <a:latin typeface="Calibri" panose="020F0502020204030204" pitchFamily="34" charset="0"/>
                <a:cs typeface="Calibri" panose="020F0502020204030204" pitchFamily="34" charset="0"/>
              </a:rPr>
              <a:t>Once the surface is reduced, SBA leverages NGAV, anti-malware, anti-phishing, sandboxing and CDR technologies to prevent attacks before they start.</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r>
              <a:rPr lang="en-US" dirty="0">
                <a:latin typeface="Calibri" panose="020F0502020204030204" pitchFamily="34" charset="0"/>
                <a:cs typeface="Calibri" panose="020F0502020204030204" pitchFamily="34" charset="0"/>
              </a:rPr>
              <a:t>Yet, should some try and break through, SBA has a runtime protection in place to address and remediate those attacks with behavioral analysis, anti-ransomware, anti-exploit and other technologies in place.</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p:txBody>
      </p:sp>
      <p:sp>
        <p:nvSpPr>
          <p:cNvPr id="5004" name="Google Shape;5004;p35: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11</a:t>
            </a:fld>
            <a:endParaRPr dirty="0"/>
          </a:p>
        </p:txBody>
      </p:sp>
    </p:spTree>
    <p:extLst>
      <p:ext uri="{BB962C8B-B14F-4D97-AF65-F5344CB8AC3E}">
        <p14:creationId xmlns:p14="http://schemas.microsoft.com/office/powerpoint/2010/main" val="4241546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latin typeface="Calibri" panose="020F0502020204030204" pitchFamily="34" charset="0"/>
                <a:cs typeface="Calibri" panose="020F0502020204030204" pitchFamily="34" charset="0"/>
              </a:rPr>
              <a:t>As a longstanding leader in the network security space, we already have strong capabilities spanning next generation firewall, secure web gateway, advanced threat prevention, DLP, and DNS security. All of these are robust field-proven technologies, which with Harmony, we’ve adapted to the cloud. We are now delivering them as a unified service.</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 Connect is redefining the Secure Access Service Edge (SASE)</a:t>
            </a: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by making it easy to connect any user or branch to any resource, anywhere, without compromising security.  Powered by  11 cloud-delivered security services to ensure secure connectivity at local-level speed.  </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connect offer the flexibility to choose between:</a:t>
            </a:r>
          </a:p>
          <a:p>
            <a:pPr marL="971550" marR="0" lvl="0" indent="-742950" algn="l" defTabSz="914400" rtl="0" eaLnBrk="1" fontAlgn="auto" latinLnBrk="0" hangingPunct="1">
              <a:lnSpc>
                <a:spcPct val="100000"/>
              </a:lnSpc>
              <a:spcBef>
                <a:spcPts val="480"/>
              </a:spcBef>
              <a:spcAft>
                <a:spcPts val="0"/>
              </a:spcAft>
              <a:buClr>
                <a:srgbClr val="000000"/>
              </a:buClr>
              <a:buSzPts val="1400"/>
              <a:buFont typeface="Arial"/>
              <a:buAutoNum type="arabicPeriod"/>
              <a:tabLst/>
              <a:defRPr/>
            </a:pPr>
            <a:r>
              <a:rPr lang="en-US" sz="4000" b="0" i="0" u="none" strike="noStrike" cap="none" dirty="0">
                <a:solidFill>
                  <a:schemeClr val="dk1"/>
                </a:solidFill>
                <a:effectLst/>
                <a:latin typeface="Calibri" panose="020F0502020204030204" pitchFamily="34" charset="0"/>
                <a:cs typeface="Calibri" panose="020F0502020204030204" pitchFamily="34" charset="0"/>
                <a:sym typeface="Arial"/>
              </a:rPr>
              <a:t>Agent based access- (VPN as a service) providing full access to corporate networks &amp; applications.</a:t>
            </a:r>
            <a:endParaRPr lang="en-US" sz="8000" b="1"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571500" marR="0" lvl="0" indent="-342900" algn="l" defTabSz="914400" rtl="0" eaLnBrk="1" fontAlgn="auto" latinLnBrk="0" hangingPunct="1">
              <a:lnSpc>
                <a:spcPct val="100000"/>
              </a:lnSpc>
              <a:spcBef>
                <a:spcPts val="480"/>
              </a:spcBef>
              <a:spcAft>
                <a:spcPts val="0"/>
              </a:spcAft>
              <a:buClr>
                <a:srgbClr val="000000"/>
              </a:buClr>
              <a:buSzPts val="1400"/>
              <a:buFont typeface="Arial"/>
              <a:buAutoNum type="arabicPeriod"/>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Clientless access- let’s take a look in the next slide…</a:t>
            </a:r>
          </a:p>
          <a:p>
            <a:endParaRPr lang="en-US" baseline="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3EEE9B47-791B-47F7-AE03-C0D580CA0B67}" type="slidenum">
              <a:rPr lang="en-US" smtClean="0">
                <a:solidFill>
                  <a:srgbClr val="4D4D4F"/>
                </a:solidFill>
              </a:rPr>
              <a:pPr/>
              <a:t>12</a:t>
            </a:fld>
            <a:endParaRPr lang="en-US" dirty="0">
              <a:solidFill>
                <a:srgbClr val="4D4D4F"/>
              </a:solidFill>
            </a:endParaRPr>
          </a:p>
        </p:txBody>
      </p:sp>
    </p:spTree>
    <p:extLst>
      <p:ext uri="{BB962C8B-B14F-4D97-AF65-F5344CB8AC3E}">
        <p14:creationId xmlns:p14="http://schemas.microsoft.com/office/powerpoint/2010/main" val="959849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Connect</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provides also</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clientless access to corporate application. </a:t>
            </a:r>
          </a:p>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Providing</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Employees &amp; contractors secure and easy access to any corporate application (including web application, remote desktop, SSH remote terminal), simply from a web browser using any device (even mobile and home PC). </a:t>
            </a:r>
            <a:endParaRPr lang="en-US" sz="2400" b="0" i="0" u="none" strike="noStrike" cap="none" dirty="0">
              <a:solidFill>
                <a:schemeClr val="dk1"/>
              </a:solidFill>
              <a:effectLst/>
              <a:latin typeface="Calibri" panose="020F0502020204030204" pitchFamily="34" charset="0"/>
              <a:cs typeface="Calibri" panose="020F0502020204030204" pitchFamily="34" charset="0"/>
              <a:sym typeface="Arial"/>
            </a:endParaRP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We’ve put a huge emphasis making remote access very user-friendly</a:t>
            </a:r>
            <a:r>
              <a:rPr lang="en-US" baseline="0" dirty="0">
                <a:latin typeface="Calibri" panose="020F0502020204030204" pitchFamily="34" charset="0"/>
                <a:cs typeface="Calibri" panose="020F0502020204030204" pitchFamily="34" charset="0"/>
              </a:rPr>
              <a:t>.</a:t>
            </a:r>
          </a:p>
          <a:p>
            <a:r>
              <a:rPr lang="en-US" baseline="0" dirty="0">
                <a:latin typeface="Calibri" panose="020F0502020204030204" pitchFamily="34" charset="0"/>
                <a:cs typeface="Calibri" panose="020F0502020204030204" pitchFamily="34" charset="0"/>
              </a:rPr>
              <a:t>Everything is delivered from within the browser, through a personalized and intuitive user portal to access any application with zero trust network access principles. So user get access only to application they are authorized to use. </a:t>
            </a:r>
          </a:p>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3EEE9B47-791B-47F7-AE03-C0D580CA0B67}" type="slidenum">
              <a:rPr lang="en-US" smtClean="0">
                <a:solidFill>
                  <a:srgbClr val="4D4D4F"/>
                </a:solidFill>
              </a:rPr>
              <a:pPr/>
              <a:t>13</a:t>
            </a:fld>
            <a:endParaRPr lang="en-US" dirty="0">
              <a:solidFill>
                <a:srgbClr val="4D4D4F"/>
              </a:solidFill>
            </a:endParaRPr>
          </a:p>
        </p:txBody>
      </p:sp>
    </p:spTree>
    <p:extLst>
      <p:ext uri="{BB962C8B-B14F-4D97-AF65-F5344CB8AC3E}">
        <p14:creationId xmlns:p14="http://schemas.microsoft.com/office/powerpoint/2010/main" val="183880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7"/>
        <p:cNvGrpSpPr/>
        <p:nvPr/>
      </p:nvGrpSpPr>
      <p:grpSpPr>
        <a:xfrm>
          <a:off x="0" y="0"/>
          <a:ext cx="0" cy="0"/>
          <a:chOff x="0" y="0"/>
          <a:chExt cx="0" cy="0"/>
        </a:xfrm>
      </p:grpSpPr>
      <p:sp>
        <p:nvSpPr>
          <p:cNvPr id="4968" name="Google Shape;4968;p34: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480"/>
              </a:spcBef>
              <a:spcAft>
                <a:spcPts val="0"/>
              </a:spcAft>
              <a:buNone/>
            </a:pP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rPr>
              <a:t> </a:t>
            </a:r>
          </a:p>
          <a:p>
            <a:pPr marL="0" lvl="0" indent="0" algn="l" rtl="0">
              <a:spcBef>
                <a:spcPts val="48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employees require fast and secure web browsing to remain productive, no matter where they are. But the browsing habits of remote workers can pose a significant threat to businesses. That’s because the web is a perilous place, now, more than ever before. As I mentioned earlier,</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in the second quarter of 2020 alone there was a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3,900% increase</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in phishing attacks, according to Check Point threat researchers.</a:t>
            </a:r>
          </a:p>
          <a:p>
            <a:pPr marL="0" lvl="0" indent="0" algn="l" rtl="0">
              <a:spcBef>
                <a:spcPts val="480"/>
              </a:spcBef>
              <a:spcAft>
                <a:spcPts val="0"/>
              </a:spcAft>
              <a:buNone/>
            </a:pPr>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0" lvl="0" indent="0" algn="l" rtl="0">
              <a:spcBef>
                <a:spcPts val="48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s a core component of Harmony, the new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4"/>
              </a:rPr>
              <a:t>Harmony Browse</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uniquely provides secure, fast, and private web browsing by inspecting all SSL traffic directly on the endpoint without adding latency or re-routing traffic through a secure web service. </a:t>
            </a:r>
          </a:p>
          <a:p>
            <a:pPr marL="0" lvl="0" indent="0" algn="l" rtl="0">
              <a:spcBef>
                <a:spcPts val="48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It blocks zero-day malware downloads, access to phishing websites and prevents the reuse of corporate passwords. It also keeps users’ browsing history private, ensuring compliance with data privacy regulations. Harmony Browse is easily deployed as a </a:t>
            </a:r>
            <a:r>
              <a:rPr lang="en-US" sz="1600" b="0" i="0" u="none" strike="noStrike" cap="none" dirty="0" err="1">
                <a:solidFill>
                  <a:schemeClr val="dk1"/>
                </a:solidFill>
                <a:effectLst/>
                <a:latin typeface="Calibri" panose="020F0502020204030204" pitchFamily="34" charset="0"/>
                <a:cs typeface="Calibri" panose="020F0502020204030204" pitchFamily="34" charset="0"/>
                <a:sym typeface="Arial"/>
              </a:rPr>
              <a:t>nano</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gent in users’ browsers, and can be combined with any secure web gateway or endpoint security solution to enhance overall protection.</a:t>
            </a:r>
            <a:endParaRPr dirty="0">
              <a:latin typeface="Calibri" panose="020F0502020204030204" pitchFamily="34" charset="0"/>
              <a:cs typeface="Calibri" panose="020F0502020204030204" pitchFamily="34" charset="0"/>
            </a:endParaRPr>
          </a:p>
        </p:txBody>
      </p:sp>
      <p:sp>
        <p:nvSpPr>
          <p:cNvPr id="4969" name="Google Shape;4969;p34: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56316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Email and collaboration apps have become the most fundamental tools for businesses these days. Not surprisingly, it is also one of the most exploited channels, with Business Email Compromise (BEC) attacks accounting for over 50% of losses caused by cybercrime*. </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 Email &amp; Office protects your users from all imminent threats to cloud and on-</a:t>
            </a:r>
            <a:r>
              <a:rPr lang="en-US" sz="1600" b="0" i="0" u="none" strike="noStrike" cap="none" dirty="0" err="1">
                <a:solidFill>
                  <a:schemeClr val="dk1"/>
                </a:solidFill>
                <a:effectLst/>
                <a:latin typeface="Calibri" panose="020F0502020204030204" pitchFamily="34" charset="0"/>
                <a:cs typeface="Calibri" panose="020F0502020204030204" pitchFamily="34" charset="0"/>
                <a:sym typeface="Arial"/>
              </a:rPr>
              <a:t>prem</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mailboxes, as well as collaboration apps such as Teams, OneDrive, SharePoint and Google Drive. </a:t>
            </a:r>
          </a:p>
          <a:p>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lvl="0"/>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Prevent advance phishing and spear phishing attacks</a:t>
            </a:r>
          </a:p>
          <a:p>
            <a:pPr lvl="0"/>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Block impersonation and Business Email Compromise attempts</a:t>
            </a:r>
          </a:p>
          <a:p>
            <a:pPr lvl="0"/>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Block malicious attachments with malware,</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while providing</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sanitized version to the user within seconds. </a:t>
            </a:r>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lvl="0"/>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Protect users from threats hiding in malicious links </a:t>
            </a:r>
          </a:p>
          <a:p>
            <a:pPr lvl="0"/>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Prevent malicious and unintentional data leakage </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t>
            </a:r>
            <a:endParaRPr lang="en-US" sz="1600" kern="1200" dirty="0">
              <a:solidFill>
                <a:schemeClr val="tx1"/>
              </a:solidFill>
              <a:effectLst/>
              <a:latin typeface="Calibri" panose="020F0502020204030204" pitchFamily="34" charset="0"/>
              <a:ea typeface="+mn-ea"/>
              <a:cs typeface="Calibri" panose="020F0502020204030204" pitchFamily="34" charset="0"/>
            </a:endParaRPr>
          </a:p>
        </p:txBody>
      </p:sp>
      <p:sp>
        <p:nvSpPr>
          <p:cNvPr id="4" name="Slide Number Placeholder 3"/>
          <p:cNvSpPr>
            <a:spLocks noGrp="1"/>
          </p:cNvSpPr>
          <p:nvPr>
            <p:ph type="sldNum" sz="quarter" idx="5"/>
          </p:nvPr>
        </p:nvSpPr>
        <p:spPr/>
        <p:txBody>
          <a:bodyPr/>
          <a:lstStyle/>
          <a:p>
            <a:fld id="{3EEE9B47-791B-47F7-AE03-C0D580CA0B67}" type="slidenum">
              <a:rPr lang="en-US" smtClean="0"/>
              <a:pPr/>
              <a:t>15</a:t>
            </a:fld>
            <a:endParaRPr lang="en-US" dirty="0"/>
          </a:p>
        </p:txBody>
      </p:sp>
    </p:spTree>
    <p:extLst>
      <p:ext uri="{BB962C8B-B14F-4D97-AF65-F5344CB8AC3E}">
        <p14:creationId xmlns:p14="http://schemas.microsoft.com/office/powerpoint/2010/main" val="2422446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panose="020F0502020204030204" pitchFamily="34" charset="0"/>
                <a:cs typeface="Calibri" panose="020F0502020204030204" pitchFamily="34" charset="0"/>
              </a:rPr>
              <a:t>Mobile security is a top concern for every company these days — and for a good reason. In the new normal, your remote workers increasingly access corporate data from their mobile devices. In</a:t>
            </a:r>
            <a:r>
              <a:rPr lang="en-US" baseline="0" dirty="0">
                <a:latin typeface="Calibri" panose="020F0502020204030204" pitchFamily="34" charset="0"/>
                <a:cs typeface="Calibri" panose="020F0502020204030204" pitchFamily="34" charset="0"/>
              </a:rPr>
              <a:t> fact,</a:t>
            </a:r>
            <a:r>
              <a:rPr lang="en-US" dirty="0">
                <a:latin typeface="Calibri" panose="020F0502020204030204" pitchFamily="34" charset="0"/>
                <a:cs typeface="Calibri" panose="020F0502020204030204" pitchFamily="34" charset="0"/>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IDC expects that</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mobile workers will account for nearly 60% of the total U.S. workforce</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by the end of 2024.</a:t>
            </a:r>
          </a:p>
          <a:p>
            <a:endParaRPr lang="en-US" dirty="0">
              <a:latin typeface="Calibri" panose="020F0502020204030204" pitchFamily="34" charset="0"/>
              <a:cs typeface="Calibri" panose="020F0502020204030204" pitchFamily="34" charset="0"/>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Over the past year, researchers at Check Point have been observing a rise in the number of mobile-related attacks as well as entirely new attack methods such as sophisticated mobile ransomware, and MDMs getting weaponized to attack organizations.</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 Mobile I the market-leading threat defense solution. it Keeps your corporate data safe by securing employees’ mobile devices across all attack vectors: apps, network, and OS. It perfectly fits into your existing mobile environment, deploys and scales quickly, and protects devices without impacting user experience nor privacy. </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a:t>
            </a:r>
            <a:endParaRPr lang="en-US" sz="1600" b="1" i="0" u="none" strike="noStrike" cap="none" dirty="0">
              <a:solidFill>
                <a:schemeClr val="dk1"/>
              </a:solidFill>
              <a:effectLst/>
              <a:latin typeface="Calibri" panose="020F0502020204030204" pitchFamily="34" charset="0"/>
              <a:cs typeface="Calibri" panose="020F0502020204030204" pitchFamily="34" charset="0"/>
              <a:sym typeface="Arial"/>
            </a:endParaRPr>
          </a:p>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Clr>
                <a:schemeClr val="dk1"/>
              </a:buClr>
              <a:buSzPts val="1200"/>
              <a:buFont typeface="Noto Sans Symbols"/>
              <a:buNone/>
            </a:pPr>
            <a:fld id="{00000000-1234-1234-1234-123412341234}" type="slidenum">
              <a:rPr lang="en-US" sz="1200" b="0" i="0" u="none" strike="noStrike" cap="none" smtClean="0">
                <a:solidFill>
                  <a:schemeClr val="dk1"/>
                </a:solidFill>
                <a:sym typeface="Arial"/>
              </a:rPr>
              <a:t>16</a:t>
            </a:fld>
            <a:endParaRPr lang="en-US" sz="1200" b="0" i="0" u="none" strike="noStrike" cap="none" dirty="0">
              <a:solidFill>
                <a:schemeClr val="dk1"/>
              </a:solidFill>
              <a:sym typeface="Arial"/>
            </a:endParaRPr>
          </a:p>
        </p:txBody>
      </p:sp>
    </p:spTree>
    <p:extLst>
      <p:ext uri="{BB962C8B-B14F-4D97-AF65-F5344CB8AC3E}">
        <p14:creationId xmlns:p14="http://schemas.microsoft.com/office/powerpoint/2010/main" val="305873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2"/>
        <p:cNvGrpSpPr/>
        <p:nvPr/>
      </p:nvGrpSpPr>
      <p:grpSpPr>
        <a:xfrm>
          <a:off x="0" y="0"/>
          <a:ext cx="0" cy="0"/>
          <a:chOff x="0" y="0"/>
          <a:chExt cx="0" cy="0"/>
        </a:xfrm>
      </p:grpSpPr>
      <p:sp>
        <p:nvSpPr>
          <p:cNvPr id="3633" name="Google Shape;3633;p27: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634" name="Google Shape;3634;p27: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ll capabilities are integrated and managed through Check Point’s Infinity Portal, which provides teams with unified policy management, consolidated security reports, event management and forensics for all Harmony solutions. It also includes the capabilities of Check Point’s </a:t>
            </a:r>
            <a:r>
              <a:rPr lang="en-US" sz="1600" b="0" i="0" u="none" strike="noStrike" cap="none" dirty="0" err="1">
                <a:solidFill>
                  <a:schemeClr val="dk1"/>
                </a:solidFill>
                <a:effectLst/>
                <a:latin typeface="Calibri" panose="020F0502020204030204" pitchFamily="34" charset="0"/>
                <a:cs typeface="Calibri" panose="020F0502020204030204" pitchFamily="34" charset="0"/>
                <a:sym typeface="Arial"/>
              </a:rPr>
              <a:t>CloudGuard</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platform for cloud-native security, and its Quantum network security. All logs and security events are stored in the Infinity Portal’s cloud-native big data platform, enabling vast amounts of data to be quickly searched and analyzed, providing unified visibility of malicious activity across Harmony solutions.</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endParaRPr dirty="0">
              <a:latin typeface="Calibri" panose="020F0502020204030204" pitchFamily="34" charset="0"/>
              <a:cs typeface="Calibri" panose="020F0502020204030204" pitchFamily="34" charset="0"/>
            </a:endParaRPr>
          </a:p>
        </p:txBody>
      </p:sp>
      <p:sp>
        <p:nvSpPr>
          <p:cNvPr id="3635" name="Google Shape;3635;p27: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lnSpc>
                <a:spcPct val="100000"/>
              </a:lnSpc>
              <a:spcBef>
                <a:spcPts val="0"/>
              </a:spcBef>
              <a:spcAft>
                <a:spcPts val="0"/>
              </a:spcAft>
              <a:buClr>
                <a:srgbClr val="4D4D4F"/>
              </a:buClr>
              <a:buSzPts val="1200"/>
              <a:buFont typeface="Arial"/>
              <a:buNone/>
            </a:pPr>
            <a:fld id="{00000000-1234-1234-1234-123412341234}" type="slidenum">
              <a:rPr lang="en-US" sz="1200" b="0" i="0" u="none" strike="noStrike" cap="none">
                <a:solidFill>
                  <a:srgbClr val="4D4D4F"/>
                </a:solidFill>
              </a:rPr>
              <a:t>17</a:t>
            </a:fld>
            <a:endParaRPr sz="1200" b="0" i="0" u="none" strike="noStrike" cap="none" dirty="0">
              <a:solidFill>
                <a:srgbClr val="4D4D4F"/>
              </a:solidFill>
            </a:endParaRPr>
          </a:p>
        </p:txBody>
      </p:sp>
    </p:spTree>
    <p:extLst>
      <p:ext uri="{BB962C8B-B14F-4D97-AF65-F5344CB8AC3E}">
        <p14:creationId xmlns:p14="http://schemas.microsoft.com/office/powerpoint/2010/main" val="213615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9"/>
        <p:cNvGrpSpPr/>
        <p:nvPr/>
      </p:nvGrpSpPr>
      <p:grpSpPr>
        <a:xfrm>
          <a:off x="0" y="0"/>
          <a:ext cx="0" cy="0"/>
          <a:chOff x="0" y="0"/>
          <a:chExt cx="0" cy="0"/>
        </a:xfrm>
      </p:grpSpPr>
      <p:sp>
        <p:nvSpPr>
          <p:cNvPr id="2400" name="Google Shape;2400;p23: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401" name="Google Shape;2401;p23: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rtl="0">
              <a:lnSpc>
                <a:spcPct val="100000"/>
              </a:lnSpc>
              <a:spcBef>
                <a:spcPts val="0"/>
              </a:spcBef>
              <a:spcAft>
                <a:spcPts val="0"/>
              </a:spcAft>
              <a:buClr>
                <a:schemeClr val="dk1"/>
              </a:buClr>
              <a:buSzPts val="1600"/>
              <a:buFont typeface="Arial"/>
              <a:buNone/>
            </a:pPr>
            <a:r>
              <a:rPr lang="en-US" dirty="0">
                <a:latin typeface="Calibri" panose="020F0502020204030204" pitchFamily="34" charset="0"/>
                <a:cs typeface="Calibri" panose="020F0502020204030204" pitchFamily="34" charset="0"/>
              </a:rPr>
              <a:t>We make sure the Harmony protection is indeed complete and addresses even any emerging threats with all kinds of AI and traditional engines, facilitating the real-time data analysis. In addition to that, we leverage </a:t>
            </a:r>
            <a:r>
              <a:rPr lang="en-US" dirty="0" err="1">
                <a:latin typeface="Calibri" panose="020F0502020204030204" pitchFamily="34" charset="0"/>
                <a:cs typeface="Calibri" panose="020F0502020204030204" pitchFamily="34" charset="0"/>
              </a:rPr>
              <a:t>ThreatCloud</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heckPoint’s</a:t>
            </a:r>
            <a:r>
              <a:rPr lang="en-US" dirty="0">
                <a:latin typeface="Calibri" panose="020F0502020204030204" pitchFamily="34" charset="0"/>
                <a:cs typeface="Calibri" panose="020F0502020204030204" pitchFamily="34" charset="0"/>
              </a:rPr>
              <a:t> world’s most powerful threat intelligence, </a:t>
            </a:r>
            <a:r>
              <a:rPr lang="en-US" sz="1600" b="0" dirty="0">
                <a:solidFill>
                  <a:schemeClr val="dk1"/>
                </a:solidFill>
                <a:latin typeface="Calibri" panose="020F0502020204030204" pitchFamily="34" charset="0"/>
                <a:cs typeface="Calibri" panose="020F0502020204030204" pitchFamily="34" charset="0"/>
              </a:rPr>
              <a:t>enriched by advanced predictive intelligence engines, data from hundreds of millions of sensors, cutting-edge research from Check Point Research, and external intelligence feed.</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r>
              <a:rPr lang="en-US" dirty="0">
                <a:latin typeface="Calibri" panose="020F0502020204030204" pitchFamily="34" charset="0"/>
                <a:cs typeface="Calibri" panose="020F0502020204030204" pitchFamily="34" charset="0"/>
              </a:rPr>
              <a:t>As a result, Harmony has an industry’s best catch rate just lately confirmed by the fact that protects against 25 out of 25 top vulnerabilities exploited in the wild and listed by NSA.</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r>
              <a:rPr lang="en-US" dirty="0">
                <a:latin typeface="Calibri" panose="020F0502020204030204" pitchFamily="34" charset="0"/>
                <a:cs typeface="Calibri" panose="020F0502020204030204" pitchFamily="34" charset="0"/>
              </a:rPr>
              <a:t>https://blog.checkpoint.com/2020/10/27/measuring-the-global-impact-of-the-nsas-top-25-vulnerabilities-being-exploited-in-the-wild/</a:t>
            </a:r>
            <a:endParaRPr dirty="0">
              <a:latin typeface="Calibri" panose="020F0502020204030204" pitchFamily="34" charset="0"/>
              <a:cs typeface="Calibri" panose="020F0502020204030204" pitchFamily="34" charset="0"/>
            </a:endParaRPr>
          </a:p>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p:txBody>
      </p:sp>
      <p:sp>
        <p:nvSpPr>
          <p:cNvPr id="2402" name="Google Shape;2402;p23: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18</a:t>
            </a:fld>
            <a:endParaRPr dirty="0"/>
          </a:p>
        </p:txBody>
      </p:sp>
    </p:spTree>
    <p:extLst>
      <p:ext uri="{BB962C8B-B14F-4D97-AF65-F5344CB8AC3E}">
        <p14:creationId xmlns:p14="http://schemas.microsoft.com/office/powerpoint/2010/main" val="17244869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7"/>
        <p:cNvGrpSpPr/>
        <p:nvPr/>
      </p:nvGrpSpPr>
      <p:grpSpPr>
        <a:xfrm>
          <a:off x="0" y="0"/>
          <a:ext cx="0" cy="0"/>
          <a:chOff x="0" y="0"/>
          <a:chExt cx="0" cy="0"/>
        </a:xfrm>
      </p:grpSpPr>
      <p:sp>
        <p:nvSpPr>
          <p:cNvPr id="4868" name="Google Shape;4868;p31: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869" name="Google Shape;4869;p31: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870" name="Google Shape;4870;p31: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19</a:t>
            </a:fld>
            <a:endParaRPr dirty="0"/>
          </a:p>
        </p:txBody>
      </p:sp>
    </p:spTree>
    <p:extLst>
      <p:ext uri="{BB962C8B-B14F-4D97-AF65-F5344CB8AC3E}">
        <p14:creationId xmlns:p14="http://schemas.microsoft.com/office/powerpoint/2010/main" val="1810762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0000"/>
              </a:lnSpc>
              <a:spcBef>
                <a:spcPct val="30000"/>
              </a:spcBef>
              <a:buClrTx/>
              <a:buSzTx/>
              <a:buNone/>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Securing the new ‘work from anywhere’ hybrid environment is a leading priority for enterprises, as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81% have adopted mass remote working</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and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4"/>
              </a:rPr>
              <a:t>74% plan</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to do so permanently. And for a good reason – organizations’ attack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1497578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5"/>
        <p:cNvGrpSpPr/>
        <p:nvPr/>
      </p:nvGrpSpPr>
      <p:grpSpPr>
        <a:xfrm>
          <a:off x="0" y="0"/>
          <a:ext cx="0" cy="0"/>
          <a:chOff x="0" y="0"/>
          <a:chExt cx="0" cy="0"/>
        </a:xfrm>
      </p:grpSpPr>
      <p:sp>
        <p:nvSpPr>
          <p:cNvPr id="1816" name="Google Shape;1816;p15: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817" name="Google Shape;1817;p15: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With </a:t>
            </a: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Check Point Harmony</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your users get the same level of protection regardless of where they are, the applications they access, or the devices they use. Whether it’s a phishing website, a malicious email attachment, or zero-day ransomware, the solution protects them from cyber threats and across all attack vectors. Powered by revolutionary AI engines and the industry’s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4"/>
              </a:rPr>
              <a:t>most extensive threat intelligence network</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Harmony stops attacks before they happen.</a:t>
            </a:r>
            <a:endParaRPr dirty="0">
              <a:latin typeface="Calibri" panose="020F0502020204030204" pitchFamily="34" charset="0"/>
              <a:cs typeface="Calibri" panose="020F0502020204030204" pitchFamily="34" charset="0"/>
            </a:endParaRPr>
          </a:p>
        </p:txBody>
      </p:sp>
      <p:sp>
        <p:nvSpPr>
          <p:cNvPr id="1818" name="Google Shape;1818;p15: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defTabSz="914400" rtl="0" eaLnBrk="1" fontAlgn="auto" latinLnBrk="0" hangingPunct="1">
              <a:lnSpc>
                <a:spcPct val="100000"/>
              </a:lnSpc>
              <a:spcBef>
                <a:spcPts val="0"/>
              </a:spcBef>
              <a:spcAft>
                <a:spcPts val="0"/>
              </a:spcAft>
              <a:buClr>
                <a:srgbClr val="4D4D4F"/>
              </a:buClr>
              <a:buSzPts val="12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4D4D4F"/>
                </a:buClr>
                <a:buSzPts val="1200"/>
                <a:buFontTx/>
                <a:buNone/>
                <a:tabLst/>
                <a:defRPr/>
              </a:pPr>
              <a:t>20</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30770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5"/>
        <p:cNvGrpSpPr/>
        <p:nvPr/>
      </p:nvGrpSpPr>
      <p:grpSpPr>
        <a:xfrm>
          <a:off x="0" y="0"/>
          <a:ext cx="0" cy="0"/>
          <a:chOff x="0" y="0"/>
          <a:chExt cx="0" cy="0"/>
        </a:xfrm>
      </p:grpSpPr>
      <p:sp>
        <p:nvSpPr>
          <p:cNvPr id="1816" name="Google Shape;1816;p15: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817" name="Google Shape;1817;p15: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Stephanie</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receives a malicious file containing malware which masquerades to a CV of someone in the name john smith… </a:t>
            </a:r>
          </a:p>
          <a:p>
            <a:pPr marL="0" lvl="0" indent="0" algn="l" rtl="0">
              <a:spcBef>
                <a:spcPts val="0"/>
              </a:spcBef>
              <a:spcAft>
                <a:spcPts val="0"/>
              </a:spcAft>
              <a:buNone/>
            </a:pP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armony Browse uses Check Point’s SandBlast,</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the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industry-leading CDR technology, Threat Extraction, to deliver sanitized versions of web-downloaded files in seconds. In parallel, Check Point’s Threat Emulation technology analyses the</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files in a virtual sandbox to proactively prevent the zero-da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never seen before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malicious file from reaching Stephanie.</a:t>
            </a:r>
            <a:endParaRPr dirty="0">
              <a:latin typeface="Calibri" panose="020F0502020204030204" pitchFamily="34" charset="0"/>
              <a:cs typeface="Calibri" panose="020F0502020204030204" pitchFamily="34" charset="0"/>
            </a:endParaRPr>
          </a:p>
        </p:txBody>
      </p:sp>
      <p:sp>
        <p:nvSpPr>
          <p:cNvPr id="1818" name="Google Shape;1818;p15: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1</a:t>
            </a:fld>
            <a:endParaRPr dirty="0"/>
          </a:p>
        </p:txBody>
      </p:sp>
    </p:spTree>
    <p:extLst>
      <p:ext uri="{BB962C8B-B14F-4D97-AF65-F5344CB8AC3E}">
        <p14:creationId xmlns:p14="http://schemas.microsoft.com/office/powerpoint/2010/main" val="3841006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5"/>
        <p:cNvGrpSpPr/>
        <p:nvPr/>
      </p:nvGrpSpPr>
      <p:grpSpPr>
        <a:xfrm>
          <a:off x="0" y="0"/>
          <a:ext cx="0" cy="0"/>
          <a:chOff x="0" y="0"/>
          <a:chExt cx="0" cy="0"/>
        </a:xfrm>
      </p:grpSpPr>
      <p:sp>
        <p:nvSpPr>
          <p:cNvPr id="1816" name="Google Shape;1816;p15: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817" name="Google Shape;1817;p15: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The same malicious</a:t>
            </a:r>
            <a:r>
              <a:rPr lang="en-US" baseline="0" dirty="0">
                <a:latin typeface="Calibri" panose="020F0502020204030204" pitchFamily="34" charset="0"/>
                <a:cs typeface="Calibri" panose="020F0502020204030204" pitchFamily="34" charset="0"/>
              </a:rPr>
              <a:t> file</a:t>
            </a:r>
            <a:r>
              <a:rPr lang="en-US" dirty="0">
                <a:latin typeface="Calibri" panose="020F0502020204030204" pitchFamily="34" charset="0"/>
                <a:cs typeface="Calibri" panose="020F0502020204030204" pitchFamily="34" charset="0"/>
              </a:rPr>
              <a:t> is sent to</a:t>
            </a:r>
            <a:r>
              <a:rPr lang="en-US" baseline="0" dirty="0">
                <a:latin typeface="Calibri" panose="020F0502020204030204" pitchFamily="34" charset="0"/>
                <a:cs typeface="Calibri" panose="020F0502020204030204" pitchFamily="34" charset="0"/>
              </a:rPr>
              <a:t> Stephanie's office 365 mail box. </a:t>
            </a:r>
            <a:endParaRPr lang="en-US" dirty="0">
              <a:latin typeface="Calibri" panose="020F0502020204030204" pitchFamily="34" charset="0"/>
              <a:cs typeface="Calibri" panose="020F0502020204030204" pitchFamily="34" charset="0"/>
            </a:endParaRPr>
          </a:p>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Harmony Email &amp; Office uses the same Check Point’s SandBlast technology to block the malicious content before</a:t>
            </a:r>
            <a:r>
              <a:rPr lang="en-US" baseline="0" dirty="0">
                <a:latin typeface="Calibri" panose="020F0502020204030204" pitchFamily="34" charset="0"/>
                <a:cs typeface="Calibri" panose="020F0502020204030204" pitchFamily="34" charset="0"/>
              </a:rPr>
              <a:t> it even reaches Stephanie’s mail box. All that while proving her </a:t>
            </a:r>
            <a:r>
              <a:rPr lang="en-US" dirty="0">
                <a:latin typeface="Calibri" panose="020F0502020204030204" pitchFamily="34" charset="0"/>
                <a:cs typeface="Calibri" panose="020F0502020204030204" pitchFamily="34" charset="0"/>
              </a:rPr>
              <a:t>a sanitized version of the email attachment within 2 seconds,</a:t>
            </a:r>
            <a:r>
              <a:rPr lang="en-US" baseline="0"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after</a:t>
            </a:r>
            <a:r>
              <a:rPr lang="en-US" baseline="0" dirty="0">
                <a:latin typeface="Calibri" panose="020F0502020204030204" pitchFamily="34" charset="0"/>
                <a:cs typeface="Calibri" panose="020F0502020204030204" pitchFamily="34" charset="0"/>
              </a:rPr>
              <a:t> all</a:t>
            </a:r>
            <a:r>
              <a:rPr lang="en-US" dirty="0">
                <a:latin typeface="Calibri" panose="020F0502020204030204" pitchFamily="34" charset="0"/>
                <a:cs typeface="Calibri" panose="020F0502020204030204" pitchFamily="34" charset="0"/>
              </a:rPr>
              <a:t> potential threats were eliminated.</a:t>
            </a:r>
          </a:p>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1818" name="Google Shape;1818;p15: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2</a:t>
            </a:fld>
            <a:endParaRPr dirty="0"/>
          </a:p>
        </p:txBody>
      </p:sp>
    </p:spTree>
    <p:extLst>
      <p:ext uri="{BB962C8B-B14F-4D97-AF65-F5344CB8AC3E}">
        <p14:creationId xmlns:p14="http://schemas.microsoft.com/office/powerpoint/2010/main" val="1724813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7"/>
        <p:cNvGrpSpPr/>
        <p:nvPr/>
      </p:nvGrpSpPr>
      <p:grpSpPr>
        <a:xfrm>
          <a:off x="0" y="0"/>
          <a:ext cx="0" cy="0"/>
          <a:chOff x="0" y="0"/>
          <a:chExt cx="0" cy="0"/>
        </a:xfrm>
      </p:grpSpPr>
      <p:sp>
        <p:nvSpPr>
          <p:cNvPr id="1988" name="Google Shape;1988;p17: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989" name="Google Shape;1989;p17: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r>
              <a:rPr lang="en-US" dirty="0">
                <a:latin typeface="Calibri" panose="020F0502020204030204" pitchFamily="34" charset="0"/>
                <a:cs typeface="Calibri" panose="020F0502020204030204" pitchFamily="34" charset="0"/>
              </a:rPr>
              <a:t>But</a:t>
            </a:r>
            <a:r>
              <a:rPr lang="en-US" baseline="0" dirty="0">
                <a:latin typeface="Calibri" panose="020F0502020204030204" pitchFamily="34" charset="0"/>
                <a:cs typeface="Calibri" panose="020F0502020204030204" pitchFamily="34" charset="0"/>
              </a:rPr>
              <a:t> even with the best prevention, it is important remember that a highly evasive zero-day malware can find its way to user’s devices. Whether through  a USB stick containing malware, or even a sophisticated file less attack. We must have an excellent post breach detection and response strategy to protect user devices.  To that end, </a:t>
            </a:r>
            <a:r>
              <a:rPr lang="en-US" dirty="0">
                <a:latin typeface="Calibri" panose="020F0502020204030204" pitchFamily="34" charset="0"/>
                <a:cs typeface="Calibri" panose="020F0502020204030204" pitchFamily="34" charset="0"/>
              </a:rPr>
              <a:t>Harmony Endpoint provides runtime protection against ransomware, malware.</a:t>
            </a:r>
            <a:r>
              <a:rPr lang="en-US" baseline="0" dirty="0">
                <a:latin typeface="Calibri" panose="020F0502020204030204" pitchFamily="34" charset="0"/>
                <a:cs typeface="Calibri" panose="020F0502020204030204" pitchFamily="34" charset="0"/>
              </a:rPr>
              <a:t> </a:t>
            </a:r>
          </a:p>
          <a:p>
            <a:r>
              <a:rPr lang="en-US" dirty="0">
                <a:latin typeface="Calibri" panose="020F0502020204030204" pitchFamily="34" charset="0"/>
                <a:cs typeface="Calibri" panose="020F0502020204030204" pitchFamily="34" charset="0"/>
              </a:rPr>
              <a:t>It provides instant automated full remediation, even in offline mode. </a:t>
            </a:r>
          </a:p>
          <a:p>
            <a:r>
              <a:rPr lang="en-US" dirty="0">
                <a:latin typeface="Calibri" panose="020F0502020204030204" pitchFamily="34" charset="0"/>
                <a:cs typeface="Calibri" panose="020F0502020204030204" pitchFamily="34" charset="0"/>
              </a:rPr>
              <a:t>Once an anomaly or malicious behavior is detected, Endpoint Behavioral Guard blocks and remediates the full attack chain without leaving malicious traces. Anti-Ransomware identifies ransomware behaviors such as encrypting files or attempts to compromise OS backups and safely restores ransomware-encrypted files automatically. </a:t>
            </a:r>
            <a:endParaRPr dirty="0">
              <a:latin typeface="Calibri" panose="020F0502020204030204" pitchFamily="34" charset="0"/>
              <a:cs typeface="Calibri" panose="020F0502020204030204" pitchFamily="34" charset="0"/>
            </a:endParaRPr>
          </a:p>
        </p:txBody>
      </p:sp>
      <p:sp>
        <p:nvSpPr>
          <p:cNvPr id="1990" name="Google Shape;1990;p17: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3</a:t>
            </a:fld>
            <a:endParaRPr dirty="0"/>
          </a:p>
        </p:txBody>
      </p:sp>
    </p:spTree>
    <p:extLst>
      <p:ext uri="{BB962C8B-B14F-4D97-AF65-F5344CB8AC3E}">
        <p14:creationId xmlns:p14="http://schemas.microsoft.com/office/powerpoint/2010/main" val="4429183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8"/>
        <p:cNvGrpSpPr/>
        <p:nvPr/>
      </p:nvGrpSpPr>
      <p:grpSpPr>
        <a:xfrm>
          <a:off x="0" y="0"/>
          <a:ext cx="0" cy="0"/>
          <a:chOff x="0" y="0"/>
          <a:chExt cx="0" cy="0"/>
        </a:xfrm>
      </p:grpSpPr>
      <p:sp>
        <p:nvSpPr>
          <p:cNvPr id="2069" name="Google Shape;2069;p18: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070" name="Google Shape;2070;p18: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Malware can reach employees</a:t>
            </a:r>
            <a:r>
              <a:rPr lang="en-US" sz="1600" b="0" i="0" u="none" strike="noStrike" kern="1200" cap="none" baseline="0" dirty="0">
                <a:solidFill>
                  <a:schemeClr val="tx1"/>
                </a:solidFill>
                <a:effectLst/>
                <a:latin typeface="Calibri" panose="020F0502020204030204" pitchFamily="34" charset="0"/>
                <a:cs typeface="Calibri" panose="020F0502020204030204" pitchFamily="34" charset="0"/>
                <a:sym typeface="Arial"/>
              </a:rPr>
              <a:t> mobile devices as well through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mobile Apps,</a:t>
            </a:r>
            <a:r>
              <a:rPr lang="en-US" sz="1600" b="0" i="0" u="none" strike="noStrike" kern="1200" cap="none" baseline="0" dirty="0">
                <a:solidFill>
                  <a:schemeClr val="tx1"/>
                </a:solidFill>
                <a:effectLst/>
                <a:latin typeface="Calibri" panose="020F0502020204030204" pitchFamily="34" charset="0"/>
                <a:cs typeface="Calibri" panose="020F0502020204030204" pitchFamily="34" charset="0"/>
                <a:sym typeface="Arial"/>
              </a:rPr>
              <a:t>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especially when they are downloaded from untrusted sources.</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In fact, according to our stud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rPr>
              <a:t>46% of organizations have had at least one employee download a malicious mobile application which</a:t>
            </a:r>
            <a:r>
              <a:rPr lang="en-US" sz="1600" b="1"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1" i="0" u="none" strike="noStrike" cap="none" dirty="0">
                <a:solidFill>
                  <a:schemeClr val="dk1"/>
                </a:solidFill>
                <a:effectLst/>
                <a:latin typeface="Calibri" panose="020F0502020204030204" pitchFamily="34" charset="0"/>
                <a:cs typeface="Calibri" panose="020F0502020204030204" pitchFamily="34" charset="0"/>
                <a:sym typeface="Arial"/>
              </a:rPr>
              <a:t>threatens their networks and data. </a:t>
            </a:r>
          </a:p>
          <a:p>
            <a:endParaRPr lang="en-US" sz="1600" b="1" i="0" u="none" strike="noStrike" kern="1200" cap="none" dirty="0">
              <a:solidFill>
                <a:schemeClr val="dk1"/>
              </a:solidFill>
              <a:effectLst/>
              <a:latin typeface="Calibri" panose="020F0502020204030204" pitchFamily="34" charset="0"/>
              <a:cs typeface="Calibri" panose="020F0502020204030204" pitchFamily="34" charset="0"/>
              <a:sym typeface="Arial"/>
            </a:endParaRPr>
          </a:p>
          <a:p>
            <a:r>
              <a:rPr lang="en-US" sz="1600" b="1" i="0" u="none" strike="noStrike" kern="1200" cap="none" dirty="0">
                <a:solidFill>
                  <a:schemeClr val="tx1"/>
                </a:solidFill>
                <a:effectLst/>
                <a:latin typeface="Calibri" panose="020F0502020204030204" pitchFamily="34" charset="0"/>
                <a:cs typeface="Calibri" panose="020F0502020204030204" pitchFamily="34" charset="0"/>
                <a:sym typeface="Arial"/>
              </a:rPr>
              <a:t>Let’s see how Harmony Mobile protect Stephanie’s mobile</a:t>
            </a:r>
            <a:r>
              <a:rPr lang="en-US" sz="1600" b="1" i="0" u="none" strike="noStrike" kern="1200" cap="none" baseline="0" dirty="0">
                <a:solidFill>
                  <a:schemeClr val="tx1"/>
                </a:solidFill>
                <a:effectLst/>
                <a:latin typeface="Calibri" panose="020F0502020204030204" pitchFamily="34" charset="0"/>
                <a:cs typeface="Calibri" panose="020F0502020204030204" pitchFamily="34" charset="0"/>
                <a:sym typeface="Arial"/>
              </a:rPr>
              <a:t> device</a:t>
            </a:r>
            <a:r>
              <a:rPr lang="en-US" sz="1600" b="1" i="0" u="none" strike="noStrike" kern="1200" cap="none" dirty="0">
                <a:solidFill>
                  <a:schemeClr val="tx1"/>
                </a:solidFill>
                <a:effectLst/>
                <a:latin typeface="Calibri" panose="020F0502020204030204" pitchFamily="34" charset="0"/>
                <a:cs typeface="Calibri" panose="020F0502020204030204" pitchFamily="34" charset="0"/>
                <a:sym typeface="Arial"/>
              </a:rPr>
              <a:t> fro</a:t>
            </a:r>
            <a:r>
              <a:rPr lang="en-US" sz="1600" b="1" i="0" u="none" strike="noStrike" kern="1200" cap="none" baseline="0" dirty="0">
                <a:solidFill>
                  <a:schemeClr val="tx1"/>
                </a:solidFill>
                <a:effectLst/>
                <a:latin typeface="Calibri" panose="020F0502020204030204" pitchFamily="34" charset="0"/>
                <a:cs typeface="Calibri" panose="020F0502020204030204" pitchFamily="34" charset="0"/>
                <a:sym typeface="Arial"/>
              </a:rPr>
              <a:t>m malicious mobile app.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a:t>
            </a: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Our user is now attempting to download a suspicious app from a QR code thinking it is the take away menu app for a restaurant. </a:t>
            </a: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lt;CLICK&gt;</a:t>
            </a: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Harmony Mobile prevents the suspicious side-loading </a:t>
            </a: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lt;CLICK&gt;</a:t>
            </a: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and shows the threat details to the user, while also showing the event details on the dashboard for admin’s review.   </a:t>
            </a:r>
            <a:endParaRPr lang="en-US" sz="1600" b="1" i="0" u="none" strike="noStrike" kern="1200" cap="none" dirty="0">
              <a:solidFill>
                <a:schemeClr val="tx1"/>
              </a:solidFill>
              <a:effectLst/>
              <a:latin typeface="Calibri" panose="020F0502020204030204" pitchFamily="34" charset="0"/>
              <a:cs typeface="Calibri" panose="020F0502020204030204" pitchFamily="34" charset="0"/>
              <a:sym typeface="Arial"/>
            </a:endParaRPr>
          </a:p>
          <a:p>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a:t>
            </a:r>
            <a:endParaRPr lang="en-US" sz="1600" b="1" i="0" u="none" strike="noStrike" kern="1200" cap="none" dirty="0">
              <a:solidFill>
                <a:schemeClr val="tx1"/>
              </a:solidFill>
              <a:effectLst/>
              <a:latin typeface="Calibri" panose="020F0502020204030204" pitchFamily="34" charset="0"/>
              <a:cs typeface="Calibri" panose="020F0502020204030204" pitchFamily="34" charset="0"/>
              <a:sym typeface="Arial"/>
            </a:endParaRPr>
          </a:p>
        </p:txBody>
      </p:sp>
      <p:sp>
        <p:nvSpPr>
          <p:cNvPr id="2071" name="Google Shape;2071;p18: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4</a:t>
            </a:fld>
            <a:endParaRPr dirty="0"/>
          </a:p>
        </p:txBody>
      </p:sp>
    </p:spTree>
    <p:extLst>
      <p:ext uri="{BB962C8B-B14F-4D97-AF65-F5344CB8AC3E}">
        <p14:creationId xmlns:p14="http://schemas.microsoft.com/office/powerpoint/2010/main" val="26350426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1"/>
        <p:cNvGrpSpPr/>
        <p:nvPr/>
      </p:nvGrpSpPr>
      <p:grpSpPr>
        <a:xfrm>
          <a:off x="0" y="0"/>
          <a:ext cx="0" cy="0"/>
          <a:chOff x="0" y="0"/>
          <a:chExt cx="0" cy="0"/>
        </a:xfrm>
      </p:grpSpPr>
      <p:sp>
        <p:nvSpPr>
          <p:cNvPr id="2232" name="Google Shape;2232;p20: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233" name="Google Shape;2233;p20: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480"/>
              </a:spcBef>
              <a:spcAft>
                <a:spcPts val="0"/>
              </a:spcAft>
              <a:buNone/>
            </a:pPr>
            <a:r>
              <a:rPr lang="en-US" sz="1600" dirty="0">
                <a:latin typeface="Calibri"/>
                <a:ea typeface="Calibri"/>
                <a:cs typeface="Calibri"/>
                <a:sym typeface="Calibri"/>
              </a:rPr>
              <a:t>With</a:t>
            </a:r>
            <a:r>
              <a:rPr lang="en-US" sz="1600" baseline="0" dirty="0">
                <a:latin typeface="Calibri"/>
                <a:ea typeface="Calibri"/>
                <a:cs typeface="Calibri"/>
                <a:sym typeface="Calibri"/>
              </a:rPr>
              <a:t> Harmony Stephanie get </a:t>
            </a:r>
            <a:r>
              <a:rPr lang="en-US" sz="1600" dirty="0">
                <a:latin typeface="Calibri"/>
                <a:ea typeface="Calibri"/>
                <a:cs typeface="Calibri"/>
                <a:sym typeface="Calibri"/>
              </a:rPr>
              <a:t>the easiest and most secure way to connect from any device, to any corporate application, SaaS or the internet.</a:t>
            </a:r>
            <a:endParaRPr sz="2000" dirty="0">
              <a:latin typeface="Calibri"/>
              <a:ea typeface="Calibri"/>
              <a:cs typeface="Calibri"/>
              <a:sym typeface="Calibri"/>
            </a:endParaRPr>
          </a:p>
          <a:p>
            <a:pPr marL="0" lvl="0" indent="0" algn="l" rtl="0">
              <a:spcBef>
                <a:spcPts val="480"/>
              </a:spcBef>
              <a:spcAft>
                <a:spcPts val="0"/>
              </a:spcAft>
              <a:buNone/>
            </a:pPr>
            <a:r>
              <a:rPr lang="en-US" sz="1600" dirty="0">
                <a:latin typeface="Calibri"/>
                <a:ea typeface="Calibri"/>
                <a:cs typeface="Calibri"/>
                <a:sym typeface="Calibri"/>
              </a:rPr>
              <a:t> She can access from a</a:t>
            </a:r>
            <a:r>
              <a:rPr lang="en-US" sz="1600" baseline="0" dirty="0">
                <a:latin typeface="Calibri"/>
                <a:ea typeface="Calibri"/>
                <a:cs typeface="Calibri"/>
                <a:sym typeface="Calibri"/>
              </a:rPr>
              <a:t> managed device, like her work laptop but have clientless access from </a:t>
            </a:r>
            <a:r>
              <a:rPr lang="en-US" sz="1600" dirty="0">
                <a:latin typeface="Calibri"/>
                <a:ea typeface="Calibri"/>
                <a:cs typeface="Calibri"/>
                <a:sym typeface="Calibri"/>
              </a:rPr>
              <a:t>her</a:t>
            </a:r>
            <a:r>
              <a:rPr lang="en-US" sz="1600" baseline="0" dirty="0">
                <a:latin typeface="Calibri"/>
                <a:ea typeface="Calibri"/>
                <a:cs typeface="Calibri"/>
                <a:sym typeface="Calibri"/>
              </a:rPr>
              <a:t> private smartphone, or private lap top. </a:t>
            </a:r>
          </a:p>
          <a:p>
            <a:pPr marL="0" marR="0" lvl="0" indent="0" algn="l" defTabSz="914400" rtl="0" eaLnBrk="1" fontAlgn="auto" latinLnBrk="0" hangingPunct="1">
              <a:lnSpc>
                <a:spcPct val="100000"/>
              </a:lnSpc>
              <a:spcBef>
                <a:spcPts val="480"/>
              </a:spcBef>
              <a:spcAft>
                <a:spcPts val="0"/>
              </a:spcAft>
              <a:buClr>
                <a:schemeClr val="dk1"/>
              </a:buClr>
              <a:buSzPts val="1600"/>
              <a:buFont typeface="Arial"/>
              <a:buNone/>
              <a:tabLst/>
              <a:defRPr/>
            </a:pPr>
            <a:r>
              <a:rPr lang="en-US" sz="1600" dirty="0">
                <a:latin typeface="Calibri"/>
                <a:ea typeface="Calibri"/>
                <a:cs typeface="Calibri"/>
                <a:sym typeface="Calibri"/>
              </a:rPr>
              <a:t>Harmony</a:t>
            </a:r>
            <a:r>
              <a:rPr lang="en-US" sz="1600" baseline="0" dirty="0">
                <a:latin typeface="Calibri"/>
                <a:ea typeface="Calibri"/>
                <a:cs typeface="Calibri"/>
                <a:sym typeface="Calibri"/>
              </a:rPr>
              <a:t> connect allows to define and enforce </a:t>
            </a:r>
            <a:r>
              <a:rPr lang="en-US" sz="1600" dirty="0">
                <a:latin typeface="Calibri"/>
                <a:ea typeface="Calibri"/>
                <a:cs typeface="Calibri"/>
                <a:sym typeface="Calibri"/>
              </a:rPr>
              <a:t>Zero Trust Policy for all users to all applications, with granular rules to ensure Stephanie</a:t>
            </a:r>
            <a:r>
              <a:rPr lang="en-US" sz="1600" baseline="0" dirty="0">
                <a:latin typeface="Calibri"/>
                <a:ea typeface="Calibri"/>
                <a:cs typeface="Calibri"/>
                <a:sym typeface="Calibri"/>
              </a:rPr>
              <a:t> gain access only to apps she is authorized to use. And all via </a:t>
            </a:r>
            <a:r>
              <a:rPr lang="en-US" sz="1600" dirty="0">
                <a:latin typeface="Calibri"/>
                <a:ea typeface="Calibri"/>
                <a:cs typeface="Calibri"/>
                <a:sym typeface="Calibri"/>
              </a:rPr>
              <a:t>Intuitive portal from any browser. </a:t>
            </a:r>
            <a:endParaRPr lang="en-US" sz="1600" dirty="0">
              <a:latin typeface="Calibri" panose="020F0502020204030204" pitchFamily="34" charset="0"/>
              <a:cs typeface="Calibri" panose="020F0502020204030204" pitchFamily="34" charset="0"/>
            </a:endParaRPr>
          </a:p>
          <a:p>
            <a:pPr marL="0" lvl="0" indent="0" algn="l" rtl="0">
              <a:spcBef>
                <a:spcPts val="480"/>
              </a:spcBef>
              <a:spcAft>
                <a:spcPts val="0"/>
              </a:spcAft>
              <a:buClr>
                <a:schemeClr val="dk1"/>
              </a:buClr>
              <a:buSzPts val="1600"/>
              <a:buFont typeface="Arial"/>
              <a:buNone/>
            </a:pPr>
            <a:endParaRPr lang="en-US" sz="1600" baseline="0" dirty="0">
              <a:latin typeface="Calibri"/>
              <a:ea typeface="Calibri"/>
              <a:cs typeface="Calibri"/>
              <a:sym typeface="Calibri"/>
            </a:endParaRPr>
          </a:p>
          <a:p>
            <a:pPr marL="0" lvl="0" indent="0" algn="l" rtl="0">
              <a:spcBef>
                <a:spcPts val="480"/>
              </a:spcBef>
              <a:spcAft>
                <a:spcPts val="0"/>
              </a:spcAft>
              <a:buClr>
                <a:schemeClr val="dk1"/>
              </a:buClr>
              <a:buSzPts val="1600"/>
              <a:buFont typeface="Arial"/>
              <a:buNone/>
            </a:pPr>
            <a:r>
              <a:rPr lang="en-US" sz="1600" baseline="0" dirty="0">
                <a:latin typeface="Calibri"/>
                <a:ea typeface="Calibri"/>
                <a:cs typeface="Calibri"/>
                <a:sym typeface="Calibri"/>
              </a:rPr>
              <a:t>And moreover… </a:t>
            </a:r>
          </a:p>
          <a:p>
            <a:pPr marL="0" lvl="0" indent="0" algn="l" rtl="0">
              <a:spcBef>
                <a:spcPts val="480"/>
              </a:spcBef>
              <a:spcAft>
                <a:spcPts val="0"/>
              </a:spcAft>
              <a:buClr>
                <a:schemeClr val="dk1"/>
              </a:buClr>
              <a:buSzPts val="1600"/>
              <a:buFont typeface="Arial"/>
              <a:buNone/>
            </a:pPr>
            <a:r>
              <a:rPr lang="en-US" sz="1600" baseline="0" dirty="0">
                <a:latin typeface="Calibri"/>
                <a:ea typeface="Calibri"/>
                <a:cs typeface="Calibri"/>
                <a:sym typeface="Calibri"/>
              </a:rPr>
              <a:t>If Stephanie's device is found to be compromised (infected with malware), harmony Connect will block access to the corporate application, to protect them from lateral malicious movement.  </a:t>
            </a:r>
            <a:endParaRPr sz="2000" dirty="0">
              <a:latin typeface="Calibri"/>
              <a:ea typeface="Calibri"/>
              <a:cs typeface="Calibri"/>
              <a:sym typeface="Calibri"/>
            </a:endParaRPr>
          </a:p>
          <a:p>
            <a:pPr marL="0" lvl="0" indent="0" algn="l" rtl="0">
              <a:spcBef>
                <a:spcPts val="480"/>
              </a:spcBef>
              <a:spcAft>
                <a:spcPts val="0"/>
              </a:spcAft>
              <a:buNone/>
            </a:pPr>
            <a:endParaRPr dirty="0">
              <a:latin typeface="Calibri" panose="020F0502020204030204" pitchFamily="34" charset="0"/>
              <a:cs typeface="Calibri" panose="020F0502020204030204" pitchFamily="34" charset="0"/>
            </a:endParaRPr>
          </a:p>
        </p:txBody>
      </p:sp>
      <p:sp>
        <p:nvSpPr>
          <p:cNvPr id="2234" name="Google Shape;2234;p20: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5</a:t>
            </a:fld>
            <a:endParaRPr dirty="0"/>
          </a:p>
        </p:txBody>
      </p:sp>
    </p:spTree>
    <p:extLst>
      <p:ext uri="{BB962C8B-B14F-4D97-AF65-F5344CB8AC3E}">
        <p14:creationId xmlns:p14="http://schemas.microsoft.com/office/powerpoint/2010/main" val="2173400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9"/>
        <p:cNvGrpSpPr/>
        <p:nvPr/>
      </p:nvGrpSpPr>
      <p:grpSpPr>
        <a:xfrm>
          <a:off x="0" y="0"/>
          <a:ext cx="0" cy="0"/>
          <a:chOff x="0" y="0"/>
          <a:chExt cx="0" cy="0"/>
        </a:xfrm>
      </p:grpSpPr>
      <p:sp>
        <p:nvSpPr>
          <p:cNvPr id="2160" name="Google Shape;2160;p19: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161" name="Google Shape;2161;p19: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And this is not just for malware. Stephanie also gets 360 protection from phishing attacks.</a:t>
            </a:r>
            <a:r>
              <a:rPr lang="en-US" baseline="0" dirty="0">
                <a:latin typeface="Calibri" panose="020F0502020204030204" pitchFamily="34" charset="0"/>
                <a:cs typeface="Calibri" panose="020F0502020204030204" pitchFamily="34" charset="0"/>
              </a:rPr>
              <a:t> </a:t>
            </a:r>
            <a:endParaRPr dirty="0">
              <a:latin typeface="Calibri" panose="020F0502020204030204" pitchFamily="34" charset="0"/>
              <a:cs typeface="Calibri" panose="020F0502020204030204" pitchFamily="34" charset="0"/>
            </a:endParaRPr>
          </a:p>
        </p:txBody>
      </p:sp>
      <p:sp>
        <p:nvSpPr>
          <p:cNvPr id="2162" name="Google Shape;2162;p19: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6</a:t>
            </a:fld>
            <a:endParaRPr dirty="0"/>
          </a:p>
        </p:txBody>
      </p:sp>
    </p:spTree>
    <p:extLst>
      <p:ext uri="{BB962C8B-B14F-4D97-AF65-F5344CB8AC3E}">
        <p14:creationId xmlns:p14="http://schemas.microsoft.com/office/powerpoint/2010/main" val="31056067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7"/>
        <p:cNvGrpSpPr/>
        <p:nvPr/>
      </p:nvGrpSpPr>
      <p:grpSpPr>
        <a:xfrm>
          <a:off x="0" y="0"/>
          <a:ext cx="0" cy="0"/>
          <a:chOff x="0" y="0"/>
          <a:chExt cx="0" cy="0"/>
        </a:xfrm>
      </p:grpSpPr>
      <p:sp>
        <p:nvSpPr>
          <p:cNvPr id="2288" name="Google Shape;2288;p21: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289" name="Google Shape;2289;p21: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Harmony also</a:t>
            </a:r>
            <a:r>
              <a:rPr lang="en-US" baseline="0" dirty="0">
                <a:latin typeface="Calibri" panose="020F0502020204030204" pitchFamily="34" charset="0"/>
                <a:cs typeface="Calibri" panose="020F0502020204030204" pitchFamily="34" charset="0"/>
              </a:rPr>
              <a:t> offers 360 data protection - protecting sensitive data wherever it resides, whether this data is at rest or in motion.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aseline="0" dirty="0">
                <a:latin typeface="Calibri" panose="020F0502020204030204" pitchFamily="34" charset="0"/>
                <a:cs typeface="Calibri" panose="020F0502020204030204" pitchFamily="34" charset="0"/>
              </a:rPr>
              <a:t>So if we bring it back to Stephanie on the picture here – Harmony ensures comprehensive data protection whatever devices or apps she uses</a:t>
            </a:r>
            <a:endParaRPr lang="en-US" dirty="0">
              <a:latin typeface="Calibri" panose="020F0502020204030204" pitchFamily="34" charset="0"/>
              <a:cs typeface="Calibri" panose="020F0502020204030204" pitchFamily="34" charset="0"/>
            </a:endParaRPr>
          </a:p>
          <a:p>
            <a:pPr marL="0" lvl="0" indent="0" algn="l" rtl="0">
              <a:spcBef>
                <a:spcPts val="0"/>
              </a:spcBef>
              <a:spcAft>
                <a:spcPts val="0"/>
              </a:spcAft>
              <a:buNone/>
            </a:pPr>
            <a:endParaRPr lang="en-US" baseline="0" dirty="0">
              <a:latin typeface="Calibri" panose="020F0502020204030204" pitchFamily="34" charset="0"/>
              <a:cs typeface="Calibri" panose="020F0502020204030204" pitchFamily="34" charset="0"/>
            </a:endParaRPr>
          </a:p>
          <a:p>
            <a:pPr marL="0" lvl="0" indent="0" algn="l" rtl="0">
              <a:spcBef>
                <a:spcPts val="0"/>
              </a:spcBef>
              <a:spcAft>
                <a:spcPts val="0"/>
              </a:spcAft>
              <a:buNone/>
            </a:pPr>
            <a:r>
              <a:rPr lang="en-US" baseline="0" dirty="0">
                <a:latin typeface="Calibri" panose="020F0502020204030204" pitchFamily="34" charset="0"/>
                <a:cs typeface="Calibri" panose="020F0502020204030204" pitchFamily="34" charset="0"/>
              </a:rPr>
              <a:t>When the data is at rest - meaning- stored on the device, </a:t>
            </a:r>
            <a:r>
              <a:rPr lang="en-US" b="1" baseline="0" dirty="0">
                <a:latin typeface="Calibri" panose="020F0502020204030204" pitchFamily="34" charset="0"/>
                <a:cs typeface="Calibri" panose="020F0502020204030204" pitchFamily="34" charset="0"/>
              </a:rPr>
              <a:t>Harmony Endpoint </a:t>
            </a:r>
            <a:r>
              <a:rPr lang="en-US" baseline="0" dirty="0">
                <a:latin typeface="Calibri" panose="020F0502020204030204" pitchFamily="34" charset="0"/>
                <a:cs typeface="Calibri" panose="020F0502020204030204" pitchFamily="34" charset="0"/>
              </a:rPr>
              <a:t>minimizes the attack surface with full disk encryption and port protection. It also immediately recover ransomware encrypted data as we mentioned earlier. </a:t>
            </a:r>
          </a:p>
          <a:p>
            <a:pPr marL="0" lvl="0" indent="0" algn="l" rtl="0">
              <a:spcBef>
                <a:spcPts val="0"/>
              </a:spcBef>
              <a:spcAft>
                <a:spcPts val="0"/>
              </a:spcAft>
              <a:buNone/>
            </a:pPr>
            <a:r>
              <a:rPr lang="en-US" baseline="0" dirty="0">
                <a:latin typeface="Calibri" panose="020F0502020204030204" pitchFamily="34" charset="0"/>
                <a:cs typeface="Calibri" panose="020F0502020204030204" pitchFamily="34" charset="0"/>
              </a:rPr>
              <a:t>Same with Mobile – </a:t>
            </a:r>
            <a:r>
              <a:rPr lang="en-US" b="1" baseline="0" dirty="0">
                <a:latin typeface="Calibri" panose="020F0502020204030204" pitchFamily="34" charset="0"/>
                <a:cs typeface="Calibri" panose="020F0502020204030204" pitchFamily="34" charset="0"/>
              </a:rPr>
              <a:t>Harmony Mobile </a:t>
            </a:r>
            <a:r>
              <a:rPr lang="en-US" baseline="0" dirty="0">
                <a:latin typeface="Calibri" panose="020F0502020204030204" pitchFamily="34" charset="0"/>
                <a:cs typeface="Calibri" panose="020F0502020204030204" pitchFamily="34" charset="0"/>
              </a:rPr>
              <a:t>blocks any access to corporate assets should the devices be vulnerable or be infected. </a:t>
            </a:r>
          </a:p>
          <a:p>
            <a:pPr marL="0" lvl="0" indent="0" algn="l" rtl="0">
              <a:spcBef>
                <a:spcPts val="0"/>
              </a:spcBef>
              <a:spcAft>
                <a:spcPts val="0"/>
              </a:spcAft>
              <a:buNone/>
            </a:pPr>
            <a:endParaRPr lang="en-US" baseline="0" dirty="0">
              <a:latin typeface="Calibri" panose="020F0502020204030204" pitchFamily="34" charset="0"/>
              <a:cs typeface="Calibri" panose="020F0502020204030204" pitchFamily="34" charset="0"/>
            </a:endParaRPr>
          </a:p>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When it comes to data in motion:</a:t>
            </a:r>
            <a:r>
              <a:rPr lang="en-US" baseline="0" dirty="0">
                <a:latin typeface="Calibri" panose="020F0502020204030204" pitchFamily="34" charset="0"/>
                <a:cs typeface="Calibri" panose="020F0502020204030204" pitchFamily="34" charset="0"/>
              </a:rPr>
              <a:t> </a:t>
            </a:r>
          </a:p>
          <a:p>
            <a:pPr marL="0" lvl="0" indent="0" algn="l" rtl="0">
              <a:spcBef>
                <a:spcPts val="0"/>
              </a:spcBef>
              <a:spcAft>
                <a:spcPts val="0"/>
              </a:spcAft>
              <a:buFontTx/>
              <a:buNone/>
            </a:pPr>
            <a:r>
              <a:rPr lang="en-US" b="1" baseline="0" dirty="0">
                <a:latin typeface="Calibri" panose="020F0502020204030204" pitchFamily="34" charset="0"/>
                <a:cs typeface="Calibri" panose="020F0502020204030204" pitchFamily="34" charset="0"/>
              </a:rPr>
              <a:t>Harmony Email and Office </a:t>
            </a:r>
            <a:r>
              <a:rPr lang="en-US" baseline="0" dirty="0">
                <a:latin typeface="Calibri" panose="020F0502020204030204" pitchFamily="34" charset="0"/>
                <a:cs typeface="Calibri" panose="020F0502020204030204" pitchFamily="34" charset="0"/>
              </a:rPr>
              <a:t>prevents data loss with a Data Leak Prevention solution for Office 365 and G Suite, that include email and productivity apps that may be used. </a:t>
            </a:r>
          </a:p>
          <a:p>
            <a:pPr marL="0" lvl="0" indent="0" algn="l" rtl="0">
              <a:spcBef>
                <a:spcPts val="0"/>
              </a:spcBef>
              <a:spcAft>
                <a:spcPts val="0"/>
              </a:spcAft>
              <a:buFontTx/>
              <a:buNone/>
            </a:pPr>
            <a:r>
              <a:rPr lang="en-US" baseline="0" dirty="0">
                <a:latin typeface="Calibri" panose="020F0502020204030204" pitchFamily="34" charset="0"/>
                <a:cs typeface="Calibri" panose="020F0502020204030204" pitchFamily="34" charset="0"/>
              </a:rPr>
              <a:t>In addition, </a:t>
            </a:r>
            <a:r>
              <a:rPr lang="en-US" b="1" baseline="0" dirty="0">
                <a:latin typeface="Calibri" panose="020F0502020204030204" pitchFamily="34" charset="0"/>
                <a:cs typeface="Calibri" panose="020F0502020204030204" pitchFamily="34" charset="0"/>
              </a:rPr>
              <a:t>Harmony Connect </a:t>
            </a:r>
            <a:r>
              <a:rPr lang="en-US" baseline="0" dirty="0">
                <a:latin typeface="Calibri" panose="020F0502020204030204" pitchFamily="34" charset="0"/>
                <a:cs typeface="Calibri" panose="020F0502020204030204" pitchFamily="34" charset="0"/>
              </a:rPr>
              <a:t>prevents Stephanie from unintentionally leaking sensitive business data while she is browsing the internet or using SaaS application, as it encompass DLP service as one of its 11 cloud-based security services. </a:t>
            </a:r>
          </a:p>
          <a:p>
            <a:pPr marL="0" lvl="0" indent="0" algn="l" rtl="0">
              <a:spcBef>
                <a:spcPts val="0"/>
              </a:spcBef>
              <a:spcAft>
                <a:spcPts val="0"/>
              </a:spcAft>
              <a:buFontTx/>
              <a:buNone/>
            </a:pPr>
            <a:r>
              <a:rPr lang="en-US" dirty="0">
                <a:latin typeface="Calibri" panose="020F0502020204030204" pitchFamily="34" charset="0"/>
                <a:cs typeface="Calibri" panose="020F0502020204030204" pitchFamily="34" charset="0"/>
              </a:rPr>
              <a:t>This</a:t>
            </a:r>
            <a:r>
              <a:rPr lang="en-US" baseline="0" dirty="0">
                <a:latin typeface="Calibri" panose="020F0502020204030204" pitchFamily="34" charset="0"/>
                <a:cs typeface="Calibri" panose="020F0502020204030204" pitchFamily="34" charset="0"/>
              </a:rPr>
              <a:t> is specifically beneficial to protect against </a:t>
            </a:r>
            <a:r>
              <a:rPr lang="en-US" dirty="0">
                <a:latin typeface="Calibri" panose="020F0502020204030204" pitchFamily="34" charset="0"/>
                <a:cs typeface="Calibri" panose="020F0502020204030204" pitchFamily="34" charset="0"/>
              </a:rPr>
              <a:t>Shadow IT usage – Harmony Connect can identify if users are using unauthorized SaaS account for example Slack (but the organization chose Teams) or Gmail (and the organization chose Office 365) and we can block</a:t>
            </a:r>
            <a:r>
              <a:rPr lang="en-US" baseline="0" dirty="0">
                <a:latin typeface="Calibri" panose="020F0502020204030204" pitchFamily="34" charset="0"/>
                <a:cs typeface="Calibri" panose="020F0502020204030204" pitchFamily="34" charset="0"/>
              </a:rPr>
              <a:t> them from sending sensitive data over these applications. </a:t>
            </a:r>
          </a:p>
          <a:p>
            <a:pPr marL="0" lvl="0" indent="0" algn="l" rtl="0">
              <a:spcBef>
                <a:spcPts val="0"/>
              </a:spcBef>
              <a:spcAft>
                <a:spcPts val="0"/>
              </a:spcAft>
              <a:buFontTx/>
              <a:buNone/>
            </a:pPr>
            <a:endParaRPr lang="en-US" baseline="0" dirty="0">
              <a:latin typeface="Calibri" panose="020F0502020204030204" pitchFamily="34" charset="0"/>
              <a:cs typeface="Calibri" panose="020F0502020204030204" pitchFamily="34" charset="0"/>
            </a:endParaRPr>
          </a:p>
        </p:txBody>
      </p:sp>
      <p:sp>
        <p:nvSpPr>
          <p:cNvPr id="2290" name="Google Shape;2290;p21: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en-US"/>
              <a:t>27</a:t>
            </a:fld>
            <a:endParaRPr dirty="0"/>
          </a:p>
        </p:txBody>
      </p:sp>
    </p:spTree>
    <p:extLst>
      <p:ext uri="{BB962C8B-B14F-4D97-AF65-F5344CB8AC3E}">
        <p14:creationId xmlns:p14="http://schemas.microsoft.com/office/powerpoint/2010/main" val="40614208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indent="-169863">
              <a:lnSpc>
                <a:spcPct val="100000"/>
              </a:lnSpc>
              <a:buClr>
                <a:schemeClr val="bg2"/>
              </a:buCl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To summarize</a:t>
            </a:r>
          </a:p>
          <a:p>
            <a:pPr marL="169863" indent="-169863">
              <a:lnSpc>
                <a:spcPct val="100000"/>
              </a:lnSpc>
              <a:buClr>
                <a:schemeClr val="bg2"/>
              </a:buClr>
            </a:pPr>
            <a:r>
              <a:rPr lang="en-US" dirty="0"/>
              <a:t>Check Point Harmony provides unified security for users, devices and access, consolidating six products to ensure uncompromised security and simplicity for everyone. It protects devices and internet connections from the most sophisticated attacks while ensuring Zero-Trust Access to corporate applications - all in a single solution that is easy to use, manage and buy. </a:t>
            </a:r>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169863" indent="-169863">
              <a:lnSpc>
                <a:spcPct val="100000"/>
              </a:lnSpc>
              <a:buClr>
                <a:schemeClr val="bg2"/>
              </a:buClr>
            </a:pPr>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169863" indent="-169863">
              <a:lnSpc>
                <a:spcPct val="100000"/>
              </a:lnSpc>
              <a:buClr>
                <a:schemeClr val="bg2"/>
              </a:buClr>
            </a:pPr>
            <a:r>
              <a:rPr lang="en-US" sz="1800" dirty="0"/>
              <a:t>With Harmony, users get the same level of protection regardless of where they are, the applications they access, or devices they use. Whether it’s a phishing attempt, a malicious email attachment, or zero-day ransomware, the solution protects them from all cyber threats, across all attack vectors. Powered by AI engines and the industry’s most extensive threat intelligence network, Harmony stops attacks before they happen.</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30406773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panose="020F0502020204030204" pitchFamily="34" charset="0"/>
                <a:cs typeface="Calibri" panose="020F0502020204030204" pitchFamily="34" charset="0"/>
              </a:rPr>
              <a:t>Now that we introduced</a:t>
            </a:r>
            <a:r>
              <a:rPr lang="en-US" baseline="0" dirty="0">
                <a:latin typeface="Calibri" panose="020F0502020204030204" pitchFamily="34" charset="0"/>
                <a:cs typeface="Calibri" panose="020F0502020204030204" pitchFamily="34" charset="0"/>
              </a:rPr>
              <a:t> you to Harmony, we’re happy to invite you for a deep-dive into the products within the offering.</a:t>
            </a:r>
          </a:p>
          <a:p>
            <a:r>
              <a:rPr lang="en-US" baseline="0" dirty="0">
                <a:latin typeface="Calibri" panose="020F0502020204030204" pitchFamily="34" charset="0"/>
                <a:cs typeface="Calibri" panose="020F0502020204030204" pitchFamily="34" charset="0"/>
              </a:rPr>
              <a:t>Starting next week we’ll be holding weekly sessions to talk about various Harmony products and the value they bring in-depth.</a:t>
            </a:r>
          </a:p>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baseline="0" dirty="0">
                <a:latin typeface="Calibri" panose="020F0502020204030204" pitchFamily="34" charset="0"/>
                <a:cs typeface="Calibri" panose="020F0502020204030204" pitchFamily="34" charset="0"/>
              </a:rPr>
              <a:t>You can sign up to those sessions if you scan the QR code here or just visit the webpage </a:t>
            </a:r>
            <a:r>
              <a:rPr lang="en-US" sz="1600" b="0" i="0" u="none" strike="noStrike" cap="none" dirty="0">
                <a:solidFill>
                  <a:schemeClr val="bg2"/>
                </a:solidFill>
                <a:latin typeface="Arial"/>
                <a:ea typeface="Arial"/>
                <a:cs typeface="Calibri" panose="020F0502020204030204" pitchFamily="34" charset="0"/>
                <a:sym typeface="Arial"/>
              </a:rPr>
              <a:t>www.checkpoint.com/harmony/webinars.</a:t>
            </a:r>
          </a:p>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endParaRPr lang="en-US" sz="1600" b="0" i="0" u="none" strike="noStrike" cap="none" dirty="0">
              <a:solidFill>
                <a:schemeClr val="bg2"/>
              </a:solidFill>
              <a:latin typeface="Arial"/>
              <a:ea typeface="Arial"/>
              <a:cs typeface="Calibri" panose="020F0502020204030204" pitchFamily="34" charset="0"/>
              <a:sym typeface="Arial"/>
            </a:endParaRPr>
          </a:p>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bg2"/>
                </a:solidFill>
                <a:latin typeface="Arial"/>
                <a:ea typeface="Arial"/>
                <a:cs typeface="Calibri" panose="020F0502020204030204" pitchFamily="34" charset="0"/>
                <a:sym typeface="Arial"/>
              </a:rPr>
              <a:t>We encourage you</a:t>
            </a:r>
            <a:r>
              <a:rPr lang="en-US" sz="1600" b="0" i="0" u="none" strike="noStrike" cap="none" baseline="0" dirty="0">
                <a:solidFill>
                  <a:schemeClr val="bg2"/>
                </a:solidFill>
                <a:latin typeface="Arial"/>
                <a:ea typeface="Arial"/>
                <a:cs typeface="Calibri" panose="020F0502020204030204" pitchFamily="34" charset="0"/>
                <a:sym typeface="Arial"/>
              </a:rPr>
              <a:t> to visit this page where you can also sign up for a demo and join us in the next few weeks for those webinars</a:t>
            </a:r>
            <a:endParaRPr lang="en-US" sz="1600" b="0" i="0" u="none" strike="noStrike" cap="none" dirty="0">
              <a:solidFill>
                <a:schemeClr val="bg2"/>
              </a:solidFill>
              <a:latin typeface="Arial"/>
              <a:ea typeface="Arial"/>
              <a:cs typeface="Calibri" panose="020F0502020204030204" pitchFamily="34" charset="0"/>
              <a:sym typeface="Arial"/>
            </a:endParaRPr>
          </a:p>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0"/>
          </p:nvPr>
        </p:nvSpPr>
        <p:spPr/>
        <p:txBody>
          <a:bodyPr/>
          <a:lstStyle/>
          <a:p>
            <a:pPr algn="r">
              <a:buClr>
                <a:srgbClr val="4D4D4F"/>
              </a:buClr>
              <a:buSzPts val="1200"/>
              <a:buFont typeface="Noto Sans Symbols"/>
              <a:buNone/>
            </a:pPr>
            <a:fld id="{00000000-1234-1234-1234-123412341234}" type="slidenum">
              <a:rPr lang="en-US" sz="1200" smtClean="0">
                <a:solidFill>
                  <a:srgbClr val="4D4D4F"/>
                </a:solidFill>
              </a:rPr>
              <a:pPr algn="r">
                <a:buClr>
                  <a:srgbClr val="4D4D4F"/>
                </a:buClr>
                <a:buSzPts val="1200"/>
                <a:buFont typeface="Noto Sans Symbols"/>
                <a:buNone/>
              </a:pPr>
              <a:t>29</a:t>
            </a:fld>
            <a:endParaRPr lang="en-US" sz="1200" dirty="0">
              <a:solidFill>
                <a:srgbClr val="4D4D4F"/>
              </a:solidFill>
            </a:endParaRPr>
          </a:p>
        </p:txBody>
      </p:sp>
    </p:spTree>
    <p:extLst>
      <p:ext uri="{BB962C8B-B14F-4D97-AF65-F5344CB8AC3E}">
        <p14:creationId xmlns:p14="http://schemas.microsoft.com/office/powerpoint/2010/main" val="1275489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113" marR="0" lvl="1" indent="0" algn="l" defTabSz="914400" rtl="0" eaLnBrk="1" fontAlgn="base" latinLnBrk="0" hangingPunct="1">
              <a:lnSpc>
                <a:spcPct val="90000"/>
              </a:lnSpc>
              <a:spcBef>
                <a:spcPts val="0"/>
              </a:spcBef>
              <a:spcAft>
                <a:spcPct val="0"/>
              </a:spcAft>
              <a:buClr>
                <a:srgbClr val="72183E"/>
              </a:buClr>
              <a:buSzTx/>
              <a:buFont typeface="Arial" panose="020B0604020202020204" pitchFamily="34" charset="0"/>
              <a:buNone/>
              <a:tabLst/>
              <a:defRPr/>
            </a:pPr>
            <a:r>
              <a:rPr lang="en-US" sz="1600" kern="0" baseline="0" dirty="0">
                <a:solidFill>
                  <a:srgbClr val="4D4D4F"/>
                </a:solidFill>
                <a:latin typeface="Calibri"/>
                <a:cs typeface="Calibri" panose="020F0502020204030204" pitchFamily="34" charset="0"/>
              </a:rPr>
              <a:t>But this new working culture makes employees more susceptible to cyber threats. </a:t>
            </a:r>
          </a:p>
          <a:p>
            <a:pPr marL="11113" lvl="1" indent="0">
              <a:lnSpc>
                <a:spcPct val="90000"/>
              </a:lnSpc>
              <a:spcBef>
                <a:spcPts val="0"/>
              </a:spcBef>
              <a:buClr>
                <a:srgbClr val="72183E"/>
              </a:buClr>
              <a:buFont typeface="Arial" panose="020B0604020202020204" pitchFamily="34" charset="0"/>
              <a:buNone/>
              <a:defRPr/>
            </a:pPr>
            <a:r>
              <a:rPr lang="en-US" sz="1600" kern="0" baseline="0" dirty="0">
                <a:solidFill>
                  <a:srgbClr val="4D4D4F"/>
                </a:solidFill>
                <a:latin typeface="Calibri"/>
                <a:cs typeface="Calibri" panose="020F0502020204030204" pitchFamily="34" charset="0"/>
              </a:rPr>
              <a:t>As evidence, according to a recent industry survey among 2,000 remote employees (from across the world),  </a:t>
            </a:r>
            <a:r>
              <a:rPr lang="en-US" sz="2400" b="0" i="0" u="none" strike="noStrike" kern="1200" cap="none" dirty="0">
                <a:solidFill>
                  <a:schemeClr val="bg1"/>
                </a:solidFill>
                <a:latin typeface="Arial Black" panose="020B0A04020102020204" pitchFamily="34" charset="0"/>
                <a:cs typeface="Calibri" panose="020F0502020204030204" pitchFamily="34" charset="0"/>
                <a:sym typeface="Arial"/>
              </a:rPr>
              <a:t>67</a:t>
            </a:r>
            <a:r>
              <a:rPr lang="en-US" sz="1800" b="0" i="0" u="none" strike="noStrike" kern="1200" cap="none" dirty="0">
                <a:solidFill>
                  <a:schemeClr val="bg1"/>
                </a:solidFill>
                <a:latin typeface="Arial Black" panose="020B0A04020102020204" pitchFamily="34" charset="0"/>
                <a:cs typeface="Calibri" panose="020F0502020204030204" pitchFamily="34" charset="0"/>
                <a:sym typeface="Arial"/>
              </a:rPr>
              <a:t>%</a:t>
            </a:r>
            <a:r>
              <a:rPr lang="en-US" sz="2400" b="0" i="0" u="none" strike="noStrike" kern="1200" cap="none" dirty="0">
                <a:solidFill>
                  <a:schemeClr val="bg1"/>
                </a:solidFill>
                <a:latin typeface="Helvetica" pitchFamily="34" charset="0"/>
                <a:cs typeface="Calibri" panose="020F0502020204030204" pitchFamily="34" charset="0"/>
                <a:sym typeface="Arial"/>
              </a:rPr>
              <a:t>  </a:t>
            </a:r>
            <a:r>
              <a:rPr lang="en-US" sz="2400" b="0" i="0" u="none" strike="noStrike" kern="1200" cap="none" dirty="0" err="1">
                <a:solidFill>
                  <a:schemeClr val="bg1"/>
                </a:solidFill>
                <a:latin typeface="Helvetica" pitchFamily="34" charset="0"/>
                <a:cs typeface="Calibri" panose="020F0502020204030204" pitchFamily="34" charset="0"/>
                <a:sym typeface="Arial"/>
              </a:rPr>
              <a:t>o</a:t>
            </a:r>
            <a:r>
              <a:rPr lang="en-US" sz="1600" dirty="0" err="1">
                <a:solidFill>
                  <a:schemeClr val="bg1"/>
                </a:solidFill>
                <a:latin typeface="Calibri" panose="020F0502020204030204" pitchFamily="34" charset="0"/>
                <a:cs typeface="Calibri" panose="020F0502020204030204" pitchFamily="34" charset="0"/>
              </a:rPr>
              <a:t>admit</a:t>
            </a:r>
            <a:r>
              <a:rPr lang="en-US" sz="1600" dirty="0">
                <a:solidFill>
                  <a:schemeClr val="bg1"/>
                </a:solidFill>
                <a:latin typeface="Calibri" panose="020F0502020204030204" pitchFamily="34" charset="0"/>
                <a:cs typeface="Calibri" panose="020F0502020204030204" pitchFamily="34" charset="0"/>
              </a:rPr>
              <a:t> to finding workarounds to corporate security policies in order to be more productive including sending work documents to personal email addresses, sharing passwords, and installing rogue applications.  </a:t>
            </a:r>
          </a:p>
          <a:p>
            <a:pPr marL="11113" lvl="1" indent="0">
              <a:lnSpc>
                <a:spcPct val="90000"/>
              </a:lnSpc>
              <a:spcBef>
                <a:spcPts val="0"/>
              </a:spcBef>
              <a:buClr>
                <a:srgbClr val="72183E"/>
              </a:buClr>
              <a:buFont typeface="Arial" panose="020B0604020202020204" pitchFamily="34" charset="0"/>
              <a:buNone/>
              <a:defRPr/>
            </a:pPr>
            <a:endParaRPr lang="en-US" sz="1600" b="0" i="0" u="none" strike="noStrike" kern="1200" cap="none" dirty="0">
              <a:solidFill>
                <a:schemeClr val="bg1"/>
              </a:solidFill>
              <a:latin typeface="Helvetica"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nd securit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wareness training doesn’t cut it…according to the same survey,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Over half (54%) of the employees said they had received remote-work specific security training, yet:</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70% of them</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dmit to using corporate devices for personal use.</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nd ~60% o admit that they allow other members of their household to use their corporate devices for activities like schoolwork, gaming and shopping.</a:t>
            </a:r>
            <a:endParaRPr lang="en-GB" sz="1600" b="1" i="0" u="none" strike="noStrike" kern="1200" cap="none" dirty="0">
              <a:solidFill>
                <a:schemeClr val="bg1"/>
              </a:solidFill>
              <a:latin typeface="Helvetica" pitchFamily="34" charset="0"/>
              <a:cs typeface="Calibri" panose="020F0502020204030204" pitchFamily="34" charset="0"/>
              <a:sym typeface="Arial"/>
            </a:endParaRPr>
          </a:p>
          <a:p>
            <a:pPr marL="11113" marR="0" lvl="1" indent="0" algn="l" defTabSz="914400" rtl="0" eaLnBrk="1" fontAlgn="base" latinLnBrk="0" hangingPunct="1">
              <a:lnSpc>
                <a:spcPct val="90000"/>
              </a:lnSpc>
              <a:spcBef>
                <a:spcPts val="0"/>
              </a:spcBef>
              <a:spcAft>
                <a:spcPct val="0"/>
              </a:spcAft>
              <a:buClr>
                <a:srgbClr val="72183E"/>
              </a:buClr>
              <a:buSzTx/>
              <a:buFont typeface="Arial" panose="020B0604020202020204" pitchFamily="34" charset="0"/>
              <a:buNone/>
              <a:tabLst/>
              <a:defRPr/>
            </a:pPr>
            <a:endParaRPr lang="en-US" sz="1600" kern="0" baseline="0" dirty="0">
              <a:solidFill>
                <a:srgbClr val="4D4D4F"/>
              </a:solidFill>
              <a:latin typeface="Calibri"/>
              <a:cs typeface="Calibri" panose="020F0502020204030204" pitchFamily="34" charset="0"/>
            </a:endParaRPr>
          </a:p>
          <a:p>
            <a:pPr marL="11113" marR="0" lvl="1" indent="0" algn="l" defTabSz="914400" rtl="0" eaLnBrk="1" fontAlgn="base" latinLnBrk="0" hangingPunct="1">
              <a:lnSpc>
                <a:spcPct val="90000"/>
              </a:lnSpc>
              <a:spcBef>
                <a:spcPts val="0"/>
              </a:spcBef>
              <a:spcAft>
                <a:spcPct val="0"/>
              </a:spcAft>
              <a:buClr>
                <a:srgbClr val="72183E"/>
              </a:buClr>
              <a:buSzTx/>
              <a:buFont typeface="Arial" panose="020B0604020202020204" pitchFamily="34" charset="0"/>
              <a:buNone/>
              <a:tabLst/>
              <a:defRPr/>
            </a:pPr>
            <a:r>
              <a:rPr lang="en-US" sz="1600" kern="0" baseline="0" dirty="0">
                <a:solidFill>
                  <a:srgbClr val="4D4D4F"/>
                </a:solidFill>
                <a:latin typeface="Calibri"/>
                <a:cs typeface="Calibri" panose="020F0502020204030204" pitchFamily="34" charset="0"/>
              </a:rPr>
              <a:t> </a:t>
            </a:r>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Clr>
                <a:schemeClr val="dk1"/>
              </a:buClr>
              <a:buSzPts val="1200"/>
              <a:buFont typeface="Noto Sans Symbols"/>
              <a:buNone/>
            </a:pPr>
            <a:fld id="{00000000-1234-1234-1234-123412341234}" type="slidenum">
              <a:rPr lang="en-US" sz="1200" b="0" i="0" u="none" strike="noStrike" cap="none" smtClean="0">
                <a:solidFill>
                  <a:schemeClr val="dk1"/>
                </a:solidFill>
                <a:sym typeface="Arial"/>
              </a:rPr>
              <a:t>3</a:t>
            </a:fld>
            <a:endParaRPr lang="en-US" sz="1200" b="0" i="0" u="none" strike="noStrike" cap="none" dirty="0">
              <a:solidFill>
                <a:schemeClr val="dk1"/>
              </a:solidFill>
              <a:sym typeface="Arial"/>
            </a:endParaRPr>
          </a:p>
        </p:txBody>
      </p:sp>
    </p:spTree>
    <p:extLst>
      <p:ext uri="{BB962C8B-B14F-4D97-AF65-F5344CB8AC3E}">
        <p14:creationId xmlns:p14="http://schemas.microsoft.com/office/powerpoint/2010/main" val="2494069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Clr>
                <a:schemeClr val="dk1"/>
              </a:buClr>
              <a:buSzPts val="1200"/>
              <a:buFont typeface="Noto Sans Symbols"/>
              <a:buNone/>
            </a:pPr>
            <a:fld id="{00000000-1234-1234-1234-123412341234}" type="slidenum">
              <a:rPr lang="en-US" sz="1200" b="0" i="0" u="none" strike="noStrike" cap="none" smtClean="0">
                <a:solidFill>
                  <a:schemeClr val="dk1"/>
                </a:solidFill>
                <a:sym typeface="Arial"/>
              </a:rPr>
              <a:t>30</a:t>
            </a:fld>
            <a:endParaRPr lang="en-US" sz="1200" b="0" i="0" u="none" strike="noStrike" cap="none" dirty="0">
              <a:solidFill>
                <a:schemeClr val="dk1"/>
              </a:solidFill>
              <a:sym typeface="Arial"/>
            </a:endParaRPr>
          </a:p>
        </p:txBody>
      </p:sp>
    </p:spTree>
    <p:extLst>
      <p:ext uri="{BB962C8B-B14F-4D97-AF65-F5344CB8AC3E}">
        <p14:creationId xmlns:p14="http://schemas.microsoft.com/office/powerpoint/2010/main" val="4756093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7"/>
        <p:cNvGrpSpPr/>
        <p:nvPr/>
      </p:nvGrpSpPr>
      <p:grpSpPr>
        <a:xfrm>
          <a:off x="0" y="0"/>
          <a:ext cx="0" cy="0"/>
          <a:chOff x="0" y="0"/>
          <a:chExt cx="0" cy="0"/>
        </a:xfrm>
      </p:grpSpPr>
      <p:sp>
        <p:nvSpPr>
          <p:cNvPr id="4868" name="Google Shape;4868;p31:notes"/>
          <p:cNvSpPr>
            <a:spLocks noGrp="1" noRot="1" noChangeAspect="1"/>
          </p:cNvSpPr>
          <p:nvPr>
            <p:ph type="sldImg" idx="2"/>
          </p:nvPr>
        </p:nvSpPr>
        <p:spPr>
          <a:xfrm>
            <a:off x="407988" y="696913"/>
            <a:ext cx="6194425"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869" name="Google Shape;4869;p31: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endParaRPr dirty="0">
              <a:latin typeface="Calibri" panose="020F0502020204030204" pitchFamily="34" charset="0"/>
              <a:cs typeface="Calibri" panose="020F0502020204030204" pitchFamily="34" charset="0"/>
            </a:endParaRPr>
          </a:p>
        </p:txBody>
      </p:sp>
      <p:sp>
        <p:nvSpPr>
          <p:cNvPr id="4870" name="Google Shape;4870;p31: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a:buClr>
                <a:prstClr val="black"/>
              </a:buClr>
              <a:buSzPts val="1200"/>
              <a:buFont typeface="Arial"/>
              <a:buNone/>
            </a:pPr>
            <a:fld id="{00000000-1234-1234-1234-123412341234}" type="slidenum">
              <a:rPr lang="en-US">
                <a:solidFill>
                  <a:prstClr val="black"/>
                </a:solidFill>
                <a:latin typeface="Calibri" panose="020F0502020204030204"/>
              </a:rPr>
              <a:pPr>
                <a:buClr>
                  <a:prstClr val="black"/>
                </a:buClr>
                <a:buSzPts val="1200"/>
                <a:buFont typeface="Arial"/>
                <a:buNone/>
              </a:pPr>
              <a:t>31</a:t>
            </a:fld>
            <a:endParaRPr dirty="0">
              <a:solidFill>
                <a:prstClr val="black"/>
              </a:solidFill>
              <a:latin typeface="Calibri" panose="020F0502020204030204"/>
            </a:endParaRPr>
          </a:p>
        </p:txBody>
      </p:sp>
    </p:spTree>
    <p:extLst>
      <p:ext uri="{BB962C8B-B14F-4D97-AF65-F5344CB8AC3E}">
        <p14:creationId xmlns:p14="http://schemas.microsoft.com/office/powerpoint/2010/main" val="4196658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a:r>
              <a:rPr lang="en-US" sz="1600" b="1" i="0" u="none" strike="noStrike" kern="1200" cap="none" dirty="0">
                <a:solidFill>
                  <a:schemeClr val="tx1"/>
                </a:solidFill>
                <a:effectLst/>
                <a:latin typeface="Calibri" panose="020F0502020204030204" pitchFamily="34" charset="0"/>
                <a:cs typeface="Calibri" panose="020F0502020204030204" pitchFamily="34" charset="0"/>
                <a:sym typeface="Arial"/>
              </a:rPr>
              <a:t>And hackers are taking advantage of the situation… </a:t>
            </a:r>
          </a:p>
          <a:p>
            <a:pPr lvl="0" algn="l"/>
            <a:endPar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endParaRPr>
          </a:p>
          <a:p>
            <a:pPr lvl="0" algn="l"/>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Over the past few months, the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hlinkClick r:id="rId3"/>
              </a:rPr>
              <a:t>Check Point Research</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team have been paying close attention to these malicious activities</a:t>
            </a:r>
            <a:r>
              <a:rPr lang="en-US" sz="1600" b="0" i="0" u="none" strike="noStrike" kern="1200" cap="none" baseline="0" dirty="0">
                <a:solidFill>
                  <a:schemeClr val="tx1"/>
                </a:solidFill>
                <a:effectLst/>
                <a:latin typeface="Calibri" panose="020F0502020204030204" pitchFamily="34" charset="0"/>
                <a:cs typeface="Calibri" panose="020F0502020204030204" pitchFamily="34" charset="0"/>
                <a:sym typeface="Arial"/>
              </a:rPr>
              <a:t> and discovered the following: </a:t>
            </a:r>
            <a:endPar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endParaRPr>
          </a:p>
          <a:p>
            <a:pPr lvl="0" algn="l"/>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a:t>
            </a:r>
          </a:p>
          <a:p>
            <a:pPr marL="342900" marR="0" lvl="0" indent="-34290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With the number of remote workers surging geometrically during the COVID-19 pandemic there was a </a:t>
            </a:r>
          </a:p>
          <a:p>
            <a:pPr lvl="0" algn="l"/>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3,900% increase globally in phishing and malware attacks during the first half of 2020. </a:t>
            </a:r>
            <a:endParaRPr lang="en-US" sz="1100" b="0" i="0" u="none" strike="noStrike" cap="none" dirty="0">
              <a:solidFill>
                <a:schemeClr val="dk1"/>
              </a:solidFill>
              <a:effectLst/>
              <a:latin typeface="Calibri" panose="020F0502020204030204" pitchFamily="34" charset="0"/>
              <a:cs typeface="Calibri" panose="020F0502020204030204" pitchFamily="34" charset="0"/>
              <a:sym typeface="Arial"/>
            </a:endParaRP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endParaRP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Organizations worldwide are in the midst of a massive wave of ransomware attacks. In Q3 2020, the daily average of ransomware attacks has increased by 50%.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In the US alone we saw a 98.1% increase of daily attacks.</a:t>
            </a:r>
            <a:r>
              <a:rPr lang="en-US" sz="1600" b="0" i="0" u="none" strike="noStrike" kern="1200" cap="none" baseline="0" dirty="0">
                <a:solidFill>
                  <a:schemeClr val="tx1"/>
                </a:solidFill>
                <a:effectLst/>
                <a:latin typeface="Calibri" panose="020F0502020204030204" pitchFamily="34" charset="0"/>
                <a:cs typeface="Calibri" panose="020F0502020204030204" pitchFamily="34" charset="0"/>
                <a:sym typeface="Arial"/>
              </a:rPr>
              <a:t>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As these attacks continue to mature both in frequency and intensity, their impact on business has grown exponentially.  In Q4 2020, there has been reports about ransomware attacks targeting a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hlinkClick r:id="rId4"/>
              </a:rPr>
              <a:t>shipping giant</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a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hlinkClick r:id="rId5"/>
              </a:rPr>
              <a:t>US-based broker</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and one of the </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hlinkClick r:id="rId6"/>
              </a:rPr>
              <a:t>largest watch-makers</a:t>
            </a:r>
            <a:r>
              <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rPr>
              <a:t> in the world.</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b="0" i="0" u="none" strike="noStrike" kern="1200" cap="none" dirty="0">
              <a:solidFill>
                <a:schemeClr val="tx1"/>
              </a:solidFill>
              <a:effectLst/>
              <a:latin typeface="Calibri" panose="020F0502020204030204" pitchFamily="34" charset="0"/>
              <a:cs typeface="Calibri" panose="020F0502020204030204" pitchFamily="34" charset="0"/>
              <a:sym typeface="Arial"/>
            </a:endParaRPr>
          </a:p>
          <a:p>
            <a:pPr lvl="0" algn="l"/>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Clr>
                <a:schemeClr val="dk1"/>
              </a:buClr>
              <a:buSzPts val="1200"/>
              <a:buFont typeface="Noto Sans Symbols"/>
              <a:buNone/>
            </a:pPr>
            <a:fld id="{00000000-1234-1234-1234-123412341234}" type="slidenum">
              <a:rPr lang="en-US" sz="1200" b="0" i="0" u="none" strike="noStrike" cap="none" smtClean="0">
                <a:solidFill>
                  <a:schemeClr val="dk1"/>
                </a:solidFill>
                <a:sym typeface="Arial"/>
              </a:rPr>
              <a:t>4</a:t>
            </a:fld>
            <a:endParaRPr lang="en-US" sz="1200" b="0" i="0" u="none" strike="noStrike" cap="none" dirty="0">
              <a:solidFill>
                <a:schemeClr val="dk1"/>
              </a:solidFill>
              <a:sym typeface="Arial"/>
            </a:endParaRPr>
          </a:p>
        </p:txBody>
      </p:sp>
    </p:spTree>
    <p:extLst>
      <p:ext uri="{BB962C8B-B14F-4D97-AF65-F5344CB8AC3E}">
        <p14:creationId xmlns:p14="http://schemas.microsoft.com/office/powerpoint/2010/main" val="910547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a:solidFill>
                  <a:schemeClr val="tx1"/>
                </a:solidFill>
                <a:effectLst/>
                <a:latin typeface="Calibri" panose="020F0502020204030204" pitchFamily="34" charset="0"/>
                <a:ea typeface="+mn-ea"/>
                <a:cs typeface="Calibri" panose="020F0502020204030204" pitchFamily="34" charset="0"/>
              </a:rPr>
              <a:t>Employees and remote users that work from home but may occasionally work from office, employees that require secure access from any location and any device, and employees that access the internet and corporate applications that reside everywhere from the traditional datacenters to somewhere in the cloud</a:t>
            </a:r>
          </a:p>
          <a:p>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EE9B47-791B-47F7-AE03-C0D580CA0B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348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marR="0" lvl="0" indent="-169863" algn="l" defTabSz="914400" rtl="0" eaLnBrk="1" fontAlgn="auto" latinLnBrk="0" hangingPunct="1">
              <a:lnSpc>
                <a:spcPct val="100000"/>
              </a:lnSpc>
              <a:spcBef>
                <a:spcPts val="480"/>
              </a:spcBef>
              <a:spcAft>
                <a:spcPts val="0"/>
              </a:spcAft>
              <a:buClr>
                <a:schemeClr val="bg2"/>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With users working anywhere and using their mobile phones and laptops to access any application,</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your attack surface has never been wider. Especially since corporate apps these days are </a:t>
            </a:r>
            <a:r>
              <a:rPr lang="en-US" sz="1600" dirty="0">
                <a:latin typeface="Calibri" panose="020F0502020204030204" pitchFamily="34" charset="0"/>
                <a:cs typeface="Calibri" panose="020F0502020204030204" pitchFamily="34" charset="0"/>
              </a:rPr>
              <a:t>distributed across</a:t>
            </a:r>
            <a:r>
              <a:rPr lang="en-US" sz="1600" baseline="0" dirty="0">
                <a:latin typeface="Calibri" panose="020F0502020204030204" pitchFamily="34" charset="0"/>
                <a:cs typeface="Calibri" panose="020F0502020204030204" pitchFamily="34" charset="0"/>
              </a:rPr>
              <a:t> cloud,</a:t>
            </a:r>
            <a:r>
              <a:rPr lang="en-US" sz="1600" dirty="0">
                <a:latin typeface="Calibri" panose="020F0502020204030204" pitchFamily="34" charset="0"/>
                <a:cs typeface="Calibri" panose="020F0502020204030204" pitchFamily="34" charset="0"/>
              </a:rPr>
              <a:t> IaaS, and datacenters</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Therefore S</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ensitive business data continually flows from BYOD devices to SaaS and cloud applications . </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1608332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indent="-169863">
              <a:lnSpc>
                <a:spcPct val="100000"/>
              </a:lnSpc>
              <a:buClr>
                <a:schemeClr val="bg2"/>
              </a:buClr>
            </a:pPr>
            <a:r>
              <a:rPr lang="en-US" sz="1800" b="0" i="0" u="none" strike="noStrike" cap="none" dirty="0">
                <a:solidFill>
                  <a:schemeClr val="dk1"/>
                </a:solidFill>
                <a:effectLst/>
                <a:latin typeface="Calibri" panose="020F0502020204030204" pitchFamily="34" charset="0"/>
                <a:cs typeface="Calibri" panose="020F0502020204030204" pitchFamily="34" charset="0"/>
                <a:sym typeface="Arial"/>
              </a:rPr>
              <a:t>To keep their corporate networks and sensitive data safe, organizations have no option but to recalibrate their security approach around remote users and access. Securing this hyper distributed workspace requires deploying</a:t>
            </a:r>
            <a:r>
              <a:rPr lang="en-US" sz="1800" b="0" i="0" u="none" strike="noStrike" cap="none" baseline="0" dirty="0">
                <a:solidFill>
                  <a:schemeClr val="dk1"/>
                </a:solidFill>
                <a:effectLst/>
                <a:latin typeface="Calibri" panose="020F0502020204030204" pitchFamily="34" charset="0"/>
                <a:cs typeface="Calibri" panose="020F0502020204030204" pitchFamily="34" charset="0"/>
                <a:sym typeface="Arial"/>
              </a:rPr>
              <a:t> endless cyber protections across devices, networks, access points, and applications. From endpoint and mobile security and email protection. From phishing and ransomware protection and remote access security, …. The list is long… </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1014419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indent="-169863">
              <a:lnSpc>
                <a:spcPct val="100000"/>
              </a:lnSpc>
              <a:buClr>
                <a:schemeClr val="bg2"/>
              </a:buCl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owever, stitching together point solutions may leave them with security gaps, fragmented visibility, complex management, and limited options to scale.  To address these challenges, Check Point introduces Harmony…</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EEE9B47-791B-47F7-AE03-C0D580CA0B67}" type="slidenum">
              <a:rPr kumimoji="0" lang="en-US" sz="1200" b="0" i="0" u="none" strike="noStrike" kern="1200" cap="none" spc="0" normalizeH="0" baseline="0" noProof="0" smtClean="0">
                <a:ln>
                  <a:noFill/>
                </a:ln>
                <a:solidFill>
                  <a:srgbClr val="4D4D4F"/>
                </a:solidFill>
                <a:effectLst/>
                <a:uLnTx/>
                <a:uFillTx/>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srgbClr val="4D4D4F"/>
              </a:solidFill>
              <a:effectLst/>
              <a:uLnTx/>
              <a:uFillTx/>
              <a:ea typeface="+mn-ea"/>
              <a:cs typeface="+mn-cs"/>
            </a:endParaRPr>
          </a:p>
        </p:txBody>
      </p:sp>
    </p:spTree>
    <p:extLst>
      <p:ext uri="{BB962C8B-B14F-4D97-AF65-F5344CB8AC3E}">
        <p14:creationId xmlns:p14="http://schemas.microsoft.com/office/powerpoint/2010/main" val="1183883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C</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heck point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Harmony</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the industry’s first unified security solution for users, devices, and access.  The solution consolidates 6 security</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products to provide complete protection for remote users.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hlinkClick r:id="rId3"/>
              </a:rPr>
              <a:t>Check Point Harmony</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 consolidates six security products: </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1. Endpoint Protection (EPP)</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2. Cloud-delivered Network Securit</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y (SASE)</a:t>
            </a:r>
            <a:endParaRPr lang="en-US" sz="1600" b="0" i="0" u="none" strike="noStrike" cap="none" dirty="0">
              <a:solidFill>
                <a:schemeClr val="dk1"/>
              </a:solidFill>
              <a:effectLst/>
              <a:latin typeface="Calibri" panose="020F0502020204030204" pitchFamily="34" charset="0"/>
              <a:cs typeface="Calibri" panose="020F0502020204030204" pitchFamily="34" charset="0"/>
              <a:sym typeface="Arial"/>
            </a:endParaRP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3. Clientless Zero Trust Network Access (ZTNA)</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4. Email &amp; Office security</a:t>
            </a:r>
          </a:p>
          <a:p>
            <a:pPr marL="457200" marR="0" lvl="0" indent="-228600" algn="l" defTabSz="914400" rtl="0" eaLnBrk="1" fontAlgn="auto" latinLnBrk="0" hangingPunct="1">
              <a:lnSpc>
                <a:spcPct val="100000"/>
              </a:lnSpc>
              <a:spcBef>
                <a:spcPts val="480"/>
              </a:spcBef>
              <a:spcAft>
                <a:spcPts val="0"/>
              </a:spcAft>
              <a:buClr>
                <a:srgbClr val="000000"/>
              </a:buClr>
              <a:buSzPts val="1400"/>
              <a:buFont typeface="Arial"/>
              <a:buNone/>
              <a:tabLst/>
              <a:defRPr/>
            </a:pP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5. Secure Internet Browsing </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6. Mobile security (also known</a:t>
            </a:r>
            <a:r>
              <a:rPr lang="en-US" sz="1600" b="0" i="0" u="none" strike="noStrike" cap="none" baseline="0" dirty="0">
                <a:solidFill>
                  <a:schemeClr val="dk1"/>
                </a:solidFill>
                <a:effectLst/>
                <a:latin typeface="Calibri" panose="020F0502020204030204" pitchFamily="34" charset="0"/>
                <a:cs typeface="Calibri" panose="020F0502020204030204" pitchFamily="34" charset="0"/>
                <a:sym typeface="Arial"/>
              </a:rPr>
              <a:t> as </a:t>
            </a:r>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MTD- mobile threat defense )</a:t>
            </a:r>
          </a:p>
          <a:p>
            <a:r>
              <a:rPr lang="en-US" sz="1600" b="0" i="0" u="none" strike="noStrike" cap="none" dirty="0">
                <a:solidFill>
                  <a:schemeClr val="dk1"/>
                </a:solidFill>
                <a:effectLst/>
                <a:latin typeface="Calibri" panose="020F0502020204030204" pitchFamily="34" charset="0"/>
                <a:cs typeface="Calibri" panose="020F0502020204030204" pitchFamily="34" charset="0"/>
                <a:sym typeface="Arial"/>
              </a:rPr>
              <a:t>The unified solution provides multi-layered protection for remote users against known and zero-day attacks and across all threat vectors. It protects users regardless of where they reside, the devices they use (company-owned/BYOD/Mobile /PC/Tablet), and the application they access (including the internet, SaaS applications, corporate applications in data centers or public clouds as well as Remote desktops, and the intranet).</a:t>
            </a:r>
          </a:p>
        </p:txBody>
      </p:sp>
      <p:sp>
        <p:nvSpPr>
          <p:cNvPr id="4" name="Slide Number Placeholder 3"/>
          <p:cNvSpPr>
            <a:spLocks noGrp="1"/>
          </p:cNvSpPr>
          <p:nvPr>
            <p:ph type="sldNum" sz="quarter" idx="10"/>
          </p:nvPr>
        </p:nvSpPr>
        <p:spPr/>
        <p:txBody>
          <a:bodyPr/>
          <a:lstStyle/>
          <a:p>
            <a:pPr>
              <a:defRPr/>
            </a:pPr>
            <a:fld id="{3EEE9B47-791B-47F7-AE03-C0D580CA0B67}" type="slidenum">
              <a:rPr lang="en-US" smtClean="0">
                <a:solidFill>
                  <a:srgbClr val="4D4D4F"/>
                </a:solidFill>
              </a:rPr>
              <a:pPr>
                <a:defRPr/>
              </a:pPr>
              <a:t>9</a:t>
            </a:fld>
            <a:endParaRPr lang="en-US" dirty="0">
              <a:solidFill>
                <a:srgbClr val="4D4D4F"/>
              </a:solidFill>
            </a:endParaRPr>
          </a:p>
        </p:txBody>
      </p:sp>
    </p:spTree>
    <p:extLst>
      <p:ext uri="{BB962C8B-B14F-4D97-AF65-F5344CB8AC3E}">
        <p14:creationId xmlns:p14="http://schemas.microsoft.com/office/powerpoint/2010/main" val="2274864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2.jpe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9.xml"/><Relationship Id="rId7"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6.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1.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3.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3.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3.xml"/><Relationship Id="rId7"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5.xml"/><Relationship Id="rId6" Type="http://schemas.openxmlformats.org/officeDocument/2006/relationships/image" Target="../media/image28.png"/><Relationship Id="rId5" Type="http://schemas.openxmlformats.org/officeDocument/2006/relationships/image" Target="../media/image16.png"/><Relationship Id="rId4"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g"/><Relationship Id="rId1" Type="http://schemas.openxmlformats.org/officeDocument/2006/relationships/slideMaster" Target="../slideMasters/slideMaster5.xml"/><Relationship Id="rId4" Type="http://schemas.openxmlformats.org/officeDocument/2006/relationships/image" Target="../media/image3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g"/><Relationship Id="rId1" Type="http://schemas.openxmlformats.org/officeDocument/2006/relationships/slideMaster" Target="../slideMasters/slideMaster5.xml"/><Relationship Id="rId4" Type="http://schemas.openxmlformats.org/officeDocument/2006/relationships/image" Target="../media/image32.jpe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39.jpeg"/><Relationship Id="rId2" Type="http://schemas.openxmlformats.org/officeDocument/2006/relationships/image" Target="../media/image35.jpeg"/><Relationship Id="rId1" Type="http://schemas.openxmlformats.org/officeDocument/2006/relationships/slideMaster" Target="../slideMasters/slideMaster5.xml"/><Relationship Id="rId6" Type="http://schemas.openxmlformats.org/officeDocument/2006/relationships/image" Target="../media/image38.jpeg"/><Relationship Id="rId5" Type="http://schemas.openxmlformats.org/officeDocument/2006/relationships/image" Target="../media/image37.jpeg"/><Relationship Id="rId4" Type="http://schemas.microsoft.com/office/2007/relationships/hdphoto" Target="../media/hdphoto1.wdp"/><Relationship Id="rId9" Type="http://schemas.microsoft.com/office/2007/relationships/hdphoto" Target="../media/hdphoto2.wdp"/></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lide Title"/>
          <p:cNvSpPr>
            <a:spLocks noGrp="1"/>
          </p:cNvSpPr>
          <p:nvPr>
            <p:ph type="title"/>
          </p:nvPr>
        </p:nvSpPr>
        <p:spPr>
          <a:xfrm>
            <a:off x="583843"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spTree>
    <p:extLst>
      <p:ext uri="{BB962C8B-B14F-4D97-AF65-F5344CB8AC3E}">
        <p14:creationId xmlns:p14="http://schemas.microsoft.com/office/powerpoint/2010/main" val="3654139781"/>
      </p:ext>
    </p:extLst>
  </p:cSld>
  <p:clrMapOvr>
    <a:masterClrMapping/>
  </p:clrMapOvr>
  <p:transition>
    <p:fade/>
  </p:transition>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p:txBody>
          <a:bodyPr/>
          <a:lstStyle>
            <a:lvl1pPr>
              <a:defRPr/>
            </a:lvl1pPr>
          </a:lstStyle>
          <a:p>
            <a:fld id="{2FC49419-D41E-44F5-9A46-D647CCCBF8A3}" type="datetimeFigureOut">
              <a:rPr lang="en-US" smtClean="0"/>
              <a:pPr/>
              <a:t>29-Feb-24</a:t>
            </a:fld>
            <a:endParaRPr lang="en-US" dirty="0"/>
          </a:p>
        </p:txBody>
      </p:sp>
    </p:spTree>
    <p:extLst>
      <p:ext uri="{BB962C8B-B14F-4D97-AF65-F5344CB8AC3E}">
        <p14:creationId xmlns:p14="http://schemas.microsoft.com/office/powerpoint/2010/main" val="1193873859"/>
      </p:ext>
    </p:extLst>
  </p:cSld>
  <p:clrMapOvr>
    <a:masterClrMapping/>
  </p:clrMapOvr>
  <p:transition>
    <p:fade/>
  </p:transition>
  <p:hf sldNum="0"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_2 (New World 202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4" y="1787"/>
            <a:ext cx="12188824" cy="6856213"/>
          </a:xfrm>
          <a:prstGeom prst="rect">
            <a:avLst/>
          </a:prstGeom>
        </p:spPr>
      </p:pic>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userDrawn="1">
            <p:ph type="dt" sz="half" idx="15"/>
          </p:nvPr>
        </p:nvSpPr>
        <p:spPr>
          <a:xfrm>
            <a:off x="-3048000" y="6356350"/>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pic>
        <p:nvPicPr>
          <p:cNvPr id="9" name="Picture 8"/>
          <p:cNvPicPr>
            <a:picLocks noChangeAspect="1"/>
          </p:cNvPicPr>
          <p:nvPr userDrawn="1"/>
        </p:nvPicPr>
        <p:blipFill>
          <a:blip r:embed="rId3"/>
          <a:stretch>
            <a:fillRect/>
          </a:stretch>
        </p:blipFill>
        <p:spPr>
          <a:xfrm>
            <a:off x="1032480" y="739110"/>
            <a:ext cx="2768536" cy="468876"/>
          </a:xfrm>
          <a:prstGeom prst="rect">
            <a:avLst/>
          </a:prstGeom>
        </p:spPr>
      </p:pic>
      <p:sp>
        <p:nvSpPr>
          <p:cNvPr id="16" name="Speaker name and date"/>
          <p:cNvSpPr>
            <a:spLocks noGrp="1"/>
          </p:cNvSpPr>
          <p:nvPr>
            <p:ph type="subTitle" idx="1" hasCustomPrompt="1"/>
          </p:nvPr>
        </p:nvSpPr>
        <p:spPr>
          <a:xfrm>
            <a:off x="9266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tx1">
                    <a:lumMod val="75000"/>
                  </a:schemeClr>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7" name="Sub-title"/>
          <p:cNvSpPr>
            <a:spLocks noGrp="1"/>
          </p:cNvSpPr>
          <p:nvPr>
            <p:ph type="body" sz="quarter" idx="13" hasCustomPrompt="1"/>
          </p:nvPr>
        </p:nvSpPr>
        <p:spPr>
          <a:xfrm>
            <a:off x="917279"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tx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18" name="Title"/>
          <p:cNvSpPr>
            <a:spLocks noGrp="1"/>
          </p:cNvSpPr>
          <p:nvPr>
            <p:ph type="body" sz="quarter" idx="14" hasCustomPrompt="1"/>
          </p:nvPr>
        </p:nvSpPr>
        <p:spPr>
          <a:xfrm>
            <a:off x="91259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tx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grpSp>
        <p:nvGrpSpPr>
          <p:cNvPr id="13" name="Group 12"/>
          <p:cNvGrpSpPr/>
          <p:nvPr userDrawn="1"/>
        </p:nvGrpSpPr>
        <p:grpSpPr>
          <a:xfrm>
            <a:off x="7723786" y="1115240"/>
            <a:ext cx="3429000" cy="3429000"/>
            <a:chOff x="7723786" y="1115240"/>
            <a:chExt cx="3429000" cy="3429000"/>
          </a:xfrm>
        </p:grpSpPr>
        <p:sp>
          <p:nvSpPr>
            <p:cNvPr id="14" name="Oval 13"/>
            <p:cNvSpPr/>
            <p:nvPr userDrawn="1"/>
          </p:nvSpPr>
          <p:spPr bwMode="auto">
            <a:xfrm>
              <a:off x="7723786" y="1115240"/>
              <a:ext cx="3429000" cy="3429000"/>
            </a:xfrm>
            <a:prstGeom prst="ellipse">
              <a:avLst/>
            </a:prstGeom>
            <a:solidFill>
              <a:schemeClr val="bg1"/>
            </a:solidFill>
            <a:ln w="76200" algn="ctr">
              <a:solidFill>
                <a:schemeClr val="bg2"/>
              </a:solidFill>
              <a:miter lim="800000"/>
              <a:headEnd/>
              <a:tailEnd/>
            </a:ln>
            <a:effectLst>
              <a:outerShdw blurRad="215900" dist="889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120847" y="1933185"/>
              <a:ext cx="2780932" cy="1470804"/>
            </a:xfrm>
            <a:prstGeom prst="rect">
              <a:avLst/>
            </a:prstGeom>
          </p:spPr>
        </p:pic>
      </p:grpSp>
    </p:spTree>
    <p:extLst>
      <p:ext uri="{BB962C8B-B14F-4D97-AF65-F5344CB8AC3E}">
        <p14:creationId xmlns:p14="http://schemas.microsoft.com/office/powerpoint/2010/main" val="3274397166"/>
      </p:ext>
    </p:extLst>
  </p:cSld>
  <p:clrMapOvr>
    <a:masterClrMapping/>
  </p:clrMapOvr>
  <p:transition>
    <p:fade/>
  </p:transition>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Agenda list"/>
          <p:cNvSpPr>
            <a:spLocks noGrp="1"/>
          </p:cNvSpPr>
          <p:nvPr>
            <p:ph sz="quarter" idx="13"/>
          </p:nvPr>
        </p:nvSpPr>
        <p:spPr>
          <a:xfrm>
            <a:off x="2243780" y="1752898"/>
            <a:ext cx="9211620" cy="4163242"/>
          </a:xfrm>
        </p:spPr>
        <p:txBody>
          <a:bodyPr/>
          <a:lstStyle>
            <a:lvl1pPr marL="228600" indent="-228600">
              <a:lnSpc>
                <a:spcPct val="120000"/>
              </a:lnSpc>
              <a:buFont typeface="Calibri" panose="020F0502020204030204" pitchFamily="34" charset="0"/>
              <a:buChar char="•"/>
              <a:defRPr sz="2400">
                <a:solidFill>
                  <a:schemeClr val="tx1">
                    <a:lumMod val="50000"/>
                  </a:schemeClr>
                </a:solidFill>
              </a:defRPr>
            </a:lvl1pPr>
            <a:lvl2pPr marL="576072" indent="-228600">
              <a:buFont typeface="Calibri" panose="020F0502020204030204" pitchFamily="34" charset="0"/>
              <a:buChar char="̶"/>
              <a:defRPr>
                <a:solidFill>
                  <a:schemeClr val="tx1">
                    <a:lumMod val="50000"/>
                  </a:schemeClr>
                </a:solidFill>
              </a:defRPr>
            </a:lvl2pPr>
          </a:lstStyle>
          <a:p>
            <a:pPr lvl="0"/>
            <a:r>
              <a:rPr lang="en-US"/>
              <a:t>Click to edit Master text styles</a:t>
            </a:r>
          </a:p>
          <a:p>
            <a:pPr lvl="1"/>
            <a:r>
              <a:rPr lang="en-US"/>
              <a:t>Second level</a:t>
            </a:r>
          </a:p>
        </p:txBody>
      </p:sp>
      <p:sp>
        <p:nvSpPr>
          <p:cNvPr id="6" name="Slide Title"/>
          <p:cNvSpPr>
            <a:spLocks noGrp="1"/>
          </p:cNvSpPr>
          <p:nvPr>
            <p:ph type="title"/>
          </p:nvPr>
        </p:nvSpPr>
        <p:spPr>
          <a:xfrm>
            <a:off x="1166812" y="976680"/>
            <a:ext cx="10288587" cy="707289"/>
          </a:xfrm>
        </p:spPr>
        <p:txBody>
          <a:bodyPr/>
          <a:lstStyle>
            <a:lvl1pPr>
              <a:defRPr>
                <a:solidFill>
                  <a:schemeClr val="bg2"/>
                </a:solidFill>
              </a:defRPr>
            </a:lvl1pPr>
          </a:lstStyle>
          <a:p>
            <a:r>
              <a:rPr lang="en-US"/>
              <a:t>Click to edit Master title style</a:t>
            </a:r>
            <a:endParaRPr lang="en-US" dirty="0"/>
          </a:p>
        </p:txBody>
      </p:sp>
      <p:sp>
        <p:nvSpPr>
          <p:cNvPr id="2" name="Date Placeholder 1"/>
          <p:cNvSpPr>
            <a:spLocks noGrp="1"/>
          </p:cNvSpPr>
          <p:nvPr>
            <p:ph type="dt" sz="half" idx="14"/>
          </p:nvPr>
        </p:nvSpPr>
        <p:spPr>
          <a:xfrm>
            <a:off x="-2976664" y="6356350"/>
            <a:ext cx="2843213" cy="365125"/>
          </a:xfrm>
        </p:spPr>
        <p:txBody>
          <a:bodyPr/>
          <a:lstStyle>
            <a:lvl1pPr>
              <a:defRPr>
                <a:latin typeface="Calibri" panose="020F0502020204030204" pitchFamily="34" charset="0"/>
              </a:defRPr>
            </a:lvl1pPr>
          </a:lstStyle>
          <a:p>
            <a:pPr>
              <a:buClr>
                <a:srgbClr val="FF0000"/>
              </a:buClr>
            </a:pPr>
            <a:fld id="{1B14FBC4-36FA-423D-BDD2-47F855CE7E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374860644"/>
      </p:ext>
    </p:extLst>
  </p:cSld>
  <p:clrMapOvr>
    <a:masterClrMapping/>
  </p:clrMapOvr>
  <p:transition>
    <p:fade/>
  </p:transition>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gu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1786"/>
            <a:ext cx="12188824" cy="6856214"/>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6" name="Section title"/>
          <p:cNvSpPr>
            <a:spLocks noGrp="1"/>
          </p:cNvSpPr>
          <p:nvPr>
            <p:ph type="body" sz="quarter" idx="13" hasCustomPrompt="1"/>
          </p:nvPr>
        </p:nvSpPr>
        <p:spPr bwMode="white">
          <a:xfrm>
            <a:off x="637180" y="2171235"/>
            <a:ext cx="7254370" cy="3027783"/>
          </a:xfrm>
          <a:prstGeom prst="rect">
            <a:avLst/>
          </a:prstGeom>
        </p:spPr>
        <p:txBody>
          <a:bodyPr wrap="square" anchor="t" anchorCtr="0">
            <a:noAutofit/>
          </a:bodyPr>
          <a:lstStyle>
            <a:lvl1pPr marL="0" indent="0" algn="l">
              <a:lnSpc>
                <a:spcPct val="100000"/>
              </a:lnSpc>
              <a:spcBef>
                <a:spcPts val="0"/>
              </a:spcBef>
              <a:buNone/>
              <a:defRPr sz="4800" b="0" cap="all" baseline="0">
                <a:solidFill>
                  <a:schemeClr val="bg1"/>
                </a:solidFill>
              </a:defRPr>
            </a:lvl1pPr>
            <a:lvl5pPr marL="1371360"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19" y="963868"/>
            <a:ext cx="4649659" cy="891075"/>
          </a:xfrm>
          <a:prstGeom prst="rect">
            <a:avLst/>
          </a:prstGeom>
        </p:spPr>
        <p:txBody>
          <a:bodyPr anchor="t" anchorCtr="0">
            <a:noAutofit/>
          </a:bodyPr>
          <a:lstStyle>
            <a:lvl1pPr marL="0" indent="0" algn="l">
              <a:lnSpc>
                <a:spcPct val="100000"/>
              </a:lnSpc>
              <a:spcBef>
                <a:spcPts val="0"/>
              </a:spcBef>
              <a:buNone/>
              <a:defRPr sz="6000" b="1" baseline="0">
                <a:solidFill>
                  <a:schemeClr val="bg1"/>
                </a:solidFill>
              </a:defRPr>
            </a:lvl1pPr>
            <a:lvl5pPr marL="1371360" indent="0">
              <a:buNone/>
              <a:defRPr/>
            </a:lvl5pPr>
          </a:lstStyle>
          <a:p>
            <a:pPr lvl="0"/>
            <a:r>
              <a:rPr lang="en-US" dirty="0"/>
              <a:t>Click to Edit</a:t>
            </a:r>
          </a:p>
        </p:txBody>
      </p:sp>
      <p:sp>
        <p:nvSpPr>
          <p:cNvPr id="2" name="Date Placeholder 1"/>
          <p:cNvSpPr>
            <a:spLocks noGrp="1"/>
          </p:cNvSpPr>
          <p:nvPr>
            <p:ph type="dt" sz="half" idx="17"/>
          </p:nvPr>
        </p:nvSpPr>
        <p:spPr>
          <a:xfrm>
            <a:off x="-3156888" y="6356350"/>
            <a:ext cx="2843213" cy="365125"/>
          </a:xfrm>
        </p:spPr>
        <p:txBody>
          <a:bodyPr/>
          <a:lstStyle>
            <a:lvl1pPr>
              <a:defRPr>
                <a:latin typeface="Calibri" panose="020F0502020204030204" pitchFamily="34" charset="0"/>
              </a:defRPr>
            </a:lvl1pPr>
          </a:lstStyle>
          <a:p>
            <a:pPr>
              <a:buClr>
                <a:srgbClr val="FF0000"/>
              </a:buClr>
            </a:pPr>
            <a:fld id="{BFD34698-4CB0-4260-A437-6B0E52C5ABA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70335851"/>
      </p:ext>
    </p:extLst>
  </p:cSld>
  <p:clrMapOvr>
    <a:masterClrMapping/>
  </p:clrMapOvr>
  <p:transition>
    <p:fade/>
  </p:transition>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799803601"/>
      </p:ext>
    </p:extLst>
  </p:cSld>
  <p:clrMapOvr>
    <a:masterClrMapping/>
  </p:clrMapOvr>
  <p:transition>
    <p:fade/>
  </p:transition>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600" indent="-228600">
              <a:lnSpc>
                <a:spcPct val="95000"/>
              </a:lnSpc>
              <a:spcBef>
                <a:spcPts val="1000"/>
              </a:spcBef>
              <a:buClr>
                <a:schemeClr val="tx2"/>
              </a:buClr>
              <a:buSzPct val="85000"/>
              <a:buFont typeface="Arial" panose="020B0604020202020204" pitchFamily="34" charset="0"/>
              <a:buChar char="•"/>
              <a:defRPr sz="24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2000">
                <a:solidFill>
                  <a:schemeClr val="tx1"/>
                </a:solidFill>
              </a:defRPr>
            </a:lvl2pPr>
            <a:lvl3pPr marL="704088" indent="-155448">
              <a:lnSpc>
                <a:spcPct val="95000"/>
              </a:lnSpc>
              <a:spcBef>
                <a:spcPts val="800"/>
              </a:spcBef>
              <a:buClr>
                <a:schemeClr val="tx2"/>
              </a:buClr>
              <a:buFont typeface="Arial" panose="020B0604020202020204" pitchFamily="34" charset="0"/>
              <a:buChar char="•"/>
              <a:defRPr sz="1800">
                <a:solidFill>
                  <a:schemeClr val="tx1"/>
                </a:solidFill>
              </a:defRPr>
            </a:lvl3pPr>
            <a:lvl4pPr marL="905256" indent="-155448">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600" indent="-228600">
              <a:lnSpc>
                <a:spcPct val="95000"/>
              </a:lnSpc>
              <a:spcBef>
                <a:spcPts val="1000"/>
              </a:spcBef>
              <a:buClr>
                <a:schemeClr val="tx2"/>
              </a:buClr>
              <a:buSzPct val="85000"/>
              <a:buFont typeface="Arial" panose="020B0604020202020204" pitchFamily="34" charset="0"/>
              <a:buChar char="•"/>
              <a:defRPr sz="24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2000">
                <a:solidFill>
                  <a:schemeClr val="tx1"/>
                </a:solidFill>
              </a:defRPr>
            </a:lvl2pPr>
            <a:lvl3pPr marL="704088" indent="-155448">
              <a:lnSpc>
                <a:spcPct val="95000"/>
              </a:lnSpc>
              <a:spcBef>
                <a:spcPts val="800"/>
              </a:spcBef>
              <a:buClr>
                <a:schemeClr val="tx2"/>
              </a:buClr>
              <a:buFont typeface="Arial" panose="020B0604020202020204" pitchFamily="34" charset="0"/>
              <a:buChar char="•"/>
              <a:defRPr sz="1800">
                <a:solidFill>
                  <a:schemeClr val="tx1"/>
                </a:solidFill>
              </a:defRPr>
            </a:lvl3pPr>
            <a:lvl4pPr marL="905256" indent="-155448">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a:xfrm>
            <a:off x="-2996629" y="6356350"/>
            <a:ext cx="2843213" cy="365125"/>
          </a:xfrm>
        </p:spPr>
        <p:txBody>
          <a:bodyPr/>
          <a:lstStyle>
            <a:lvl1pPr>
              <a:defRPr>
                <a:latin typeface="Calibri" panose="020F0502020204030204" pitchFamily="34" charset="0"/>
              </a:defRPr>
            </a:lvl1pPr>
          </a:lstStyle>
          <a:p>
            <a:pPr>
              <a:buClr>
                <a:srgbClr val="FF0000"/>
              </a:buClr>
            </a:pPr>
            <a:fld id="{8F2A6A3B-A6C9-4C0C-BBE8-3BEF53BED0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743497107"/>
      </p:ext>
    </p:extLst>
  </p:cSld>
  <p:clrMapOvr>
    <a:masterClrMapping/>
  </p:clrMapOvr>
  <p:transition>
    <p:fade/>
  </p:transition>
  <p:hf sldNum="0"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ub-title_column 3"/>
          <p:cNvSpPr>
            <a:spLocks noGrp="1"/>
          </p:cNvSpPr>
          <p:nvPr>
            <p:ph type="body" sz="quarter" idx="16"/>
          </p:nvPr>
        </p:nvSpPr>
        <p:spPr>
          <a:xfrm>
            <a:off x="8289002" y="1525707"/>
            <a:ext cx="3345117"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Click to 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Click to 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Click to 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rgbClr val="4D4D4F"/>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0"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a:xfrm>
            <a:off x="-3119919" y="6356350"/>
            <a:ext cx="2843213" cy="365125"/>
          </a:xfrm>
        </p:spPr>
        <p:txBody>
          <a:bodyPr/>
          <a:lstStyle>
            <a:lvl1pPr>
              <a:defRPr>
                <a:latin typeface="Calibri" panose="020F0502020204030204" pitchFamily="34" charset="0"/>
              </a:defRPr>
            </a:lvl1pPr>
          </a:lstStyle>
          <a:p>
            <a:pPr>
              <a:buClr>
                <a:srgbClr val="FF0000"/>
              </a:buClr>
            </a:pPr>
            <a:fld id="{B4E2EE95-4511-40DC-8811-39B6C5014E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858446595"/>
      </p:ext>
    </p:extLst>
  </p:cSld>
  <p:clrMapOvr>
    <a:masterClrMapping/>
  </p:clrMapOvr>
  <p:transition>
    <p:fade/>
  </p:transition>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3" name="Date Placeholder 2"/>
          <p:cNvSpPr>
            <a:spLocks noGrp="1"/>
          </p:cNvSpPr>
          <p:nvPr>
            <p:ph type="dt" sz="half" idx="12"/>
          </p:nvPr>
        </p:nvSpPr>
        <p:spPr>
          <a:xfrm>
            <a:off x="-3068549" y="6356350"/>
            <a:ext cx="2843213" cy="365125"/>
          </a:xfrm>
        </p:spPr>
        <p:txBody>
          <a:bodyPr/>
          <a:lstStyle>
            <a:lvl1pPr>
              <a:defRPr>
                <a:latin typeface="Calibri" panose="020F0502020204030204" pitchFamily="34" charset="0"/>
              </a:defRPr>
            </a:lvl1pPr>
          </a:lstStyle>
          <a:p>
            <a:pPr>
              <a:buClr>
                <a:srgbClr val="FF0000"/>
              </a:buClr>
            </a:pPr>
            <a:fld id="{BA761656-1249-4F38-99F8-ACF2559DA4D2}"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466967162"/>
      </p:ext>
    </p:extLst>
  </p:cSld>
  <p:clrMapOvr>
    <a:masterClrMapping/>
  </p:clrMapOvr>
  <p:transition>
    <p:fade/>
  </p:transition>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3017177" y="6356350"/>
            <a:ext cx="2843213" cy="365125"/>
          </a:xfrm>
        </p:spPr>
        <p:txBody>
          <a:bodyPr/>
          <a:lstStyle>
            <a:lvl1pPr>
              <a:defRPr>
                <a:latin typeface="Calibri" panose="020F0502020204030204" pitchFamily="34" charset="0"/>
              </a:defRPr>
            </a:lvl1pPr>
          </a:lstStyle>
          <a:p>
            <a:pPr>
              <a:buClr>
                <a:srgbClr val="FF0000"/>
              </a:buClr>
            </a:pPr>
            <a:fld id="{C21F6912-E12D-42E4-A1B4-78CBD40CB479}"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493780960"/>
      </p:ext>
    </p:extLst>
  </p:cSld>
  <p:clrMapOvr>
    <a:masterClrMapping/>
  </p:clrMapOvr>
  <p:transition>
    <p:fade/>
  </p:transition>
  <p:hf sldNum="0"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grpSp>
        <p:nvGrpSpPr>
          <p:cNvPr id="5" name="Pink Background"/>
          <p:cNvGrpSpPr/>
          <p:nvPr userDrawn="1"/>
        </p:nvGrpSpPr>
        <p:grpSpPr>
          <a:xfrm>
            <a:off x="5929630"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600"/>
                </a:spcBef>
                <a:buClr>
                  <a:srgbClr val="FF0000"/>
                </a:buClr>
                <a:buSzPct val="115000"/>
                <a:buFont typeface="Wingdings" pitchFamily="2" charset="2"/>
                <a:buNone/>
              </a:pPr>
              <a:endParaRPr lang="en-US" sz="3200" kern="1200" dirty="0">
                <a:solidFill>
                  <a:srgbClr val="4D4D4F"/>
                </a:solidFill>
                <a:latin typeface="Calibri"/>
                <a:ea typeface="+mn-ea"/>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fontAlgn="base">
                <a:lnSpc>
                  <a:spcPct val="80000"/>
                </a:lnSpc>
                <a:spcBef>
                  <a:spcPts val="1600"/>
                </a:spcBef>
                <a:buClr>
                  <a:srgbClr val="FF0000"/>
                </a:buClr>
                <a:buSzPct val="115000"/>
                <a:buFont typeface="Wingdings" pitchFamily="2" charset="2"/>
                <a:buNone/>
              </a:pPr>
              <a:endParaRPr lang="en-US" sz="3200" kern="1200" dirty="0">
                <a:solidFill>
                  <a:srgbClr val="4D4D4F"/>
                </a:solidFill>
                <a:latin typeface="Calibri"/>
                <a:ea typeface="+mn-ea"/>
                <a:cs typeface="Calibri" panose="020F0502020204030204" pitchFamily="34" charset="0"/>
              </a:endParaRPr>
            </a:p>
          </p:txBody>
        </p:sp>
      </p:grpSp>
      <p:sp>
        <p:nvSpPr>
          <p:cNvPr id="8" name="Credit text"/>
          <p:cNvSpPr>
            <a:spLocks noGrp="1"/>
          </p:cNvSpPr>
          <p:nvPr>
            <p:ph type="body" sz="quarter" idx="14" hasCustomPrompt="1"/>
          </p:nvPr>
        </p:nvSpPr>
        <p:spPr bwMode="white">
          <a:xfrm>
            <a:off x="6478069"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3" y="2011680"/>
            <a:ext cx="4563058" cy="2440001"/>
          </a:xfrm>
          <a:prstGeom prst="rect">
            <a:avLst/>
          </a:prstGeom>
        </p:spPr>
        <p:txBody>
          <a:bodyPr lIns="91440" tIns="45720" rIns="91440" bIns="45720" anchor="ctr">
            <a:noAutofit/>
          </a:bodyPr>
          <a:lstStyle>
            <a:lvl1pPr marL="152345" indent="-152345" algn="l" defTabSz="1218732" rtl="0" eaLnBrk="1" latinLnBrk="0" hangingPunct="1">
              <a:lnSpc>
                <a:spcPct val="95000"/>
              </a:lnSpc>
              <a:spcBef>
                <a:spcPts val="0"/>
              </a:spcBef>
              <a:buNone/>
              <a:defRPr lang="en-US" sz="2800" b="1" kern="1200" dirty="0" smtClean="0">
                <a:solidFill>
                  <a:schemeClr val="tx1"/>
                </a:solidFill>
                <a:latin typeface="Calibri" panose="020F0502020204030204" pitchFamily="34" charset="0"/>
                <a:ea typeface="+mn-ea"/>
                <a:cs typeface="Calibri" panose="020F0502020204030204" pitchFamily="34" charset="0"/>
              </a:defRPr>
            </a:lvl1pPr>
            <a:lvl2pPr marL="152345" indent="-152345" algn="l" defTabSz="1218732" rtl="0" eaLnBrk="1" latinLnBrk="0" hangingPunct="1">
              <a:defRPr lang="en-US" sz="2700" kern="1200" dirty="0" smtClean="0">
                <a:solidFill>
                  <a:schemeClr val="accent2"/>
                </a:solidFill>
                <a:latin typeface="Ciscolight" pitchFamily="2" charset="0"/>
                <a:ea typeface="+mn-ea"/>
                <a:cs typeface="+mn-cs"/>
              </a:defRPr>
            </a:lvl2pPr>
            <a:lvl3pPr marL="152345" indent="-152345" algn="l" defTabSz="1218732" rtl="0" eaLnBrk="1" latinLnBrk="0" hangingPunct="1">
              <a:defRPr lang="en-US" sz="2700" kern="1200" dirty="0" smtClean="0">
                <a:solidFill>
                  <a:schemeClr val="accent2"/>
                </a:solidFill>
                <a:latin typeface="Ciscolight" pitchFamily="2" charset="0"/>
                <a:ea typeface="+mn-ea"/>
                <a:cs typeface="+mn-cs"/>
              </a:defRPr>
            </a:lvl3pPr>
            <a:lvl4pPr marL="152345" indent="-152345" algn="l" defTabSz="1218732" rtl="0" eaLnBrk="1" latinLnBrk="0" hangingPunct="1">
              <a:defRPr lang="en-US" sz="2700" kern="1200" dirty="0" smtClean="0">
                <a:solidFill>
                  <a:schemeClr val="accent2"/>
                </a:solidFill>
                <a:latin typeface="Ciscolight" pitchFamily="2" charset="0"/>
                <a:ea typeface="+mn-ea"/>
                <a:cs typeface="+mn-cs"/>
              </a:defRPr>
            </a:lvl4pPr>
            <a:lvl5pPr marL="152345" indent="-152345" algn="l" defTabSz="1218732" rtl="0" eaLnBrk="1" latinLnBrk="0" hangingPunct="1">
              <a:defRPr lang="en-US" sz="2700" kern="1200" dirty="0" smtClean="0">
                <a:solidFill>
                  <a:schemeClr val="accent2"/>
                </a:solidFill>
                <a:latin typeface="Ciscolight" pitchFamily="2" charset="0"/>
                <a:ea typeface="+mn-ea"/>
                <a:cs typeface="+mn-cs"/>
              </a:defRPr>
            </a:lvl5pPr>
          </a:lstStyle>
          <a:p>
            <a:pPr lvl="0"/>
            <a:r>
              <a:rPr lang="en-US" dirty="0"/>
              <a:t>Click to edit Master text styles</a:t>
            </a:r>
          </a:p>
        </p:txBody>
      </p:sp>
      <p:sp>
        <p:nvSpPr>
          <p:cNvPr id="10" name="Slide Title"/>
          <p:cNvSpPr>
            <a:spLocks noGrp="1"/>
          </p:cNvSpPr>
          <p:nvPr>
            <p:ph type="title"/>
          </p:nvPr>
        </p:nvSpPr>
        <p:spPr>
          <a:xfrm>
            <a:off x="583842"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7"/>
            <a:ext cx="5074008" cy="3783163"/>
          </a:xfrm>
          <a:prstGeom prst="rect">
            <a:avLst/>
          </a:prstGeom>
        </p:spPr>
        <p:txBody>
          <a:bodyPr>
            <a:noAutofit/>
          </a:bodyPr>
          <a:lstStyle>
            <a:lvl1pPr marL="224327" indent="-224327">
              <a:lnSpc>
                <a:spcPct val="95000"/>
              </a:lnSpc>
              <a:buSzPct val="85000"/>
              <a:buFont typeface="Calibri" panose="020F0502020204030204" pitchFamily="34" charset="0"/>
              <a:buChar char="•"/>
              <a:defRPr sz="2400">
                <a:solidFill>
                  <a:schemeClr val="tx1"/>
                </a:solidFill>
              </a:defRPr>
            </a:lvl1pPr>
            <a:lvl2pPr marL="458788" indent="-228600">
              <a:lnSpc>
                <a:spcPct val="95000"/>
              </a:lnSpc>
              <a:buFont typeface="Calibri" panose="020F0502020204030204" pitchFamily="34" charset="0"/>
              <a:buChar char="−"/>
              <a:defRPr sz="2000"/>
            </a:lvl2pPr>
            <a:lvl3pPr>
              <a:defRPr sz="2100"/>
            </a:lvl3pPr>
            <a:lvl4pPr>
              <a:defRPr sz="1900"/>
            </a:lvl4pPr>
            <a:lvl5pPr>
              <a:defRPr sz="1600"/>
            </a:lvl5pPr>
          </a:lstStyle>
          <a:p>
            <a:pPr lvl="0"/>
            <a:r>
              <a:rPr lang="en-US"/>
              <a:t>Click to edit Master text styles</a:t>
            </a:r>
          </a:p>
          <a:p>
            <a:pPr lvl="1"/>
            <a:r>
              <a:rPr lang="en-US"/>
              <a:t>Second level</a:t>
            </a:r>
          </a:p>
        </p:txBody>
      </p:sp>
      <p:sp>
        <p:nvSpPr>
          <p:cNvPr id="2" name="Date Placeholder 1"/>
          <p:cNvSpPr>
            <a:spLocks noGrp="1"/>
          </p:cNvSpPr>
          <p:nvPr>
            <p:ph type="dt" sz="half" idx="17"/>
          </p:nvPr>
        </p:nvSpPr>
        <p:spPr>
          <a:xfrm>
            <a:off x="-2945259" y="6356350"/>
            <a:ext cx="2843213" cy="365125"/>
          </a:xfrm>
        </p:spPr>
        <p:txBody>
          <a:bodyPr/>
          <a:lstStyle>
            <a:lvl1pPr>
              <a:defRPr>
                <a:latin typeface="Calibri" panose="020F0502020204030204" pitchFamily="34" charset="0"/>
              </a:defRPr>
            </a:lvl1pPr>
          </a:lstStyle>
          <a:p>
            <a:pPr>
              <a:buClr>
                <a:srgbClr val="FF0000"/>
              </a:buClr>
            </a:pPr>
            <a:fld id="{DEA4E619-B820-4E56-B835-00DD6E9C1F7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844474225"/>
      </p:ext>
    </p:extLst>
  </p:cSld>
  <p:clrMapOvr>
    <a:masterClrMapping/>
  </p:clrMapOvr>
  <p:transition>
    <p:fade/>
  </p:transition>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Gray gradient"/>
          <p:cNvSpPr/>
          <p:nvPr userDrawn="1"/>
        </p:nvSpPr>
        <p:spPr bwMode="auto">
          <a:xfrm>
            <a:off x="4241060" y="-21465"/>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a:solidFill>
                <a:srgbClr val="4D4D4F"/>
              </a:solidFill>
              <a:latin typeface="Calibri"/>
              <a:ea typeface="+mn-ea"/>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0" y="1399032"/>
            <a:ext cx="6730683" cy="4443814"/>
          </a:xfrm>
          <a:prstGeom prst="rect">
            <a:avLst/>
          </a:prstGeom>
        </p:spPr>
        <p:txBody>
          <a:bodyPr lIns="91440" tIns="45720" rIns="91440" bIns="45720" anchor="ctr" anchorCtr="0">
            <a:noAutofit/>
          </a:bodyPr>
          <a:lstStyle>
            <a:lvl1pPr marL="320040" indent="-320040">
              <a:lnSpc>
                <a:spcPct val="95000"/>
              </a:lnSpc>
              <a:buSzPct val="85000"/>
              <a:buFont typeface="Calibri" panose="020F0502020204030204" pitchFamily="34" charset="0"/>
              <a:buChar char="•"/>
              <a:defRPr sz="3200" baseline="0">
                <a:solidFill>
                  <a:schemeClr val="tx1"/>
                </a:solidFill>
                <a:latin typeface="Calibri" panose="020F0502020204030204" pitchFamily="34" charset="0"/>
                <a:cs typeface="Calibri" panose="020F0502020204030204" pitchFamily="34" charset="0"/>
              </a:defRPr>
            </a:lvl1pPr>
            <a:lvl2pPr marL="667512" indent="-237744">
              <a:lnSpc>
                <a:spcPct val="95000"/>
              </a:lnSpc>
              <a:defRPr sz="2700">
                <a:latin typeface="Calibri" panose="020F0502020204030204" pitchFamily="34" charset="0"/>
                <a:cs typeface="Calibri" panose="020F0502020204030204" pitchFamily="34" charset="0"/>
              </a:defRPr>
            </a:lvl2pPr>
            <a:lvl3pPr>
              <a:defRPr sz="2700"/>
            </a:lvl3pPr>
            <a:lvl4pPr>
              <a:defRPr sz="2700"/>
            </a:lvl4pPr>
            <a:lvl5pPr>
              <a:defRPr sz="2700"/>
            </a:lvl5pPr>
          </a:lstStyle>
          <a:p>
            <a:pPr lvl="0"/>
            <a:r>
              <a:rPr lang="en-US" dirty="0"/>
              <a:t>Click to 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783" rtl="0" eaLnBrk="1" latinLnBrk="0" hangingPunct="1">
              <a:lnSpc>
                <a:spcPct val="80000"/>
              </a:lnSpc>
              <a:spcBef>
                <a:spcPct val="0"/>
              </a:spcBef>
              <a:buClr>
                <a:schemeClr val="tx1"/>
              </a:buClr>
              <a:buFont typeface="Ciscolight" pitchFamily="2" charset="0"/>
              <a:buNone/>
              <a:defRPr lang="en-US" sz="4000"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0"/>
            <a:ext cx="2843213" cy="365125"/>
          </a:xfrm>
        </p:spPr>
        <p:txBody>
          <a:bodyPr/>
          <a:lstStyle>
            <a:lvl1pPr>
              <a:defRPr>
                <a:latin typeface="Calibri" panose="020F0502020204030204" pitchFamily="34" charset="0"/>
              </a:defRPr>
            </a:lvl1pPr>
          </a:lstStyle>
          <a:p>
            <a:pPr>
              <a:buClr>
                <a:srgbClr val="FF0000"/>
              </a:buClr>
            </a:pPr>
            <a:fld id="{25B14EA0-D077-4AF7-BC7C-65CF8C1E39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684023318"/>
      </p:ext>
    </p:extLst>
  </p:cSld>
  <p:clrMapOvr>
    <a:masterClrMapping/>
  </p:clrMapOvr>
  <p:transition>
    <p:fade/>
  </p:transition>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a:buClr>
                <a:srgbClr val="FF0000"/>
              </a:buCl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0"/>
            <a:ext cx="2843213" cy="365125"/>
          </a:xfrm>
          <a:prstGeom prst="rect">
            <a:avLst/>
          </a:prstGeom>
        </p:spPr>
        <p:txBody>
          <a:bodyPr/>
          <a:lstStyle>
            <a:lvl1pPr>
              <a:defRPr/>
            </a:lvl1pPr>
          </a:lstStyle>
          <a:p>
            <a:pPr>
              <a:buClr>
                <a:srgbClr val="FF0000"/>
              </a:buClr>
            </a:pPr>
            <a:fld id="{1C396E99-728E-4BC1-9827-5FA2D157E6FB}"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13" name="Bullet text"/>
          <p:cNvSpPr>
            <a:spLocks noGrp="1"/>
          </p:cNvSpPr>
          <p:nvPr>
            <p:ph sz="quarter" idx="11"/>
          </p:nvPr>
        </p:nvSpPr>
        <p:spPr>
          <a:xfrm>
            <a:off x="583074" y="1457960"/>
            <a:ext cx="11000914" cy="4676140"/>
          </a:xfrm>
        </p:spPr>
        <p:txBody>
          <a:bodyPr/>
          <a:lstStyle/>
          <a:p>
            <a:pPr lvl="0"/>
            <a:r>
              <a:rPr lang="en-US"/>
              <a:t>Click to edit Master text styles</a:t>
            </a:r>
          </a:p>
          <a:p>
            <a:pPr lvl="1"/>
            <a:r>
              <a:rPr lang="en-US"/>
              <a:t>Second level</a:t>
            </a:r>
          </a:p>
          <a:p>
            <a:pPr lvl="2"/>
            <a:r>
              <a:rPr lang="en-US"/>
              <a:t>Third level</a:t>
            </a:r>
          </a:p>
        </p:txBody>
      </p:sp>
      <p:sp>
        <p:nvSpPr>
          <p:cNvPr id="2" name="Slide Title"/>
          <p:cNvSpPr>
            <a:spLocks noGrp="1"/>
          </p:cNvSpPr>
          <p:nvPr>
            <p:ph type="title"/>
          </p:nvPr>
        </p:nvSpPr>
        <p:spPr>
          <a:xfrm>
            <a:off x="583842" y="460552"/>
            <a:ext cx="9857339" cy="923748"/>
          </a:xfrm>
        </p:spPr>
        <p:txBody>
          <a:bodyPr/>
          <a:lstStyle>
            <a:lvl1pPr>
              <a:defRPr>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744129895"/>
      </p:ext>
    </p:extLst>
  </p:cSld>
  <p:clrMapOvr>
    <a:masterClrMapping/>
  </p:clrMapOvr>
  <p:transition>
    <p:fade/>
  </p:transition>
  <p:hf sldNum="0"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5"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5"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6"/>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053729872"/>
      </p:ext>
    </p:extLst>
  </p:cSld>
  <p:clrMapOvr>
    <a:masterClrMapping/>
  </p:clrMapOvr>
  <p:transition>
    <p:fade/>
  </p:transition>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5"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393" indent="-228393">
              <a:lnSpc>
                <a:spcPct val="95000"/>
              </a:lnSpc>
              <a:spcBef>
                <a:spcPts val="1000"/>
              </a:spcBef>
              <a:buClr>
                <a:schemeClr val="tx2"/>
              </a:buClr>
              <a:buSzPct val="85000"/>
              <a:buFont typeface="Arial" panose="020B0604020202020204" pitchFamily="34" charset="0"/>
              <a:buChar char="•"/>
              <a:defRPr sz="23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997">
                <a:solidFill>
                  <a:schemeClr val="tx1"/>
                </a:solidFill>
              </a:defRPr>
            </a:lvl2pPr>
            <a:lvl3pPr marL="703455" indent="-155307">
              <a:lnSpc>
                <a:spcPct val="95000"/>
              </a:lnSpc>
              <a:spcBef>
                <a:spcPts val="800"/>
              </a:spcBef>
              <a:buClr>
                <a:schemeClr val="tx2"/>
              </a:buClr>
              <a:buFont typeface="Arial" panose="020B0604020202020204" pitchFamily="34" charset="0"/>
              <a:buChar char="•"/>
              <a:defRPr sz="1797">
                <a:solidFill>
                  <a:schemeClr val="tx1"/>
                </a:solidFill>
              </a:defRPr>
            </a:lvl3pPr>
            <a:lvl4pPr marL="904442" indent="-155307">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393" indent="-228393">
              <a:lnSpc>
                <a:spcPct val="95000"/>
              </a:lnSpc>
              <a:spcBef>
                <a:spcPts val="1000"/>
              </a:spcBef>
              <a:buClr>
                <a:schemeClr val="tx2"/>
              </a:buClr>
              <a:buSzPct val="85000"/>
              <a:buFont typeface="Arial" panose="020B0604020202020204" pitchFamily="34" charset="0"/>
              <a:buChar char="•"/>
              <a:defRPr sz="23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997">
                <a:solidFill>
                  <a:schemeClr val="tx1"/>
                </a:solidFill>
              </a:defRPr>
            </a:lvl2pPr>
            <a:lvl3pPr marL="703455" indent="-155307">
              <a:lnSpc>
                <a:spcPct val="95000"/>
              </a:lnSpc>
              <a:spcBef>
                <a:spcPts val="800"/>
              </a:spcBef>
              <a:buClr>
                <a:schemeClr val="tx2"/>
              </a:buClr>
              <a:buFont typeface="Arial" panose="020B0604020202020204" pitchFamily="34" charset="0"/>
              <a:buChar char="•"/>
              <a:defRPr sz="1797">
                <a:solidFill>
                  <a:schemeClr val="tx1"/>
                </a:solidFill>
              </a:defRPr>
            </a:lvl3pPr>
            <a:lvl4pPr marL="904442" indent="-155307">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a:xfrm>
            <a:off x="-2996626" y="6356356"/>
            <a:ext cx="2843213" cy="365125"/>
          </a:xfrm>
        </p:spPr>
        <p:txBody>
          <a:bodyPr/>
          <a:lstStyle>
            <a:lvl1pPr>
              <a:defRPr>
                <a:latin typeface="Calibri" panose="020F0502020204030204" pitchFamily="34" charset="0"/>
              </a:defRPr>
            </a:lvl1pPr>
          </a:lstStyle>
          <a:p>
            <a:pPr>
              <a:buClr>
                <a:srgbClr val="FF0000"/>
              </a:buClr>
            </a:pPr>
            <a:fld id="{8F2A6A3B-A6C9-4C0C-BBE8-3BEF53BED0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3728883"/>
      </p:ext>
    </p:extLst>
  </p:cSld>
  <p:clrMapOvr>
    <a:masterClrMapping/>
  </p:clrMapOvr>
  <p:transition>
    <p:fade/>
  </p:transition>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ub-title_column 3"/>
          <p:cNvSpPr>
            <a:spLocks noGrp="1"/>
          </p:cNvSpPr>
          <p:nvPr>
            <p:ph type="body" sz="quarter" idx="16"/>
          </p:nvPr>
        </p:nvSpPr>
        <p:spPr>
          <a:xfrm>
            <a:off x="8289005" y="1525707"/>
            <a:ext cx="3345117"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rgbClr val="4D4D4F"/>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3"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a:xfrm>
            <a:off x="-3119916" y="6356356"/>
            <a:ext cx="2843213" cy="365125"/>
          </a:xfrm>
        </p:spPr>
        <p:txBody>
          <a:bodyPr/>
          <a:lstStyle>
            <a:lvl1pPr>
              <a:defRPr>
                <a:latin typeface="Calibri" panose="020F0502020204030204" pitchFamily="34" charset="0"/>
              </a:defRPr>
            </a:lvl1pPr>
          </a:lstStyle>
          <a:p>
            <a:pPr>
              <a:buClr>
                <a:srgbClr val="FF0000"/>
              </a:buClr>
            </a:pPr>
            <a:fld id="{B4E2EE95-4511-40DC-8811-39B6C5014E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991967944"/>
      </p:ext>
    </p:extLst>
  </p:cSld>
  <p:clrMapOvr>
    <a:masterClrMapping/>
  </p:clrMapOvr>
  <p:transition>
    <p:fade/>
  </p:transition>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grpSp>
        <p:nvGrpSpPr>
          <p:cNvPr id="5" name="Pink Background"/>
          <p:cNvGrpSpPr/>
          <p:nvPr userDrawn="1"/>
        </p:nvGrpSpPr>
        <p:grpSpPr>
          <a:xfrm>
            <a:off x="5929633"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197" dirty="0">
                <a:latin typeface="Calibri"/>
                <a:ea typeface="+mn-ea"/>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197" dirty="0">
                <a:latin typeface="Calibri"/>
                <a:ea typeface="+mn-ea"/>
                <a:cs typeface="Calibri" panose="020F0502020204030204" pitchFamily="34" charset="0"/>
              </a:endParaRPr>
            </a:p>
          </p:txBody>
        </p:sp>
      </p:grpSp>
      <p:sp>
        <p:nvSpPr>
          <p:cNvPr id="8" name="Credit text"/>
          <p:cNvSpPr>
            <a:spLocks noGrp="1"/>
          </p:cNvSpPr>
          <p:nvPr>
            <p:ph type="body" sz="quarter" idx="14" hasCustomPrompt="1"/>
          </p:nvPr>
        </p:nvSpPr>
        <p:spPr bwMode="white">
          <a:xfrm>
            <a:off x="6478072"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6" y="2011686"/>
            <a:ext cx="4563058" cy="2440001"/>
          </a:xfrm>
          <a:prstGeom prst="rect">
            <a:avLst/>
          </a:prstGeom>
        </p:spPr>
        <p:txBody>
          <a:bodyPr lIns="91440" tIns="45720" rIns="91440" bIns="45720" anchor="ctr">
            <a:noAutofit/>
          </a:bodyPr>
          <a:lstStyle>
            <a:lvl1pPr marL="152207" indent="-152207" algn="l" defTabSz="1217635" rtl="0" eaLnBrk="1" latinLnBrk="0" hangingPunct="1">
              <a:lnSpc>
                <a:spcPct val="95000"/>
              </a:lnSpc>
              <a:spcBef>
                <a:spcPts val="0"/>
              </a:spcBef>
              <a:buNone/>
              <a:defRPr lang="en-US" sz="2797" b="1" kern="1200" dirty="0" smtClean="0">
                <a:solidFill>
                  <a:schemeClr val="tx1"/>
                </a:solidFill>
                <a:latin typeface="Calibri" panose="020F0502020204030204" pitchFamily="34" charset="0"/>
                <a:ea typeface="+mn-ea"/>
                <a:cs typeface="Calibri" panose="020F0502020204030204" pitchFamily="34" charset="0"/>
              </a:defRPr>
            </a:lvl1pPr>
            <a:lvl2pPr marL="152207" indent="-152207" algn="l" defTabSz="1217635" rtl="0" eaLnBrk="1" latinLnBrk="0" hangingPunct="1">
              <a:defRPr lang="en-US" sz="2697" kern="1200" dirty="0" smtClean="0">
                <a:solidFill>
                  <a:schemeClr val="accent2"/>
                </a:solidFill>
                <a:latin typeface="Ciscolight" pitchFamily="2" charset="0"/>
                <a:ea typeface="+mn-ea"/>
                <a:cs typeface="+mn-cs"/>
              </a:defRPr>
            </a:lvl2pPr>
            <a:lvl3pPr marL="152207" indent="-152207" algn="l" defTabSz="1217635" rtl="0" eaLnBrk="1" latinLnBrk="0" hangingPunct="1">
              <a:defRPr lang="en-US" sz="2697" kern="1200" dirty="0" smtClean="0">
                <a:solidFill>
                  <a:schemeClr val="accent2"/>
                </a:solidFill>
                <a:latin typeface="Ciscolight" pitchFamily="2" charset="0"/>
                <a:ea typeface="+mn-ea"/>
                <a:cs typeface="+mn-cs"/>
              </a:defRPr>
            </a:lvl3pPr>
            <a:lvl4pPr marL="152207" indent="-152207" algn="l" defTabSz="1217635" rtl="0" eaLnBrk="1" latinLnBrk="0" hangingPunct="1">
              <a:defRPr lang="en-US" sz="2697" kern="1200" dirty="0" smtClean="0">
                <a:solidFill>
                  <a:schemeClr val="accent2"/>
                </a:solidFill>
                <a:latin typeface="Ciscolight" pitchFamily="2" charset="0"/>
                <a:ea typeface="+mn-ea"/>
                <a:cs typeface="+mn-cs"/>
              </a:defRPr>
            </a:lvl4pPr>
            <a:lvl5pPr marL="152207" indent="-152207" algn="l" defTabSz="1217635" rtl="0" eaLnBrk="1" latinLnBrk="0" hangingPunct="1">
              <a:defRPr lang="en-US" sz="2697"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5"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42"/>
            <a:ext cx="5074008" cy="3783163"/>
          </a:xfrm>
          <a:prstGeom prst="rect">
            <a:avLst/>
          </a:prstGeom>
        </p:spPr>
        <p:txBody>
          <a:bodyPr>
            <a:noAutofit/>
          </a:bodyPr>
          <a:lstStyle>
            <a:lvl1pPr marL="224126" indent="-224126">
              <a:lnSpc>
                <a:spcPct val="95000"/>
              </a:lnSpc>
              <a:buSzPct val="85000"/>
              <a:buFont typeface="Calibri" panose="020F0502020204030204" pitchFamily="34" charset="0"/>
              <a:buChar char="•"/>
              <a:defRPr sz="2397">
                <a:solidFill>
                  <a:schemeClr val="tx1"/>
                </a:solidFill>
              </a:defRPr>
            </a:lvl1pPr>
            <a:lvl2pPr marL="458374" indent="-228393">
              <a:lnSpc>
                <a:spcPct val="95000"/>
              </a:lnSpc>
              <a:buFont typeface="Calibri" panose="020F0502020204030204" pitchFamily="34" charset="0"/>
              <a:buChar char="−"/>
              <a:defRPr sz="1997"/>
            </a:lvl2pPr>
            <a:lvl3pPr>
              <a:defRPr sz="2097"/>
            </a:lvl3pPr>
            <a:lvl4pPr>
              <a:defRPr sz="1897"/>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6"/>
            <a:ext cx="2843213" cy="365125"/>
          </a:xfrm>
        </p:spPr>
        <p:txBody>
          <a:bodyPr/>
          <a:lstStyle>
            <a:lvl1pPr>
              <a:defRPr>
                <a:latin typeface="Calibri" panose="020F0502020204030204" pitchFamily="34" charset="0"/>
              </a:defRPr>
            </a:lvl1pPr>
          </a:lstStyle>
          <a:p>
            <a:pPr>
              <a:buClr>
                <a:srgbClr val="FF0000"/>
              </a:buClr>
            </a:pPr>
            <a:fld id="{DEA4E619-B820-4E56-B835-00DD6E9C1F7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96999818"/>
      </p:ext>
    </p:extLst>
  </p:cSld>
  <p:clrMapOvr>
    <a:masterClrMapping/>
  </p:clrMapOvr>
  <p:transition>
    <p:fade/>
  </p:transition>
  <p:hf sldNum="0"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Gray gradient"/>
          <p:cNvSpPr/>
          <p:nvPr userDrawn="1"/>
        </p:nvSpPr>
        <p:spPr bwMode="auto">
          <a:xfrm>
            <a:off x="4241063"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7" dirty="0">
              <a:latin typeface="Calibri"/>
              <a:ea typeface="+mn-ea"/>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3" y="1399032"/>
            <a:ext cx="6730683" cy="4443814"/>
          </a:xfrm>
          <a:prstGeom prst="rect">
            <a:avLst/>
          </a:prstGeom>
        </p:spPr>
        <p:txBody>
          <a:bodyPr lIns="91440" tIns="45720" rIns="91440" bIns="45720" anchor="ctr" anchorCtr="0">
            <a:noAutofit/>
          </a:bodyPr>
          <a:lstStyle>
            <a:lvl1pPr marL="319752" indent="-319752">
              <a:lnSpc>
                <a:spcPct val="95000"/>
              </a:lnSpc>
              <a:buSzPct val="85000"/>
              <a:buFont typeface="Calibri" panose="020F0502020204030204" pitchFamily="34" charset="0"/>
              <a:buChar char="•"/>
              <a:defRPr sz="3197" baseline="0">
                <a:solidFill>
                  <a:schemeClr val="tx1"/>
                </a:solidFill>
                <a:latin typeface="Calibri" panose="020F0502020204030204" pitchFamily="34" charset="0"/>
                <a:cs typeface="Calibri" panose="020F0502020204030204" pitchFamily="34" charset="0"/>
              </a:defRPr>
            </a:lvl1pPr>
            <a:lvl2pPr marL="666912" indent="-237531">
              <a:lnSpc>
                <a:spcPct val="95000"/>
              </a:lnSpc>
              <a:defRPr sz="2697">
                <a:latin typeface="Calibri" panose="020F0502020204030204" pitchFamily="34" charset="0"/>
                <a:cs typeface="Calibri" panose="020F0502020204030204" pitchFamily="34" charset="0"/>
              </a:defRPr>
            </a:lvl2pPr>
            <a:lvl3pPr>
              <a:defRPr sz="2697"/>
            </a:lvl3pPr>
            <a:lvl4pPr>
              <a:defRPr sz="2697"/>
            </a:lvl4pPr>
            <a:lvl5pPr>
              <a:defRPr sz="2697"/>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7686" rtl="0" eaLnBrk="1" latinLnBrk="0" hangingPunct="1">
              <a:lnSpc>
                <a:spcPct val="80000"/>
              </a:lnSpc>
              <a:spcBef>
                <a:spcPct val="0"/>
              </a:spcBef>
              <a:buClr>
                <a:schemeClr val="tx1"/>
              </a:buClr>
              <a:buFont typeface="Ciscolight" pitchFamily="2" charset="0"/>
              <a:buNone/>
              <a:defRPr lang="en-US" sz="3997"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6"/>
            <a:ext cx="2843213" cy="365125"/>
          </a:xfrm>
        </p:spPr>
        <p:txBody>
          <a:bodyPr/>
          <a:lstStyle>
            <a:lvl1pPr>
              <a:defRPr>
                <a:latin typeface="Calibri" panose="020F0502020204030204" pitchFamily="34" charset="0"/>
              </a:defRPr>
            </a:lvl1pPr>
          </a:lstStyle>
          <a:p>
            <a:pPr>
              <a:buClr>
                <a:srgbClr val="FF0000"/>
              </a:buClr>
            </a:pPr>
            <a:fld id="{25B14EA0-D077-4AF7-BC7C-65CF8C1E39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289837204"/>
      </p:ext>
    </p:extLst>
  </p:cSld>
  <p:clrMapOvr>
    <a:masterClrMapping/>
  </p:clrMapOvr>
  <p:transition>
    <p:fade/>
  </p:transition>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6"/>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999611195"/>
      </p:ext>
    </p:extLst>
  </p:cSld>
  <p:clrMapOvr>
    <a:masterClrMapping/>
  </p:clrMapOvr>
  <p:transition>
    <p:fade/>
  </p:transition>
  <p:hf sldNum="0"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absolutly-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19EEC1-FCFF-491D-98EE-8FFA37A45C9E}"/>
              </a:ext>
            </a:extLst>
          </p:cNvPr>
          <p:cNvSpPr>
            <a:spLocks noGrp="1"/>
          </p:cNvSpPr>
          <p:nvPr>
            <p:ph type="dt" sz="half" idx="10"/>
          </p:nvPr>
        </p:nvSpPr>
        <p:spPr>
          <a:xfrm>
            <a:off x="10673689" y="6356357"/>
            <a:ext cx="1159631" cy="366183"/>
          </a:xfrm>
        </p:spPr>
        <p:txBody>
          <a:bodyPr/>
          <a:lstStyle>
            <a:lvl1pPr>
              <a:defRPr u="none">
                <a:solidFill>
                  <a:schemeClr val="bg1"/>
                </a:solidFill>
                <a:effectLst>
                  <a:outerShdw blurRad="38100" dist="38100" dir="2700000" algn="tl">
                    <a:srgbClr val="000000">
                      <a:alpha val="43137"/>
                    </a:srgbClr>
                  </a:outerShdw>
                </a:effectLst>
                <a:latin typeface="Calibri" panose="020F0502020204030204" pitchFamily="34" charset="0"/>
              </a:defRPr>
            </a:lvl1pPr>
          </a:lstStyle>
          <a:p>
            <a:pPr>
              <a:buClr>
                <a:srgbClr val="FF0000"/>
              </a:buClr>
            </a:pPr>
            <a:fld id="{3D7CEAB6-8CB3-4B17-B049-4F43C9FB4BF4}" type="datetime1">
              <a:rPr lang="en-US" smtClean="0">
                <a:solidFill>
                  <a:srgbClr val="FFFFFF"/>
                </a:solidFill>
              </a:rPr>
              <a:pPr>
                <a:buClr>
                  <a:srgbClr val="FF0000"/>
                </a:buClr>
              </a:pPr>
              <a:t>29-Feb-24</a:t>
            </a:fld>
            <a:endParaRPr lang="en-US" dirty="0">
              <a:solidFill>
                <a:srgbClr val="FFFFFF"/>
              </a:solidFill>
            </a:endParaRPr>
          </a:p>
        </p:txBody>
      </p:sp>
      <p:sp>
        <p:nvSpPr>
          <p:cNvPr id="3" name="Footer Placeholder 2" hidden="1">
            <a:extLst>
              <a:ext uri="{FF2B5EF4-FFF2-40B4-BE49-F238E27FC236}">
                <a16:creationId xmlns:a16="http://schemas.microsoft.com/office/drawing/2014/main" id="{C4962E99-EEE6-4471-AF19-515600D0518A}"/>
              </a:ext>
            </a:extLst>
          </p:cNvPr>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4" name="Slide Number Placeholder 3">
            <a:extLst>
              <a:ext uri="{FF2B5EF4-FFF2-40B4-BE49-F238E27FC236}">
                <a16:creationId xmlns:a16="http://schemas.microsoft.com/office/drawing/2014/main" id="{9C7C27F1-5A16-4F19-A969-EEBEA30B1F84}"/>
              </a:ext>
            </a:extLst>
          </p:cNvPr>
          <p:cNvSpPr>
            <a:spLocks noGrp="1"/>
          </p:cNvSpPr>
          <p:nvPr>
            <p:ph type="sldNum" sz="quarter" idx="12"/>
          </p:nvPr>
        </p:nvSpPr>
        <p:spPr>
          <a:xfrm>
            <a:off x="-1" y="6356357"/>
            <a:ext cx="432345" cy="366183"/>
          </a:xfrm>
        </p:spPr>
        <p:txBody>
          <a:bodyPr/>
          <a:lstStyle>
            <a:lvl1pPr algn="ctr">
              <a:defRPr sz="1200">
                <a:solidFill>
                  <a:schemeClr val="bg1"/>
                </a:solidFill>
                <a:latin typeface="Calibri" panose="020F0502020204030204" pitchFamily="34" charset="0"/>
                <a:cs typeface="Calibri" panose="020F0502020204030204" pitchFamily="34" charset="0"/>
              </a:defRPr>
            </a:lvl1pPr>
          </a:lstStyle>
          <a:p>
            <a:fld id="{5CC49C4B-5D92-4978-8F93-40CBFCA19264}" type="slidenum">
              <a:rPr lang="en-US" smtClean="0">
                <a:solidFill>
                  <a:srgbClr val="FFFFFF"/>
                </a:solidFill>
                <a:ea typeface="+mn-ea"/>
              </a:rPr>
              <a:pPr/>
              <a:t>‹#›</a:t>
            </a:fld>
            <a:endParaRPr lang="en-US" dirty="0">
              <a:solidFill>
                <a:srgbClr val="FFFFFF"/>
              </a:solidFill>
              <a:ea typeface="+mn-ea"/>
            </a:endParaRPr>
          </a:p>
        </p:txBody>
      </p:sp>
    </p:spTree>
    <p:extLst>
      <p:ext uri="{BB962C8B-B14F-4D97-AF65-F5344CB8AC3E}">
        <p14:creationId xmlns:p14="http://schemas.microsoft.com/office/powerpoint/2010/main" val="3463731549"/>
      </p:ext>
    </p:extLst>
  </p:cSld>
  <p:clrMapOvr>
    <a:masterClrMapping/>
  </p:clrMapOvr>
  <p:hf sldNum="0"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3" name="Footer Placeholder 2" hidden="1"/>
          <p:cNvSpPr>
            <a:spLocks noGrp="1"/>
          </p:cNvSpPr>
          <p:nvPr>
            <p:ph type="ftr" sz="quarter" idx="10"/>
          </p:nvPr>
        </p:nvSpPr>
        <p:spPr/>
        <p:txBody>
          <a:bodyPr/>
          <a:lstStyle>
            <a:lvl1pPr>
              <a:defRPr/>
            </a:lvl1pPr>
          </a:lstStyle>
          <a:p>
            <a:pPr defTabSz="913555">
              <a:buClr>
                <a:srgbClr val="E45785"/>
              </a:buClr>
              <a:defRPr/>
            </a:pPr>
            <a:endParaRPr lang="en-US" dirty="0">
              <a:solidFill>
                <a:srgbClr val="E45785"/>
              </a:solidFill>
            </a:endParaRPr>
          </a:p>
        </p:txBody>
      </p:sp>
      <p:sp>
        <p:nvSpPr>
          <p:cNvPr id="2" name="Date Placeholder 1"/>
          <p:cNvSpPr>
            <a:spLocks noGrp="1"/>
          </p:cNvSpPr>
          <p:nvPr>
            <p:ph type="dt" sz="quarter" idx="11"/>
          </p:nvPr>
        </p:nvSpPr>
        <p:spPr>
          <a:xfrm>
            <a:off x="609612" y="6356373"/>
            <a:ext cx="2843213" cy="365125"/>
          </a:xfrm>
          <a:prstGeom prst="rect">
            <a:avLst/>
          </a:prstGeom>
        </p:spPr>
        <p:txBody>
          <a:bodyPr/>
          <a:lstStyle>
            <a:lvl1pPr>
              <a:defRPr>
                <a:latin typeface="Calibri" panose="020F0502020204030204" pitchFamily="34" charset="0"/>
              </a:defRPr>
            </a:lvl1pPr>
          </a:lstStyle>
          <a:p>
            <a:pPr defTabSz="913555">
              <a:buClr>
                <a:srgbClr val="E45785"/>
              </a:buClr>
              <a:defRPr/>
            </a:pPr>
            <a:fld id="{DD4F244A-196C-4CB0-B629-016F85ED4440}" type="datetimeFigureOut">
              <a:rPr lang="en-US" smtClean="0">
                <a:solidFill>
                  <a:srgbClr val="4D4D4F">
                    <a:tint val="75000"/>
                  </a:srgbClr>
                </a:solidFill>
              </a:rPr>
              <a:pPr defTabSz="913555">
                <a:buClr>
                  <a:srgbClr val="E45785"/>
                </a:buClr>
                <a:defRPr/>
              </a:pPr>
              <a:t>29-Feb-24</a:t>
            </a:fld>
            <a:endParaRPr lang="en-US" dirty="0">
              <a:solidFill>
                <a:srgbClr val="4D4D4F">
                  <a:tint val="75000"/>
                </a:srgbClr>
              </a:solidFill>
            </a:endParaRPr>
          </a:p>
        </p:txBody>
      </p:sp>
    </p:spTree>
    <p:extLst>
      <p:ext uri="{BB962C8B-B14F-4D97-AF65-F5344CB8AC3E}">
        <p14:creationId xmlns:p14="http://schemas.microsoft.com/office/powerpoint/2010/main" val="1704734757"/>
      </p:ext>
    </p:extLst>
  </p:cSld>
  <p:clrMapOvr>
    <a:masterClrMapping/>
  </p:clrMapOvr>
  <p:transition>
    <p:fade/>
  </p:transition>
  <p:hf sldNum="0"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Summary">
    <p:spTree>
      <p:nvGrpSpPr>
        <p:cNvPr id="1" name=""/>
        <p:cNvGrpSpPr/>
        <p:nvPr/>
      </p:nvGrpSpPr>
      <p:grpSpPr>
        <a:xfrm>
          <a:off x="0" y="0"/>
          <a:ext cx="0" cy="0"/>
          <a:chOff x="0" y="0"/>
          <a:chExt cx="0" cy="0"/>
        </a:xfrm>
      </p:grpSpPr>
      <p:sp>
        <p:nvSpPr>
          <p:cNvPr id="7" name="Gray gradient"/>
          <p:cNvSpPr/>
          <p:nvPr userDrawn="1"/>
        </p:nvSpPr>
        <p:spPr bwMode="auto">
          <a:xfrm>
            <a:off x="4241063" y="6"/>
            <a:ext cx="8039205" cy="6477855"/>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lnSpc>
                <a:spcPct val="80000"/>
              </a:lnSpc>
              <a:spcBef>
                <a:spcPts val="1200"/>
              </a:spcBef>
              <a:buClr>
                <a:srgbClr val="72183E"/>
              </a:buClr>
              <a:buSzPct val="115000"/>
            </a:pPr>
            <a:endParaRPr lang="en-US" sz="2397" dirty="0">
              <a:solidFill>
                <a:srgbClr val="4D4D4F"/>
              </a:solidFill>
              <a:latin typeface="Calibri"/>
              <a:ea typeface="+mn-ea"/>
              <a:cs typeface="Calibri" panose="020F0502020204030204" pitchFamily="34" charset="0"/>
            </a:endParaRPr>
          </a:p>
        </p:txBody>
      </p:sp>
      <p:cxnSp>
        <p:nvCxnSpPr>
          <p:cNvPr id="16" name="Pink vertical line"/>
          <p:cNvCxnSpPr/>
          <p:nvPr userDrawn="1"/>
        </p:nvCxnSpPr>
        <p:spPr bwMode="auto">
          <a:xfrm>
            <a:off x="4214166" y="786856"/>
            <a:ext cx="0" cy="4965032"/>
          </a:xfrm>
          <a:prstGeom prst="line">
            <a:avLst/>
          </a:prstGeom>
          <a:solidFill>
            <a:schemeClr val="bg1"/>
          </a:solidFill>
          <a:ln w="508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ooter_security classification" hidden="1"/>
          <p:cNvSpPr>
            <a:spLocks noGrp="1"/>
          </p:cNvSpPr>
          <p:nvPr userDrawn="1">
            <p:ph type="ftr" sz="quarter" idx="10"/>
          </p:nvPr>
        </p:nvSpPr>
        <p:spPr/>
        <p:txBody>
          <a:bodyPr/>
          <a:lstStyle>
            <a:lvl1pPr>
              <a:defRPr/>
            </a:lvl1pPr>
          </a:lstStyle>
          <a:p>
            <a:pPr>
              <a:buClr>
                <a:srgbClr val="72183E"/>
              </a:buClr>
            </a:pPr>
            <a:endParaRPr lang="en-US" dirty="0">
              <a:solidFill>
                <a:srgbClr val="777777"/>
              </a:solidFill>
            </a:endParaRPr>
          </a:p>
        </p:txBody>
      </p:sp>
      <p:sp>
        <p:nvSpPr>
          <p:cNvPr id="2" name="Date" hidden="1"/>
          <p:cNvSpPr>
            <a:spLocks noGrp="1"/>
          </p:cNvSpPr>
          <p:nvPr userDrawn="1">
            <p:ph type="dt" sz="quarter" idx="12"/>
          </p:nvPr>
        </p:nvSpPr>
        <p:spPr>
          <a:xfrm>
            <a:off x="609600" y="6356356"/>
            <a:ext cx="2843213" cy="365125"/>
          </a:xfrm>
          <a:prstGeom prst="rect">
            <a:avLst/>
          </a:prstGeom>
        </p:spPr>
        <p:txBody>
          <a:bodyPr/>
          <a:lstStyle>
            <a:lvl1pPr>
              <a:defRPr>
                <a:latin typeface="Calibri" panose="020F0502020204030204" pitchFamily="34" charset="0"/>
              </a:defRPr>
            </a:lvl1pPr>
          </a:lstStyle>
          <a:p>
            <a:pPr>
              <a:buClr>
                <a:srgbClr val="72183E"/>
              </a:buClr>
            </a:pPr>
            <a:fld id="{00C1096B-9679-429B-9328-0AF82824D437}" type="datetimeFigureOut">
              <a:rPr lang="en-US" smtClean="0">
                <a:solidFill>
                  <a:srgbClr val="4D4D4F">
                    <a:tint val="75000"/>
                  </a:srgbClr>
                </a:solidFill>
              </a:rPr>
              <a:pPr>
                <a:buClr>
                  <a:srgbClr val="72183E"/>
                </a:buClr>
              </a:pPr>
              <a:t>29-Feb-24</a:t>
            </a:fld>
            <a:endParaRPr lang="en-US" dirty="0">
              <a:solidFill>
                <a:srgbClr val="4D4D4F">
                  <a:tint val="75000"/>
                </a:srgbClr>
              </a:solidFill>
            </a:endParaRPr>
          </a:p>
        </p:txBody>
      </p:sp>
      <p:sp>
        <p:nvSpPr>
          <p:cNvPr id="4" name="Key points"/>
          <p:cNvSpPr>
            <a:spLocks noGrp="1"/>
          </p:cNvSpPr>
          <p:nvPr userDrawn="1">
            <p:ph type="body" sz="quarter" idx="11"/>
          </p:nvPr>
        </p:nvSpPr>
        <p:spPr>
          <a:xfrm>
            <a:off x="4875533" y="1399032"/>
            <a:ext cx="6730683" cy="4443814"/>
          </a:xfrm>
          <a:prstGeom prst="rect">
            <a:avLst/>
          </a:prstGeom>
        </p:spPr>
        <p:txBody>
          <a:bodyPr lIns="91440" tIns="45720" rIns="91440" bIns="45720" anchor="ctr" anchorCtr="0">
            <a:noAutofit/>
          </a:bodyPr>
          <a:lstStyle>
            <a:lvl1pPr marL="319752" indent="-319752">
              <a:lnSpc>
                <a:spcPct val="95000"/>
              </a:lnSpc>
              <a:buSzPct val="85000"/>
              <a:buFont typeface="Calibri" panose="020F0502020204030204" pitchFamily="34" charset="0"/>
              <a:buChar char="•"/>
              <a:defRPr sz="3197" baseline="0">
                <a:solidFill>
                  <a:schemeClr val="tx1"/>
                </a:solidFill>
                <a:latin typeface="+mn-lt"/>
              </a:defRPr>
            </a:lvl1pPr>
            <a:lvl2pPr marL="666912" indent="-237531">
              <a:lnSpc>
                <a:spcPct val="95000"/>
              </a:lnSpc>
              <a:defRPr sz="2697"/>
            </a:lvl2pPr>
            <a:lvl3pPr>
              <a:defRPr sz="2697"/>
            </a:lvl3pPr>
            <a:lvl4pPr>
              <a:defRPr sz="2697"/>
            </a:lvl4pPr>
            <a:lvl5pPr>
              <a:defRPr sz="2697"/>
            </a:lvl5pPr>
          </a:lstStyle>
          <a:p>
            <a:pPr lvl="0"/>
            <a:r>
              <a:rPr lang="en-US"/>
              <a:t>Click to edit Master text styles</a:t>
            </a:r>
          </a:p>
          <a:p>
            <a:pPr lvl="1"/>
            <a:r>
              <a:rPr lang="en-US"/>
              <a:t>Second level</a:t>
            </a:r>
          </a:p>
        </p:txBody>
      </p:sp>
      <p:sp>
        <p:nvSpPr>
          <p:cNvPr id="6" name="Slide Title"/>
          <p:cNvSpPr>
            <a:spLocks noGrp="1"/>
          </p:cNvSpPr>
          <p:nvPr userDrawn="1">
            <p:ph type="title"/>
          </p:nvPr>
        </p:nvSpPr>
        <p:spPr>
          <a:xfrm>
            <a:off x="368300" y="1947672"/>
            <a:ext cx="3372166" cy="3020519"/>
          </a:xfrm>
        </p:spPr>
        <p:txBody>
          <a:bodyPr vert="horz" lIns="91440" tIns="45720" rIns="91440" bIns="45720" rtlCol="0" anchor="ctr" anchorCtr="0">
            <a:noAutofit/>
          </a:bodyPr>
          <a:lstStyle>
            <a:lvl1pPr marL="0" indent="0" algn="r" defTabSz="1217686" rtl="0" eaLnBrk="1" latinLnBrk="0" hangingPunct="1">
              <a:lnSpc>
                <a:spcPct val="80000"/>
              </a:lnSpc>
              <a:spcBef>
                <a:spcPct val="0"/>
              </a:spcBef>
              <a:buClr>
                <a:schemeClr val="tx1"/>
              </a:buClr>
              <a:buFont typeface="Ciscolight" pitchFamily="2" charset="0"/>
              <a:buNone/>
              <a:defRPr lang="en-US" sz="3997" b="0" kern="1200" spc="0" baseline="0" dirty="0">
                <a:solidFill>
                  <a:schemeClr val="accent1"/>
                </a:solidFill>
                <a:latin typeface="+mj-lt"/>
                <a:ea typeface="+mj-ea"/>
                <a:cs typeface="+mj-cs"/>
              </a:defRPr>
            </a:lvl1pPr>
          </a:lstStyle>
          <a:p>
            <a:r>
              <a:rPr lang="en-US"/>
              <a:t>Click to edit Master title style</a:t>
            </a:r>
            <a:endParaRPr lang="en-US" dirty="0"/>
          </a:p>
        </p:txBody>
      </p:sp>
    </p:spTree>
    <p:extLst>
      <p:ext uri="{BB962C8B-B14F-4D97-AF65-F5344CB8AC3E}">
        <p14:creationId xmlns:p14="http://schemas.microsoft.com/office/powerpoint/2010/main" val="3688794259"/>
      </p:ext>
    </p:extLst>
  </p:cSld>
  <p:clrMapOvr>
    <a:masterClrMapping/>
  </p:clrMapOvr>
  <p:transition>
    <p:fade/>
  </p:transition>
  <p:hf sldNum="0"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pic>
        <p:nvPicPr>
          <p:cNvPr id="3" name="Image 6"/>
          <p:cNvPicPr>
            <a:picLocks noChangeAspect="1"/>
          </p:cNvPicPr>
          <p:nvPr/>
        </p:nvPicPr>
        <p:blipFill>
          <a:blip r:embed="rId8" cstate="print"/>
          <a:stretch>
            <a:fillRect/>
          </a:stretch>
        </p:blipFill>
        <p:spPr>
          <a:xfrm>
            <a:off x="1587" y="1588"/>
            <a:ext cx="1588" cy="1588"/>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1"/>
            </p:custDataLst>
          </p:nvPr>
        </p:nvSpPr>
        <p:spPr>
          <a:xfrm>
            <a:off x="3" y="0"/>
            <a:ext cx="158709"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96" b="1" dirty="0" err="1">
              <a:solidFill>
                <a:srgbClr val="FFFFFF"/>
              </a:solidFill>
              <a:latin typeface="Calibri" panose="020F050202020403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592" y="172219"/>
            <a:ext cx="11079642" cy="444737"/>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592" y="591919"/>
            <a:ext cx="11079642" cy="2630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796" b="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594" y="6295561"/>
            <a:ext cx="727596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latin typeface="Calibri" panose="020F0502020204030204" pitchFamily="34" charset="0"/>
                <a:ea typeface="+mn-ea"/>
                <a:cs typeface="Calibri" panose="020F050202020403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594" y="41604"/>
            <a:ext cx="3842337" cy="116955"/>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CD7AFF01-B3FD-4587-9617-18DC74BE064D}"/>
              </a:ext>
            </a:extLst>
          </p:cNvPr>
          <p:cNvSpPr>
            <a:spLocks noChangeArrowheads="1"/>
          </p:cNvSpPr>
          <p:nvPr userDrawn="1">
            <p:custDataLst>
              <p:tags r:id="rId6"/>
            </p:custDataLst>
          </p:nvPr>
        </p:nvSpPr>
        <p:spPr bwMode="black">
          <a:xfrm>
            <a:off x="11309583" y="6593333"/>
            <a:ext cx="325416" cy="138499"/>
          </a:xfrm>
          <a:prstGeom prst="rect">
            <a:avLst/>
          </a:prstGeom>
          <a:noFill/>
          <a:ln w="9525" algn="ctr">
            <a:noFill/>
            <a:miter lim="800000"/>
            <a:headEnd/>
            <a:tailEnd/>
          </a:ln>
          <a:effectLst/>
        </p:spPr>
        <p:txBody>
          <a:bodyPr wrap="square" lIns="0" tIns="0" rIns="0" bIns="0" anchor="b">
            <a:spAutoFit/>
          </a:bodyPr>
          <a:lstStyle/>
          <a:p>
            <a:pPr algn="r" defTabSz="610012">
              <a:defRPr/>
            </a:pPr>
            <a:fld id="{4ABDCABE-3F10-B64C-92F1-862014417034}" type="slidenum">
              <a:rPr lang="en-US" sz="900" smtClean="0">
                <a:solidFill>
                  <a:srgbClr val="4D4D4F"/>
                </a:solidFill>
                <a:latin typeface="Calibri"/>
                <a:ea typeface="+mn-ea"/>
                <a:cs typeface="Calibri" panose="020F0502020204030204" pitchFamily="34" charset="0"/>
              </a:rPr>
              <a:pPr algn="r" defTabSz="610012">
                <a:defRPr/>
              </a:pPr>
              <a:t>‹#›</a:t>
            </a:fld>
            <a:endParaRPr lang="en-US" sz="900" dirty="0">
              <a:solidFill>
                <a:srgbClr val="4D4D4F"/>
              </a:solidFill>
              <a:latin typeface="Calibri"/>
              <a:ea typeface="+mn-ea"/>
              <a:cs typeface="Calibri" panose="020F0502020204030204" pitchFamily="34" charset="0"/>
            </a:endParaRPr>
          </a:p>
        </p:txBody>
      </p:sp>
      <p:sp>
        <p:nvSpPr>
          <p:cNvPr id="2" name="Footer Placeholder 1" hidden="1"/>
          <p:cNvSpPr>
            <a:spLocks noGrp="1"/>
          </p:cNvSpPr>
          <p:nvPr>
            <p:ph type="ftr" sz="quarter" idx="11"/>
          </p:nvPr>
        </p:nvSpPr>
        <p:spPr>
          <a:xfrm>
            <a:off x="4037549" y="6356357"/>
            <a:ext cx="4113728"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4" name="Date Placeholder 3"/>
          <p:cNvSpPr>
            <a:spLocks noGrp="1"/>
          </p:cNvSpPr>
          <p:nvPr>
            <p:ph type="dt" sz="quarter" idx="12"/>
          </p:nvPr>
        </p:nvSpPr>
        <p:spPr>
          <a:xfrm>
            <a:off x="837982" y="6356357"/>
            <a:ext cx="2742486" cy="365125"/>
          </a:xfrm>
          <a:prstGeom prst="rect">
            <a:avLst/>
          </a:prstGeom>
        </p:spPr>
        <p:txBody>
          <a:bodyPr/>
          <a:lstStyle>
            <a:lvl1pPr>
              <a:defRPr>
                <a:latin typeface="Calibri" panose="020F0502020204030204" pitchFamily="34" charset="0"/>
              </a:defRPr>
            </a:lvl1pPr>
          </a:lstStyle>
          <a:p>
            <a:pPr>
              <a:buClr>
                <a:srgbClr val="FF0000"/>
              </a:buClr>
            </a:pPr>
            <a:fld id="{68E1B65A-FD49-4C38-8172-3BE349F37D3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611868525"/>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3017177" y="6356350"/>
            <a:ext cx="2843213" cy="365125"/>
          </a:xfrm>
        </p:spPr>
        <p:txBody>
          <a:bodyPr/>
          <a:lstStyle>
            <a:lvl1pPr>
              <a:defRPr/>
            </a:lvl1pPr>
          </a:lstStyle>
          <a:p>
            <a:fld id="{C21F6912-E12D-42E4-A1B4-78CBD40CB479}" type="datetimeFigureOut">
              <a:rPr lang="en-US" smtClean="0"/>
              <a:pPr/>
              <a:t>29-Feb-24</a:t>
            </a:fld>
            <a:endParaRPr lang="en-US" dirty="0"/>
          </a:p>
        </p:txBody>
      </p:sp>
    </p:spTree>
    <p:extLst>
      <p:ext uri="{BB962C8B-B14F-4D97-AF65-F5344CB8AC3E}">
        <p14:creationId xmlns:p14="http://schemas.microsoft.com/office/powerpoint/2010/main" val="4034370237"/>
      </p:ext>
    </p:extLst>
  </p:cSld>
  <p:clrMapOvr>
    <a:masterClrMapping/>
  </p:clrMapOvr>
  <p:transition>
    <p:fade/>
  </p:transition>
  <p:hf sldNum="0"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defTabSz="913578">
              <a:buClr>
                <a:srgbClr val="FF0000"/>
              </a:buClr>
              <a:defRP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6"/>
            <a:ext cx="2843213" cy="365125"/>
          </a:xfrm>
          <a:prstGeom prst="rect">
            <a:avLst/>
          </a:prstGeom>
        </p:spPr>
        <p:txBody>
          <a:bodyPr/>
          <a:lstStyle>
            <a:lvl1pPr>
              <a:defRPr>
                <a:latin typeface="Calibri" panose="020F0502020204030204" pitchFamily="34" charset="0"/>
              </a:defRPr>
            </a:lvl1pPr>
          </a:lstStyle>
          <a:p>
            <a:pPr defTabSz="913578">
              <a:buClr>
                <a:srgbClr val="FF0000"/>
              </a:buClr>
              <a:defRPr/>
            </a:pPr>
            <a:fld id="{1C396E99-728E-4BC1-9827-5FA2D157E6FB}" type="datetimeFigureOut">
              <a:rPr lang="en-US" smtClean="0">
                <a:solidFill>
                  <a:srgbClr val="4D4D4F">
                    <a:tint val="75000"/>
                  </a:srgbClr>
                </a:solidFill>
              </a:rPr>
              <a:pPr defTabSz="913578">
                <a:buClr>
                  <a:srgbClr val="FF0000"/>
                </a:buClr>
                <a:defRPr/>
              </a:pPr>
              <a:t>29-Feb-24</a:t>
            </a:fld>
            <a:endParaRPr lang="en-US" dirty="0">
              <a:solidFill>
                <a:srgbClr val="4D4D4F">
                  <a:tint val="75000"/>
                </a:srgbClr>
              </a:solidFill>
            </a:endParaRPr>
          </a:p>
        </p:txBody>
      </p:sp>
      <p:sp>
        <p:nvSpPr>
          <p:cNvPr id="13" name="Bullet text"/>
          <p:cNvSpPr>
            <a:spLocks noGrp="1"/>
          </p:cNvSpPr>
          <p:nvPr>
            <p:ph sz="quarter" idx="11"/>
          </p:nvPr>
        </p:nvSpPr>
        <p:spPr>
          <a:xfrm>
            <a:off x="583074" y="1457960"/>
            <a:ext cx="11000914" cy="4676140"/>
          </a:xfrm>
        </p:spPr>
        <p:txBody>
          <a:bodyPr/>
          <a:lstStyle/>
          <a:p>
            <a:pPr lvl="0"/>
            <a:r>
              <a:rPr lang="en-US"/>
              <a:t>Edit Master text styles</a:t>
            </a:r>
          </a:p>
          <a:p>
            <a:pPr lvl="1"/>
            <a:r>
              <a:rPr lang="en-US"/>
              <a:t>Second level</a:t>
            </a:r>
          </a:p>
          <a:p>
            <a:pPr lvl="2"/>
            <a:r>
              <a:rPr lang="en-US"/>
              <a:t>Third level</a:t>
            </a:r>
          </a:p>
        </p:txBody>
      </p:sp>
      <p:sp>
        <p:nvSpPr>
          <p:cNvPr id="2" name="Slide Title"/>
          <p:cNvSpPr>
            <a:spLocks noGrp="1"/>
          </p:cNvSpPr>
          <p:nvPr>
            <p:ph type="title"/>
          </p:nvPr>
        </p:nvSpPr>
        <p:spPr>
          <a:xfrm>
            <a:off x="583845" y="460552"/>
            <a:ext cx="9857339" cy="923748"/>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584576711"/>
      </p:ext>
    </p:extLst>
  </p:cSld>
  <p:clrMapOvr>
    <a:masterClrMapping/>
  </p:clrMapOvr>
  <p:transition>
    <p:fade/>
  </p:transition>
  <p:hf sldNum="0"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itle Only">
  <p:cSld name="2_Title Only">
    <p:spTree>
      <p:nvGrpSpPr>
        <p:cNvPr id="1" name="Shape 52"/>
        <p:cNvGrpSpPr/>
        <p:nvPr/>
      </p:nvGrpSpPr>
      <p:grpSpPr>
        <a:xfrm>
          <a:off x="0" y="0"/>
          <a:ext cx="0" cy="0"/>
          <a:chOff x="0" y="0"/>
          <a:chExt cx="0" cy="0"/>
        </a:xfrm>
      </p:grpSpPr>
      <p:sp>
        <p:nvSpPr>
          <p:cNvPr id="53" name="Google Shape;53;p64"/>
          <p:cNvSpPr txBox="1">
            <a:spLocks noGrp="1"/>
          </p:cNvSpPr>
          <p:nvPr>
            <p:ph type="title"/>
          </p:nvPr>
        </p:nvSpPr>
        <p:spPr>
          <a:xfrm>
            <a:off x="583842"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54" name="Google Shape;54;p64" hidden="1"/>
          <p:cNvSpPr txBox="1">
            <a:spLocks noGrp="1"/>
          </p:cNvSpPr>
          <p:nvPr>
            <p:ph type="dt" idx="10"/>
          </p:nvPr>
        </p:nvSpPr>
        <p:spPr>
          <a:xfrm>
            <a:off x="-3068549" y="6356350"/>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atin typeface="Calibri" panose="020F0502020204030204" pitchFamily="34" charset="0"/>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a:buClr>
                <a:srgbClr val="FF0000"/>
              </a:buClr>
            </a:pPr>
            <a:endParaRPr lang="en-US" dirty="0">
              <a:solidFill>
                <a:srgbClr val="4D4D4F">
                  <a:tint val="75000"/>
                </a:srgbClr>
              </a:solidFill>
            </a:endParaRPr>
          </a:p>
        </p:txBody>
      </p:sp>
      <p:sp>
        <p:nvSpPr>
          <p:cNvPr id="2" name="Footer Placeholder 1" hidden="1"/>
          <p:cNvSpPr>
            <a:spLocks noGrp="1"/>
          </p:cNvSpPr>
          <p:nvPr>
            <p:ph type="ftr" sz="quarter" idx="11"/>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Tree>
    <p:extLst>
      <p:ext uri="{BB962C8B-B14F-4D97-AF65-F5344CB8AC3E}">
        <p14:creationId xmlns:p14="http://schemas.microsoft.com/office/powerpoint/2010/main" val="3824701676"/>
      </p:ext>
    </p:extLst>
  </p:cSld>
  <p:clrMapOvr>
    <a:masterClrMapping/>
  </p:clrMapOvr>
  <p:transition>
    <p:fade/>
  </p:transition>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rpora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0" name="Backgrouind image"/>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140" y="-17203"/>
            <a:ext cx="12221815" cy="687477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60"/>
            <a:ext cx="2728800" cy="464477"/>
          </a:xfrm>
          <a:prstGeom prst="rect">
            <a:avLst/>
          </a:prstGeom>
        </p:spPr>
      </p:pic>
      <p:sp>
        <p:nvSpPr>
          <p:cNvPr id="13" name="Speaker name and date"/>
          <p:cNvSpPr>
            <a:spLocks noGrp="1"/>
          </p:cNvSpPr>
          <p:nvPr userDrawn="1">
            <p:ph type="subTitle" idx="1" hasCustomPrompt="1"/>
          </p:nvPr>
        </p:nvSpPr>
        <p:spPr>
          <a:xfrm>
            <a:off x="1053260" y="4870700"/>
            <a:ext cx="5804989" cy="692595"/>
          </a:xfrm>
          <a:prstGeom prst="rect">
            <a:avLst/>
          </a:prstGeom>
        </p:spPr>
        <p:txBody>
          <a:bodyPr lIns="91440" tIns="45720" rIns="91440" bIns="45720" anchor="t" anchorCtr="0">
            <a:noAutofit/>
          </a:bodyPr>
          <a:lstStyle>
            <a:lvl1pPr marL="0" indent="0" algn="l">
              <a:lnSpc>
                <a:spcPts val="2665"/>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9178" indent="0" algn="ctr">
              <a:buNone/>
              <a:defRPr>
                <a:solidFill>
                  <a:schemeClr val="tx1">
                    <a:tint val="75000"/>
                  </a:schemeClr>
                </a:solidFill>
              </a:defRPr>
            </a:lvl2pPr>
            <a:lvl3pPr marL="1218366" indent="0" algn="ctr">
              <a:buNone/>
              <a:defRPr>
                <a:solidFill>
                  <a:schemeClr val="tx1">
                    <a:tint val="75000"/>
                  </a:schemeClr>
                </a:solidFill>
              </a:defRPr>
            </a:lvl3pPr>
            <a:lvl4pPr marL="1827549" indent="0" algn="ctr">
              <a:buNone/>
              <a:defRPr>
                <a:solidFill>
                  <a:schemeClr val="tx1">
                    <a:tint val="75000"/>
                  </a:schemeClr>
                </a:solidFill>
              </a:defRPr>
            </a:lvl4pPr>
            <a:lvl5pPr marL="2436736" indent="0" algn="ctr">
              <a:buNone/>
              <a:defRPr>
                <a:solidFill>
                  <a:schemeClr val="tx1">
                    <a:tint val="75000"/>
                  </a:schemeClr>
                </a:solidFill>
              </a:defRPr>
            </a:lvl5pPr>
            <a:lvl6pPr marL="3045914" indent="0" algn="ctr">
              <a:buNone/>
              <a:defRPr>
                <a:solidFill>
                  <a:schemeClr val="tx1">
                    <a:tint val="75000"/>
                  </a:schemeClr>
                </a:solidFill>
              </a:defRPr>
            </a:lvl6pPr>
            <a:lvl7pPr marL="3655102" indent="0" algn="ctr">
              <a:buNone/>
              <a:defRPr>
                <a:solidFill>
                  <a:schemeClr val="tx1">
                    <a:tint val="75000"/>
                  </a:schemeClr>
                </a:solidFill>
              </a:defRPr>
            </a:lvl7pPr>
            <a:lvl8pPr marL="4264284" indent="0" algn="ctr">
              <a:buNone/>
              <a:defRPr>
                <a:solidFill>
                  <a:schemeClr val="tx1">
                    <a:tint val="75000"/>
                  </a:schemeClr>
                </a:solidFill>
              </a:defRPr>
            </a:lvl8pPr>
            <a:lvl9pPr marL="4873471"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1" y="2358681"/>
            <a:ext cx="5804989" cy="1071215"/>
          </a:xfrm>
          <a:prstGeom prst="rect">
            <a:avLst/>
          </a:prstGeom>
          <a:effectLst/>
        </p:spPr>
        <p:txBody>
          <a:bodyPr>
            <a:noAutofit/>
          </a:bodyPr>
          <a:lstStyle>
            <a:lvl1pPr marL="0" indent="0">
              <a:lnSpc>
                <a:spcPts val="3999"/>
              </a:lnSpc>
              <a:spcBef>
                <a:spcPts val="0"/>
              </a:spcBef>
              <a:buFontTx/>
              <a:buNone/>
              <a:defRPr sz="3399"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1"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399" b="0" baseline="0">
                <a:solidFill>
                  <a:schemeClr val="bg1"/>
                </a:solidFill>
                <a:latin typeface="Calibri" panose="020F0502020204030204" pitchFamily="34" charset="0"/>
                <a:cs typeface="Calibri" panose="020F0502020204030204" pitchFamily="34" charset="0"/>
              </a:defRPr>
            </a:lvl1pPr>
            <a:lvl2pPr marL="541524" indent="0">
              <a:buNone/>
              <a:defRPr/>
            </a:lvl2pPr>
            <a:lvl3pPr marL="759394" indent="0">
              <a:buNone/>
              <a:defRPr/>
            </a:lvl3pPr>
            <a:lvl4pPr marL="918046" indent="0">
              <a:buNone/>
              <a:defRPr/>
            </a:lvl4pPr>
            <a:lvl5pPr marL="1068231"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2"/>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954219715"/>
      </p:ext>
    </p:extLst>
  </p:cSld>
  <p:clrMapOvr>
    <a:masterClrMapping/>
  </p:clrMapOvr>
  <p:transition>
    <p:fade/>
  </p:transition>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egue-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3685"/>
            <a:ext cx="12356105" cy="6949440"/>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6" name="Section title"/>
          <p:cNvSpPr>
            <a:spLocks noGrp="1"/>
          </p:cNvSpPr>
          <p:nvPr>
            <p:ph type="body" sz="quarter" idx="13" hasCustomPrompt="1"/>
          </p:nvPr>
        </p:nvSpPr>
        <p:spPr bwMode="white">
          <a:xfrm>
            <a:off x="637179" y="2171235"/>
            <a:ext cx="6454501" cy="3027783"/>
          </a:xfrm>
          <a:prstGeom prst="rect">
            <a:avLst/>
          </a:prstGeom>
        </p:spPr>
        <p:txBody>
          <a:bodyPr wrap="square" anchor="t" anchorCtr="0">
            <a:noAutofit/>
          </a:bodyPr>
          <a:lstStyle>
            <a:lvl1pPr marL="0" indent="0" algn="l">
              <a:lnSpc>
                <a:spcPct val="100000"/>
              </a:lnSpc>
              <a:spcBef>
                <a:spcPts val="0"/>
              </a:spcBef>
              <a:buNone/>
              <a:defRPr sz="3400" b="0" cap="all" baseline="0">
                <a:solidFill>
                  <a:schemeClr val="bg1"/>
                </a:solidFill>
              </a:defRPr>
            </a:lvl1pPr>
            <a:lvl5pPr marL="1371360"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19" y="963868"/>
            <a:ext cx="4649659" cy="891075"/>
          </a:xfrm>
          <a:prstGeom prst="rect">
            <a:avLst/>
          </a:prstGeom>
        </p:spPr>
        <p:txBody>
          <a:bodyPr anchor="t" anchorCtr="0">
            <a:noAutofit/>
          </a:bodyPr>
          <a:lstStyle>
            <a:lvl1pPr marL="0" indent="0" algn="l">
              <a:lnSpc>
                <a:spcPct val="100000"/>
              </a:lnSpc>
              <a:spcBef>
                <a:spcPts val="0"/>
              </a:spcBef>
              <a:buNone/>
              <a:defRPr sz="3600" b="1" baseline="0">
                <a:solidFill>
                  <a:schemeClr val="bg2"/>
                </a:solidFill>
              </a:defRPr>
            </a:lvl1pPr>
            <a:lvl5pPr marL="1371360" indent="0">
              <a:buNone/>
              <a:defRPr/>
            </a:lvl5pPr>
          </a:lstStyle>
          <a:p>
            <a:pPr lvl="0"/>
            <a:r>
              <a:rPr lang="en-US" dirty="0"/>
              <a:t>Click to Edit</a:t>
            </a:r>
          </a:p>
        </p:txBody>
      </p:sp>
      <p:sp>
        <p:nvSpPr>
          <p:cNvPr id="2" name="Date Placeholder 1"/>
          <p:cNvSpPr>
            <a:spLocks noGrp="1"/>
          </p:cNvSpPr>
          <p:nvPr>
            <p:ph type="dt" sz="half" idx="17"/>
          </p:nvPr>
        </p:nvSpPr>
        <p:spPr>
          <a:xfrm>
            <a:off x="-3156888" y="6356350"/>
            <a:ext cx="2843213" cy="365125"/>
          </a:xfrm>
        </p:spPr>
        <p:txBody>
          <a:bodyPr/>
          <a:lstStyle>
            <a:lvl1pPr>
              <a:defRPr>
                <a:latin typeface="Calibri" panose="020F0502020204030204" pitchFamily="34" charset="0"/>
              </a:defRPr>
            </a:lvl1pPr>
          </a:lstStyle>
          <a:p>
            <a:pPr>
              <a:buClr>
                <a:srgbClr val="FF0000"/>
              </a:buClr>
            </a:pPr>
            <a:fld id="{BFD34698-4CB0-4260-A437-6B0E52C5ABA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735374106"/>
      </p:ext>
    </p:extLst>
  </p:cSld>
  <p:clrMapOvr>
    <a:masterClrMapping/>
  </p:clrMapOvr>
  <p:transition>
    <p:fade/>
  </p:transition>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2FC49419-D41E-44F5-9A46-D647CCCBF8A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728297194"/>
      </p:ext>
    </p:extLst>
  </p:cSld>
  <p:clrMapOvr>
    <a:masterClrMapping/>
  </p:clrMapOvr>
  <p:transition>
    <p:fade/>
  </p:transition>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6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a:buClr>
                <a:srgbClr val="FF0000"/>
              </a:buCl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0"/>
            <a:ext cx="2843213" cy="365125"/>
          </a:xfrm>
          <a:prstGeom prst="rect">
            <a:avLst/>
          </a:prstGeom>
        </p:spPr>
        <p:txBody>
          <a:bodyPr/>
          <a:lstStyle>
            <a:lvl1pPr>
              <a:defRPr>
                <a:latin typeface="Calibri" panose="020F0502020204030204" pitchFamily="34" charset="0"/>
              </a:defRPr>
            </a:lvl1pPr>
          </a:lstStyle>
          <a:p>
            <a:pPr>
              <a:buClr>
                <a:srgbClr val="FF0000"/>
              </a:buClr>
            </a:pPr>
            <a:fld id="{1C396E99-728E-4BC1-9827-5FA2D157E6FB}"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13" name="Bullet text"/>
          <p:cNvSpPr>
            <a:spLocks noGrp="1"/>
          </p:cNvSpPr>
          <p:nvPr>
            <p:ph sz="quarter" idx="11"/>
          </p:nvPr>
        </p:nvSpPr>
        <p:spPr>
          <a:xfrm>
            <a:off x="583074" y="1457960"/>
            <a:ext cx="11000914" cy="4676140"/>
          </a:xfrm>
        </p:spPr>
        <p:txBody>
          <a:bodyPr/>
          <a:lstStyle/>
          <a:p>
            <a:pPr lvl="0"/>
            <a:r>
              <a:rPr lang="en-US"/>
              <a:t>Click to edit Master text styles</a:t>
            </a:r>
          </a:p>
          <a:p>
            <a:pPr lvl="1"/>
            <a:r>
              <a:rPr lang="en-US"/>
              <a:t>Second level</a:t>
            </a:r>
          </a:p>
          <a:p>
            <a:pPr lvl="2"/>
            <a:r>
              <a:rPr lang="en-US"/>
              <a:t>Third level</a:t>
            </a:r>
          </a:p>
        </p:txBody>
      </p:sp>
      <p:sp>
        <p:nvSpPr>
          <p:cNvPr id="2" name="Slide Title"/>
          <p:cNvSpPr>
            <a:spLocks noGrp="1"/>
          </p:cNvSpPr>
          <p:nvPr>
            <p:ph type="title"/>
          </p:nvPr>
        </p:nvSpPr>
        <p:spPr>
          <a:xfrm>
            <a:off x="583842" y="460552"/>
            <a:ext cx="9857339" cy="923748"/>
          </a:xfrm>
        </p:spPr>
        <p:txBody>
          <a:bodyPr/>
          <a:lstStyle>
            <a:lvl1pPr>
              <a:defRPr>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637343984"/>
      </p:ext>
    </p:extLst>
  </p:cSld>
  <p:clrMapOvr>
    <a:masterClrMapping/>
  </p:clrMapOvr>
  <p:transition>
    <p:fade/>
  </p:transition>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Keyno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0" name="Backgrouind imag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336719"/>
            <a:ext cx="12223343" cy="687563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59"/>
            <a:ext cx="2728800" cy="464477"/>
          </a:xfrm>
          <a:prstGeom prst="rect">
            <a:avLst/>
          </a:prstGeom>
        </p:spPr>
      </p:pic>
      <p:sp>
        <p:nvSpPr>
          <p:cNvPr id="13" name="Speaker name and date"/>
          <p:cNvSpPr>
            <a:spLocks noGrp="1"/>
          </p:cNvSpPr>
          <p:nvPr userDrawn="1">
            <p:ph type="subTitle" idx="1" hasCustomPrompt="1"/>
          </p:nvPr>
        </p:nvSpPr>
        <p:spPr>
          <a:xfrm>
            <a:off x="10532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0"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bg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0"/>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grpSp>
        <p:nvGrpSpPr>
          <p:cNvPr id="8" name="SKO Wordmark"/>
          <p:cNvGrpSpPr/>
          <p:nvPr userDrawn="1"/>
        </p:nvGrpSpPr>
        <p:grpSpPr>
          <a:xfrm>
            <a:off x="9286127" y="1911637"/>
            <a:ext cx="1892808" cy="1892808"/>
            <a:chOff x="9256951" y="1841025"/>
            <a:chExt cx="1892808" cy="1892808"/>
          </a:xfrm>
        </p:grpSpPr>
        <p:pic>
          <p:nvPicPr>
            <p:cNvPr id="6" name="gradient circle behind"/>
            <p:cNvPicPr>
              <a:picLocks noChangeAspect="1"/>
            </p:cNvPicPr>
            <p:nvPr userDrawn="1"/>
          </p:nvPicPr>
          <p:blipFill>
            <a:blip r:embed="rId4"/>
            <a:stretch>
              <a:fillRect/>
            </a:stretch>
          </p:blipFill>
          <p:spPr>
            <a:xfrm>
              <a:off x="9333659" y="1917733"/>
              <a:ext cx="1739392" cy="1739392"/>
            </a:xfrm>
            <a:prstGeom prst="rect">
              <a:avLst/>
            </a:prstGeom>
          </p:spPr>
        </p:pic>
        <p:pic>
          <p:nvPicPr>
            <p:cNvPr id="7" name="SKO wordmark"/>
            <p:cNvPicPr>
              <a:picLocks noChangeAspect="1"/>
            </p:cNvPicPr>
            <p:nvPr userDrawn="1"/>
          </p:nvPicPr>
          <p:blipFill>
            <a:blip r:embed="rId5"/>
            <a:stretch>
              <a:fillRect/>
            </a:stretch>
          </p:blipFill>
          <p:spPr>
            <a:xfrm>
              <a:off x="9256951" y="1841025"/>
              <a:ext cx="1892808" cy="1892808"/>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584095231"/>
      </p:ext>
    </p:extLst>
  </p:cSld>
  <p:clrMapOvr>
    <a:masterClrMapping/>
  </p:clrMapOvr>
  <p:transition>
    <p:fade/>
  </p:transition>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grpSp>
        <p:nvGrpSpPr>
          <p:cNvPr id="5" name="Pink Background"/>
          <p:cNvGrpSpPr/>
          <p:nvPr userDrawn="1"/>
        </p:nvGrpSpPr>
        <p:grpSpPr>
          <a:xfrm>
            <a:off x="5929630"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200" dirty="0">
                <a:latin typeface="Calibri"/>
                <a:ea typeface="+mn-ea"/>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200" dirty="0">
                <a:latin typeface="Calibri"/>
                <a:ea typeface="+mn-ea"/>
                <a:cs typeface="Calibri" panose="020F0502020204030204" pitchFamily="34" charset="0"/>
              </a:endParaRPr>
            </a:p>
          </p:txBody>
        </p:sp>
      </p:grpSp>
      <p:sp>
        <p:nvSpPr>
          <p:cNvPr id="8" name="Credit text"/>
          <p:cNvSpPr>
            <a:spLocks noGrp="1"/>
          </p:cNvSpPr>
          <p:nvPr>
            <p:ph type="body" sz="quarter" idx="14" hasCustomPrompt="1"/>
          </p:nvPr>
        </p:nvSpPr>
        <p:spPr bwMode="white">
          <a:xfrm>
            <a:off x="6478069"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3" y="2011680"/>
            <a:ext cx="4563058" cy="2440001"/>
          </a:xfrm>
          <a:prstGeom prst="rect">
            <a:avLst/>
          </a:prstGeom>
        </p:spPr>
        <p:txBody>
          <a:bodyPr lIns="91440" tIns="45720" rIns="91440" bIns="45720" anchor="ctr">
            <a:noAutofit/>
          </a:bodyPr>
          <a:lstStyle>
            <a:lvl1pPr marL="152345" indent="-152345" algn="l" defTabSz="1218732" rtl="0" eaLnBrk="1" latinLnBrk="0" hangingPunct="1">
              <a:lnSpc>
                <a:spcPct val="95000"/>
              </a:lnSpc>
              <a:spcBef>
                <a:spcPts val="0"/>
              </a:spcBef>
              <a:buNone/>
              <a:defRPr lang="en-US" sz="2800" b="1" kern="1200" dirty="0" smtClean="0">
                <a:solidFill>
                  <a:schemeClr val="tx1"/>
                </a:solidFill>
                <a:latin typeface="Calibri" panose="020F0502020204030204" pitchFamily="34" charset="0"/>
                <a:ea typeface="+mn-ea"/>
                <a:cs typeface="Calibri" panose="020F0502020204030204" pitchFamily="34" charset="0"/>
              </a:defRPr>
            </a:lvl1pPr>
            <a:lvl2pPr marL="152345" indent="-152345" algn="l" defTabSz="1218732" rtl="0" eaLnBrk="1" latinLnBrk="0" hangingPunct="1">
              <a:defRPr lang="en-US" sz="2700" kern="1200" dirty="0" smtClean="0">
                <a:solidFill>
                  <a:schemeClr val="accent2"/>
                </a:solidFill>
                <a:latin typeface="Ciscolight" pitchFamily="2" charset="0"/>
                <a:ea typeface="+mn-ea"/>
                <a:cs typeface="+mn-cs"/>
              </a:defRPr>
            </a:lvl2pPr>
            <a:lvl3pPr marL="152345" indent="-152345" algn="l" defTabSz="1218732" rtl="0" eaLnBrk="1" latinLnBrk="0" hangingPunct="1">
              <a:defRPr lang="en-US" sz="2700" kern="1200" dirty="0" smtClean="0">
                <a:solidFill>
                  <a:schemeClr val="accent2"/>
                </a:solidFill>
                <a:latin typeface="Ciscolight" pitchFamily="2" charset="0"/>
                <a:ea typeface="+mn-ea"/>
                <a:cs typeface="+mn-cs"/>
              </a:defRPr>
            </a:lvl3pPr>
            <a:lvl4pPr marL="152345" indent="-152345" algn="l" defTabSz="1218732" rtl="0" eaLnBrk="1" latinLnBrk="0" hangingPunct="1">
              <a:defRPr lang="en-US" sz="2700" kern="1200" dirty="0" smtClean="0">
                <a:solidFill>
                  <a:schemeClr val="accent2"/>
                </a:solidFill>
                <a:latin typeface="Ciscolight" pitchFamily="2" charset="0"/>
                <a:ea typeface="+mn-ea"/>
                <a:cs typeface="+mn-cs"/>
              </a:defRPr>
            </a:lvl4pPr>
            <a:lvl5pPr marL="152345" indent="-152345" algn="l" defTabSz="1218732" rtl="0" eaLnBrk="1" latinLnBrk="0" hangingPunct="1">
              <a:defRPr lang="en-US" sz="2700"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2"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7"/>
            <a:ext cx="5074008" cy="3783163"/>
          </a:xfrm>
          <a:prstGeom prst="rect">
            <a:avLst/>
          </a:prstGeom>
        </p:spPr>
        <p:txBody>
          <a:bodyPr>
            <a:noAutofit/>
          </a:bodyPr>
          <a:lstStyle>
            <a:lvl1pPr marL="224327" indent="-224327">
              <a:lnSpc>
                <a:spcPct val="95000"/>
              </a:lnSpc>
              <a:buSzPct val="85000"/>
              <a:buFont typeface="Calibri" panose="020F0502020204030204" pitchFamily="34" charset="0"/>
              <a:buChar char="•"/>
              <a:defRPr sz="2400">
                <a:solidFill>
                  <a:schemeClr val="tx1"/>
                </a:solidFill>
              </a:defRPr>
            </a:lvl1pPr>
            <a:lvl2pPr marL="458788" indent="-228600">
              <a:lnSpc>
                <a:spcPct val="95000"/>
              </a:lnSpc>
              <a:buFont typeface="Calibri" panose="020F0502020204030204" pitchFamily="34" charset="0"/>
              <a:buChar char="−"/>
              <a:defRPr sz="2000"/>
            </a:lvl2pPr>
            <a:lvl3pPr>
              <a:defRPr sz="2100"/>
            </a:lvl3pPr>
            <a:lvl4pPr>
              <a:defRPr sz="1900"/>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0"/>
            <a:ext cx="2843213" cy="365125"/>
          </a:xfrm>
        </p:spPr>
        <p:txBody>
          <a:bodyPr/>
          <a:lstStyle>
            <a:lvl1pPr>
              <a:defRPr>
                <a:latin typeface="Calibri" panose="020F0502020204030204" pitchFamily="34" charset="0"/>
              </a:defRPr>
            </a:lvl1pPr>
          </a:lstStyle>
          <a:p>
            <a:pPr>
              <a:buClr>
                <a:srgbClr val="FF0000"/>
              </a:buClr>
            </a:pPr>
            <a:fld id="{DEA4E619-B820-4E56-B835-00DD6E9C1F7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334944069"/>
      </p:ext>
    </p:extLst>
  </p:cSld>
  <p:clrMapOvr>
    <a:masterClrMapping/>
  </p:clrMapOvr>
  <p:transition>
    <p:fade/>
  </p:transition>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Gray gradient"/>
          <p:cNvSpPr/>
          <p:nvPr userDrawn="1"/>
        </p:nvSpPr>
        <p:spPr bwMode="auto">
          <a:xfrm>
            <a:off x="4241060"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400" dirty="0">
              <a:latin typeface="Calibri"/>
              <a:ea typeface="+mn-ea"/>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0" y="1399032"/>
            <a:ext cx="6730683" cy="4443814"/>
          </a:xfrm>
          <a:prstGeom prst="rect">
            <a:avLst/>
          </a:prstGeom>
        </p:spPr>
        <p:txBody>
          <a:bodyPr lIns="91440" tIns="45720" rIns="91440" bIns="45720" anchor="ctr" anchorCtr="0">
            <a:noAutofit/>
          </a:bodyPr>
          <a:lstStyle>
            <a:lvl1pPr marL="320040" indent="-320040">
              <a:lnSpc>
                <a:spcPct val="95000"/>
              </a:lnSpc>
              <a:buSzPct val="85000"/>
              <a:buFont typeface="Calibri" panose="020F0502020204030204" pitchFamily="34" charset="0"/>
              <a:buChar char="•"/>
              <a:defRPr sz="3200" baseline="0">
                <a:solidFill>
                  <a:schemeClr val="tx1"/>
                </a:solidFill>
                <a:latin typeface="Calibri" panose="020F0502020204030204" pitchFamily="34" charset="0"/>
                <a:cs typeface="Calibri" panose="020F0502020204030204" pitchFamily="34" charset="0"/>
              </a:defRPr>
            </a:lvl1pPr>
            <a:lvl2pPr marL="667512" indent="-237744">
              <a:lnSpc>
                <a:spcPct val="95000"/>
              </a:lnSpc>
              <a:defRPr sz="2700">
                <a:latin typeface="Calibri" panose="020F0502020204030204" pitchFamily="34" charset="0"/>
                <a:cs typeface="Calibri" panose="020F0502020204030204" pitchFamily="34" charset="0"/>
              </a:defRPr>
            </a:lvl2pPr>
            <a:lvl3pPr>
              <a:defRPr sz="2700"/>
            </a:lvl3pPr>
            <a:lvl4pPr>
              <a:defRPr sz="2700"/>
            </a:lvl4pPr>
            <a:lvl5pPr>
              <a:defRPr sz="2700"/>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783" rtl="0" eaLnBrk="1" latinLnBrk="0" hangingPunct="1">
              <a:lnSpc>
                <a:spcPct val="80000"/>
              </a:lnSpc>
              <a:spcBef>
                <a:spcPct val="0"/>
              </a:spcBef>
              <a:buClr>
                <a:schemeClr val="tx1"/>
              </a:buClr>
              <a:buFont typeface="Ciscolight" pitchFamily="2" charset="0"/>
              <a:buNone/>
              <a:defRPr lang="en-US" sz="4000"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0"/>
            <a:ext cx="2843213" cy="365125"/>
          </a:xfrm>
        </p:spPr>
        <p:txBody>
          <a:bodyPr/>
          <a:lstStyle>
            <a:lvl1pPr>
              <a:defRPr>
                <a:latin typeface="Calibri" panose="020F0502020204030204" pitchFamily="34" charset="0"/>
              </a:defRPr>
            </a:lvl1pPr>
          </a:lstStyle>
          <a:p>
            <a:pPr>
              <a:buClr>
                <a:srgbClr val="FF0000"/>
              </a:buClr>
            </a:pPr>
            <a:fld id="{25B14EA0-D077-4AF7-BC7C-65CF8C1E39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139102574"/>
      </p:ext>
    </p:extLst>
  </p:cSld>
  <p:clrMapOvr>
    <a:masterClrMapping/>
  </p:clrMapOvr>
  <p:transition>
    <p:fade/>
  </p:transition>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8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atin typeface="Calibri" panose="020F0502020204030204" pitchFamily="34" charset="0"/>
              </a:defRPr>
            </a:lvl1pPr>
          </a:lstStyle>
          <a:p>
            <a:pPr>
              <a:buClr>
                <a:srgbClr val="FF0000"/>
              </a:buClr>
            </a:pPr>
            <a:fld id="{0D2C66B6-F570-4D48-9AB5-501EA47F26D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483835449"/>
      </p:ext>
    </p:extLst>
  </p:cSld>
  <p:clrMapOvr>
    <a:masterClrMapping/>
  </p:clrMapOvr>
  <p:transition>
    <p:fade/>
  </p:transition>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grpSp>
        <p:nvGrpSpPr>
          <p:cNvPr id="5" name="Pink Background"/>
          <p:cNvGrpSpPr/>
          <p:nvPr userDrawn="1"/>
        </p:nvGrpSpPr>
        <p:grpSpPr>
          <a:xfrm>
            <a:off x="5929630"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200" dirty="0">
                <a:latin typeface="+mn-lt"/>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200" dirty="0">
                <a:latin typeface="+mn-lt"/>
                <a:cs typeface="Calibri" panose="020F0502020204030204" pitchFamily="34" charset="0"/>
              </a:endParaRPr>
            </a:p>
          </p:txBody>
        </p:sp>
      </p:grpSp>
      <p:sp>
        <p:nvSpPr>
          <p:cNvPr id="8" name="Credit text"/>
          <p:cNvSpPr>
            <a:spLocks noGrp="1"/>
          </p:cNvSpPr>
          <p:nvPr>
            <p:ph type="body" sz="quarter" idx="14" hasCustomPrompt="1"/>
          </p:nvPr>
        </p:nvSpPr>
        <p:spPr bwMode="white">
          <a:xfrm>
            <a:off x="6478069"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3" y="2011680"/>
            <a:ext cx="4563058" cy="2440001"/>
          </a:xfrm>
          <a:prstGeom prst="rect">
            <a:avLst/>
          </a:prstGeom>
        </p:spPr>
        <p:txBody>
          <a:bodyPr lIns="91440" tIns="45720" rIns="91440" bIns="45720" anchor="ctr">
            <a:noAutofit/>
          </a:bodyPr>
          <a:lstStyle>
            <a:lvl1pPr marL="152345" indent="-152345" algn="l" defTabSz="1218732" rtl="0" eaLnBrk="1" latinLnBrk="0" hangingPunct="1">
              <a:lnSpc>
                <a:spcPct val="95000"/>
              </a:lnSpc>
              <a:spcBef>
                <a:spcPts val="0"/>
              </a:spcBef>
              <a:buNone/>
              <a:defRPr lang="en-US" sz="2800" b="1" kern="1200" dirty="0" smtClean="0">
                <a:solidFill>
                  <a:schemeClr val="tx1"/>
                </a:solidFill>
                <a:latin typeface="Calibri" panose="020F0502020204030204" pitchFamily="34" charset="0"/>
                <a:ea typeface="+mn-ea"/>
                <a:cs typeface="Calibri" panose="020F0502020204030204" pitchFamily="34" charset="0"/>
              </a:defRPr>
            </a:lvl1pPr>
            <a:lvl2pPr marL="152345" indent="-152345" algn="l" defTabSz="1218732" rtl="0" eaLnBrk="1" latinLnBrk="0" hangingPunct="1">
              <a:defRPr lang="en-US" sz="2700" kern="1200" dirty="0" smtClean="0">
                <a:solidFill>
                  <a:schemeClr val="accent2"/>
                </a:solidFill>
                <a:latin typeface="Ciscolight" pitchFamily="2" charset="0"/>
                <a:ea typeface="+mn-ea"/>
                <a:cs typeface="+mn-cs"/>
              </a:defRPr>
            </a:lvl2pPr>
            <a:lvl3pPr marL="152345" indent="-152345" algn="l" defTabSz="1218732" rtl="0" eaLnBrk="1" latinLnBrk="0" hangingPunct="1">
              <a:defRPr lang="en-US" sz="2700" kern="1200" dirty="0" smtClean="0">
                <a:solidFill>
                  <a:schemeClr val="accent2"/>
                </a:solidFill>
                <a:latin typeface="Ciscolight" pitchFamily="2" charset="0"/>
                <a:ea typeface="+mn-ea"/>
                <a:cs typeface="+mn-cs"/>
              </a:defRPr>
            </a:lvl3pPr>
            <a:lvl4pPr marL="152345" indent="-152345" algn="l" defTabSz="1218732" rtl="0" eaLnBrk="1" latinLnBrk="0" hangingPunct="1">
              <a:defRPr lang="en-US" sz="2700" kern="1200" dirty="0" smtClean="0">
                <a:solidFill>
                  <a:schemeClr val="accent2"/>
                </a:solidFill>
                <a:latin typeface="Ciscolight" pitchFamily="2" charset="0"/>
                <a:ea typeface="+mn-ea"/>
                <a:cs typeface="+mn-cs"/>
              </a:defRPr>
            </a:lvl4pPr>
            <a:lvl5pPr marL="152345" indent="-152345" algn="l" defTabSz="1218732" rtl="0" eaLnBrk="1" latinLnBrk="0" hangingPunct="1">
              <a:defRPr lang="en-US" sz="2700"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2"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7"/>
            <a:ext cx="5074008" cy="3783163"/>
          </a:xfrm>
          <a:prstGeom prst="rect">
            <a:avLst/>
          </a:prstGeom>
        </p:spPr>
        <p:txBody>
          <a:bodyPr>
            <a:noAutofit/>
          </a:bodyPr>
          <a:lstStyle>
            <a:lvl1pPr marL="224327" indent="-224327">
              <a:lnSpc>
                <a:spcPct val="95000"/>
              </a:lnSpc>
              <a:buSzPct val="85000"/>
              <a:buFont typeface="Calibri" panose="020F0502020204030204" pitchFamily="34" charset="0"/>
              <a:buChar char="•"/>
              <a:defRPr sz="2400">
                <a:solidFill>
                  <a:schemeClr val="tx1"/>
                </a:solidFill>
              </a:defRPr>
            </a:lvl1pPr>
            <a:lvl2pPr marL="458788" indent="-228600">
              <a:lnSpc>
                <a:spcPct val="95000"/>
              </a:lnSpc>
              <a:buFont typeface="Calibri" panose="020F0502020204030204" pitchFamily="34" charset="0"/>
              <a:buChar char="−"/>
              <a:defRPr sz="2000"/>
            </a:lvl2pPr>
            <a:lvl3pPr>
              <a:defRPr sz="2100"/>
            </a:lvl3pPr>
            <a:lvl4pPr>
              <a:defRPr sz="1900"/>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0"/>
            <a:ext cx="2843213" cy="365125"/>
          </a:xfrm>
        </p:spPr>
        <p:txBody>
          <a:bodyPr/>
          <a:lstStyle>
            <a:lvl1pPr>
              <a:defRPr/>
            </a:lvl1pPr>
          </a:lstStyle>
          <a:p>
            <a:fld id="{DEA4E619-B820-4E56-B835-00DD6E9C1F73}" type="datetimeFigureOut">
              <a:rPr lang="en-US" smtClean="0"/>
              <a:pPr/>
              <a:t>29-Feb-24</a:t>
            </a:fld>
            <a:endParaRPr lang="en-US" dirty="0"/>
          </a:p>
        </p:txBody>
      </p:sp>
    </p:spTree>
    <p:extLst>
      <p:ext uri="{BB962C8B-B14F-4D97-AF65-F5344CB8AC3E}">
        <p14:creationId xmlns:p14="http://schemas.microsoft.com/office/powerpoint/2010/main" val="481475834"/>
      </p:ext>
    </p:extLst>
  </p:cSld>
  <p:clrMapOvr>
    <a:masterClrMapping/>
  </p:clrMapOvr>
  <p:transition>
    <p:fade/>
  </p:transition>
  <p:hf sldNum="0"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9_Standard Title and Bullets">
    <p:spTree>
      <p:nvGrpSpPr>
        <p:cNvPr id="1" name=""/>
        <p:cNvGrpSpPr/>
        <p:nvPr/>
      </p:nvGrpSpPr>
      <p:grpSpPr>
        <a:xfrm>
          <a:off x="0" y="0"/>
          <a:ext cx="0" cy="0"/>
          <a:chOff x="0" y="0"/>
          <a:chExt cx="0" cy="0"/>
        </a:xfrm>
      </p:grpSpPr>
      <p:pic>
        <p:nvPicPr>
          <p:cNvPr id="8" name="Picture 7" descr="A picture containing outdoor, person, holding, drawing&#10;&#10;Description automatically generated">
            <a:extLst>
              <a:ext uri="{FF2B5EF4-FFF2-40B4-BE49-F238E27FC236}">
                <a16:creationId xmlns:a16="http://schemas.microsoft.com/office/drawing/2014/main" id="{1B78837F-643D-7549-99F2-0DAFF021468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88825" cy="6486273"/>
          </a:xfrm>
          <a:prstGeom prst="rect">
            <a:avLst/>
          </a:prstGeom>
        </p:spPr>
      </p:pic>
      <p:sp>
        <p:nvSpPr>
          <p:cNvPr id="4" name="Rectangle 3">
            <a:extLst>
              <a:ext uri="{FF2B5EF4-FFF2-40B4-BE49-F238E27FC236}">
                <a16:creationId xmlns:a16="http://schemas.microsoft.com/office/drawing/2014/main" id="{53AB380A-A884-2545-A397-F11FECBE70BD}"/>
              </a:ext>
            </a:extLst>
          </p:cNvPr>
          <p:cNvSpPr/>
          <p:nvPr userDrawn="1"/>
        </p:nvSpPr>
        <p:spPr bwMode="auto">
          <a:xfrm>
            <a:off x="0" y="0"/>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400" dirty="0">
              <a:latin typeface="Calibri"/>
              <a:ea typeface="+mn-ea"/>
              <a:cs typeface="Calibri" panose="020F0502020204030204" pitchFamily="34" charset="0"/>
            </a:endParaRPr>
          </a:p>
        </p:txBody>
      </p:sp>
      <p:sp>
        <p:nvSpPr>
          <p:cNvPr id="9" name="Rectangle 8">
            <a:extLst>
              <a:ext uri="{FF2B5EF4-FFF2-40B4-BE49-F238E27FC236}">
                <a16:creationId xmlns:a16="http://schemas.microsoft.com/office/drawing/2014/main" id="{F94B2798-40FD-D744-9CA1-FF4F7F89390D}"/>
              </a:ext>
            </a:extLst>
          </p:cNvPr>
          <p:cNvSpPr/>
          <p:nvPr userDrawn="1"/>
        </p:nvSpPr>
        <p:spPr bwMode="auto">
          <a:xfrm rot="10800000">
            <a:off x="0" y="2871203"/>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400" dirty="0">
              <a:latin typeface="Calibri"/>
              <a:ea typeface="+mn-ea"/>
              <a:cs typeface="Calibri" panose="020F0502020204030204" pitchFamily="34" charset="0"/>
            </a:endParaRPr>
          </a:p>
        </p:txBody>
      </p:sp>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atin typeface="Calibri" panose="020F0502020204030204" pitchFamily="34" charset="0"/>
              </a:defRPr>
            </a:lvl1pPr>
          </a:lstStyle>
          <a:p>
            <a:pPr>
              <a:buClr>
                <a:srgbClr val="FF0000"/>
              </a:buClr>
            </a:pPr>
            <a:fld id="{074E79D6-FDEE-401D-A907-4831EE5E23E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60938341"/>
      </p:ext>
    </p:extLst>
  </p:cSld>
  <p:clrMapOvr>
    <a:masterClrMapping/>
  </p:clrMapOvr>
  <p:transition>
    <p:fade/>
  </p:transition>
  <p:hf sldNum="0"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pic>
        <p:nvPicPr>
          <p:cNvPr id="5" name="Picture 4" descr="A person posing for the camera  Description automatically generated">
            <a:extLst>
              <a:ext uri="{FF2B5EF4-FFF2-40B4-BE49-F238E27FC236}">
                <a16:creationId xmlns:a16="http://schemas.microsoft.com/office/drawing/2014/main" id="{1D605E35-9CCF-424D-8841-387FE1786400}"/>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88824" cy="6165850"/>
          </a:xfrm>
          <a:prstGeom prst="rect">
            <a:avLst/>
          </a:prstGeom>
        </p:spPr>
      </p:pic>
      <p:sp>
        <p:nvSpPr>
          <p:cNvPr id="4" name="Date" hidden="1"/>
          <p:cNvSpPr>
            <a:spLocks noGrp="1"/>
          </p:cNvSpPr>
          <p:nvPr>
            <p:ph type="dt" sz="half" idx="11"/>
          </p:nvPr>
        </p:nvSpPr>
        <p:spPr/>
        <p:txBody>
          <a:bodyPr/>
          <a:lstStyle>
            <a:lvl1pPr>
              <a:defRPr>
                <a:latin typeface="Calibri" panose="020F0502020204030204" pitchFamily="34" charset="0"/>
              </a:defRPr>
            </a:lvl1pPr>
          </a:lstStyle>
          <a:p>
            <a:pPr>
              <a:buClr>
                <a:srgbClr val="FF0000"/>
              </a:buClr>
            </a:pPr>
            <a:fld id="{285138E8-3F3E-4DC5-A5FA-50868B94627A}"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2" name="Footer Placeholder 1" hidden="1"/>
          <p:cNvSpPr>
            <a:spLocks noGrp="1"/>
          </p:cNvSpPr>
          <p:nvPr>
            <p:ph type="ftr" sz="quarter" idx="12"/>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Tree>
    <p:extLst>
      <p:ext uri="{BB962C8B-B14F-4D97-AF65-F5344CB8AC3E}">
        <p14:creationId xmlns:p14="http://schemas.microsoft.com/office/powerpoint/2010/main" val="2933360156"/>
      </p:ext>
    </p:extLst>
  </p:cSld>
  <p:clrMapOvr>
    <a:masterClrMapping/>
  </p:clrMapOvr>
  <p:transition>
    <p:fade/>
  </p:transition>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
    <p:spTree>
      <p:nvGrpSpPr>
        <p:cNvPr id="1" name=""/>
        <p:cNvGrpSpPr/>
        <p:nvPr/>
      </p:nvGrpSpPr>
      <p:grpSpPr>
        <a:xfrm>
          <a:off x="0" y="0"/>
          <a:ext cx="0" cy="0"/>
          <a:chOff x="0" y="0"/>
          <a:chExt cx="0" cy="0"/>
        </a:xfrm>
      </p:grpSpPr>
      <p:sp>
        <p:nvSpPr>
          <p:cNvPr id="3" name="Footer Placeholder 2" hidden="1"/>
          <p:cNvSpPr>
            <a:spLocks noGrp="1"/>
          </p:cNvSpPr>
          <p:nvPr>
            <p:ph type="ftr" sz="quarter" idx="10"/>
          </p:nvPr>
        </p:nvSpPr>
        <p:spPr/>
        <p:txBody>
          <a:bodyPr/>
          <a:lstStyle>
            <a:lvl1pPr>
              <a:defRPr/>
            </a:lvl1pPr>
          </a:lstStyle>
          <a:p>
            <a:pPr>
              <a:buClr>
                <a:srgbClr val="FF0000"/>
              </a:buClr>
            </a:pPr>
            <a:endParaRPr lang="en-US" dirty="0">
              <a:solidFill>
                <a:srgbClr val="FFFFFF">
                  <a:lumMod val="75000"/>
                </a:srgbClr>
              </a:solidFill>
            </a:endParaRPr>
          </a:p>
        </p:txBody>
      </p:sp>
      <p:sp>
        <p:nvSpPr>
          <p:cNvPr id="4" name="Date" hidden="1"/>
          <p:cNvSpPr>
            <a:spLocks noGrp="1"/>
          </p:cNvSpPr>
          <p:nvPr>
            <p:ph type="dt" sz="half" idx="11"/>
          </p:nvPr>
        </p:nvSpPr>
        <p:spPr/>
        <p:txBody>
          <a:bodyPr/>
          <a:lstStyle>
            <a:lvl1pPr>
              <a:defRPr>
                <a:latin typeface="Calibri" panose="020F0502020204030204" pitchFamily="34" charset="0"/>
              </a:defRPr>
            </a:lvl1pPr>
          </a:lstStyle>
          <a:p>
            <a:pPr>
              <a:buClr>
                <a:srgbClr val="FF0000"/>
              </a:buClr>
            </a:pPr>
            <a:fld id="{285138E8-3F3E-4DC5-A5FA-50868B94627A}"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203170890"/>
      </p:ext>
    </p:extLst>
  </p:cSld>
  <p:clrMapOvr>
    <a:masterClrMapping/>
  </p:clrMapOvr>
  <p:transition>
    <p:fade/>
  </p:transition>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2"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3" cstate="print">
            <a:grayscl/>
            <a:alphaModFix amt="70000"/>
            <a:extLst>
              <a:ext uri="{28A0092B-C50C-407E-A947-70E740481C1C}">
                <a14:useLocalDpi xmlns:a14="http://schemas.microsoft.com/office/drawing/2010/main"/>
              </a:ext>
            </a:extLst>
          </a:blip>
          <a:srcRect/>
          <a:stretch/>
        </p:blipFill>
        <p:spPr>
          <a:xfrm>
            <a:off x="8630501" y="0"/>
            <a:ext cx="3547323" cy="845824"/>
          </a:xfrm>
          <a:prstGeom prst="rect">
            <a:avLst/>
          </a:prstGeom>
        </p:spPr>
      </p:pic>
      <p:pic>
        <p:nvPicPr>
          <p:cNvPr id="17" name="Picture 16" descr="A picture containing comb&#10;&#10;Description automatically generated">
            <a:extLst>
              <a:ext uri="{FF2B5EF4-FFF2-40B4-BE49-F238E27FC236}">
                <a16:creationId xmlns:a16="http://schemas.microsoft.com/office/drawing/2014/main" id="{B73E91CB-9BDB-4070-A647-827134A27200}"/>
              </a:ext>
            </a:extLst>
          </p:cNvPr>
          <p:cNvPicPr>
            <a:picLocks noChangeAspect="1"/>
          </p:cNvPicPr>
          <p:nvPr userDrawn="1"/>
        </p:nvPicPr>
        <p:blipFill rotWithShape="1">
          <a:blip r:embed="rId4" cstate="print">
            <a:alphaModFix amt="70000"/>
            <a:biLevel thresh="25000"/>
            <a:extLst>
              <a:ext uri="{28A0092B-C50C-407E-A947-70E740481C1C}">
                <a14:useLocalDpi xmlns:a14="http://schemas.microsoft.com/office/drawing/2010/main"/>
              </a:ext>
            </a:extLst>
          </a:blip>
          <a:srcRect t="-5181"/>
          <a:stretch/>
        </p:blipFill>
        <p:spPr>
          <a:xfrm flipH="1">
            <a:off x="-3769" y="4124759"/>
            <a:ext cx="3121449" cy="1748800"/>
          </a:xfrm>
          <a:prstGeom prst="rect">
            <a:avLst/>
          </a:prstGeom>
        </p:spPr>
      </p:pic>
      <p:pic>
        <p:nvPicPr>
          <p:cNvPr id="24" name="Picture 23" descr="A picture containing object, comb&#10;&#10;Description automatically generated">
            <a:extLst>
              <a:ext uri="{FF2B5EF4-FFF2-40B4-BE49-F238E27FC236}">
                <a16:creationId xmlns:a16="http://schemas.microsoft.com/office/drawing/2014/main" id="{7EE510AA-5A9D-4084-A606-8ED53F68829A}"/>
              </a:ext>
            </a:extLst>
          </p:cNvPr>
          <p:cNvPicPr>
            <a:picLocks noChangeAspect="1"/>
          </p:cNvPicPr>
          <p:nvPr userDrawn="1"/>
        </p:nvPicPr>
        <p:blipFill rotWithShape="1">
          <a:blip r:embed="rId5" cstate="screen">
            <a:duotone>
              <a:prstClr val="black"/>
              <a:schemeClr val="accent1">
                <a:tint val="45000"/>
                <a:satMod val="400000"/>
              </a:schemeClr>
            </a:duotone>
            <a:alphaModFix/>
            <a:extLst>
              <a:ext uri="{28A0092B-C50C-407E-A947-70E740481C1C}">
                <a14:useLocalDpi xmlns:a14="http://schemas.microsoft.com/office/drawing/2010/main"/>
              </a:ext>
            </a:extLst>
          </a:blip>
          <a:srcRect/>
          <a:stretch/>
        </p:blipFill>
        <p:spPr>
          <a:xfrm>
            <a:off x="-3770" y="5632049"/>
            <a:ext cx="6038251" cy="1225953"/>
          </a:xfrm>
          <a:prstGeom prst="rect">
            <a:avLst/>
          </a:prstGeom>
        </p:spPr>
      </p:pic>
      <p:sp>
        <p:nvSpPr>
          <p:cNvPr id="2" name="Date Placeholder 1"/>
          <p:cNvSpPr>
            <a:spLocks noGrp="1"/>
          </p:cNvSpPr>
          <p:nvPr>
            <p:ph type="dt" sz="half" idx="12"/>
          </p:nvPr>
        </p:nvSpPr>
        <p:spPr/>
        <p:txBody>
          <a:bodyPr/>
          <a:lstStyle>
            <a:lvl1pPr>
              <a:defRPr/>
            </a:lvl1pPr>
          </a:lstStyle>
          <a:p>
            <a:pPr>
              <a:buClr>
                <a:srgbClr val="FF0000"/>
              </a:buClr>
            </a:pPr>
            <a:fld id="{514EF642-CE59-42DA-B99A-6123F8201925}"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22259842"/>
      </p:ext>
    </p:extLst>
  </p:cSld>
  <p:clrMapOvr>
    <a:masterClrMapping/>
  </p:clrMapOvr>
  <p:transition>
    <p:fade/>
  </p:transition>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Slide_1">
    <p:spTree>
      <p:nvGrpSpPr>
        <p:cNvPr id="1" name=""/>
        <p:cNvGrpSpPr/>
        <p:nvPr/>
      </p:nvGrpSpPr>
      <p:grpSpPr>
        <a:xfrm>
          <a:off x="0" y="0"/>
          <a:ext cx="0" cy="0"/>
          <a:chOff x="0" y="0"/>
          <a:chExt cx="0" cy="0"/>
        </a:xfrm>
      </p:grpSpPr>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2"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3" cstate="screen">
            <a:grayscl/>
            <a:alphaModFix amt="70000"/>
            <a:extLst>
              <a:ext uri="{28A0092B-C50C-407E-A947-70E740481C1C}">
                <a14:useLocalDpi xmlns:a14="http://schemas.microsoft.com/office/drawing/2010/main"/>
              </a:ext>
            </a:extLst>
          </a:blip>
          <a:srcRect/>
          <a:stretch/>
        </p:blipFill>
        <p:spPr>
          <a:xfrm>
            <a:off x="8630500" y="-1405915"/>
            <a:ext cx="4802094" cy="2251739"/>
          </a:xfrm>
          <a:prstGeom prst="rect">
            <a:avLst/>
          </a:prstGeom>
        </p:spPr>
      </p:pic>
      <p:sp>
        <p:nvSpPr>
          <p:cNvPr id="2" name="Date Placeholder 1"/>
          <p:cNvSpPr>
            <a:spLocks noGrp="1"/>
          </p:cNvSpPr>
          <p:nvPr>
            <p:ph type="dt" sz="half" idx="12"/>
          </p:nvPr>
        </p:nvSpPr>
        <p:spPr/>
        <p:txBody>
          <a:bodyPr/>
          <a:lstStyle>
            <a:lvl1pPr>
              <a:defRPr/>
            </a:lvl1pPr>
          </a:lstStyle>
          <a:p>
            <a:pPr>
              <a:buClr>
                <a:srgbClr val="FF0000"/>
              </a:buClr>
            </a:pPr>
            <a:fld id="{889E8387-0B9C-4979-948D-C6E3211D3907}"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65467393"/>
      </p:ext>
    </p:extLst>
  </p:cSld>
  <p:clrMapOvr>
    <a:masterClrMapping/>
  </p:clrMapOvr>
  <p:transition>
    <p:fade/>
  </p:transition>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4"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4"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p:txBody>
          <a:bodyPr/>
          <a:lstStyle>
            <a:lvl1pPr>
              <a:defRPr/>
            </a:lvl1pPr>
          </a:lstStyle>
          <a:p>
            <a:pPr>
              <a:buClr>
                <a:srgbClr val="FF0000"/>
              </a:buClr>
            </a:pPr>
            <a:fld id="{2E3A9A90-C83E-4D6D-80B7-32D56A25E0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04582365"/>
      </p:ext>
    </p:extLst>
  </p:cSld>
  <p:clrMapOvr>
    <a:masterClrMapping/>
  </p:clrMapOvr>
  <p:transition>
    <p:fade/>
  </p:transition>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8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7" name="Content Placeholder 38" descr="A person sitting at a table using a computer&#10;&#10;Description automatically generated">
            <a:extLst>
              <a:ext uri="{FF2B5EF4-FFF2-40B4-BE49-F238E27FC236}">
                <a16:creationId xmlns:a16="http://schemas.microsoft.com/office/drawing/2014/main" id="{8DD4190E-E75D-4106-896E-51605FEED9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7204"/>
          <a:stretch/>
        </p:blipFill>
        <p:spPr bwMode="auto">
          <a:xfrm flipH="1">
            <a:off x="2" y="-61161"/>
            <a:ext cx="12239145"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Content Placeholder 38" descr="A person sitting at a table using a computer&#10;&#10;Description automatically generated">
            <a:extLst>
              <a:ext uri="{FF2B5EF4-FFF2-40B4-BE49-F238E27FC236}">
                <a16:creationId xmlns:a16="http://schemas.microsoft.com/office/drawing/2014/main" id="{226CAAE4-4EB8-4769-B01C-460DA1F7AAB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flipH="1">
            <a:off x="9631678" y="-61161"/>
            <a:ext cx="2565450"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615A9E37-867B-4A0B-A4F4-03BA8FCC78A6}"/>
              </a:ext>
            </a:extLst>
          </p:cNvPr>
          <p:cNvSpPr/>
          <p:nvPr userDrawn="1"/>
        </p:nvSpPr>
        <p:spPr bwMode="auto">
          <a:xfrm>
            <a:off x="-50319" y="-71552"/>
            <a:ext cx="12239145" cy="65757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sp>
        <p:nvSpPr>
          <p:cNvPr id="2" name="Date Placeholder 1"/>
          <p:cNvSpPr>
            <a:spLocks noGrp="1"/>
          </p:cNvSpPr>
          <p:nvPr>
            <p:ph type="dt" sz="half" idx="12"/>
          </p:nvPr>
        </p:nvSpPr>
        <p:spPr/>
        <p:txBody>
          <a:bodyPr/>
          <a:lstStyle>
            <a:lvl1pPr>
              <a:defRPr/>
            </a:lvl1pPr>
          </a:lstStyle>
          <a:p>
            <a:pPr>
              <a:buClr>
                <a:srgbClr val="FF0000"/>
              </a:buClr>
            </a:pPr>
            <a:fld id="{0CF13230-5B1A-4050-B8E7-BD11B60447FD}"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869682262"/>
      </p:ext>
    </p:extLst>
  </p:cSld>
  <p:clrMapOvr>
    <a:masterClrMapping/>
  </p:clrMapOvr>
  <p:transition>
    <p:fade/>
  </p:transition>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7" name="Rectangle 6">
            <a:extLst>
              <a:ext uri="{FF2B5EF4-FFF2-40B4-BE49-F238E27FC236}">
                <a16:creationId xmlns:a16="http://schemas.microsoft.com/office/drawing/2014/main" id="{C92912BA-C7F3-47CF-8716-251ABB961FB4}"/>
              </a:ext>
            </a:extLst>
          </p:cNvPr>
          <p:cNvSpPr/>
          <p:nvPr userDrawn="1"/>
        </p:nvSpPr>
        <p:spPr bwMode="auto">
          <a:xfrm>
            <a:off x="2" y="-10993"/>
            <a:ext cx="12188824" cy="6535023"/>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pic>
        <p:nvPicPr>
          <p:cNvPr id="10" name="Picture 9" descr="A picture containing comb&#10;&#10;Description automatically generated">
            <a:extLst>
              <a:ext uri="{FF2B5EF4-FFF2-40B4-BE49-F238E27FC236}">
                <a16:creationId xmlns:a16="http://schemas.microsoft.com/office/drawing/2014/main" id="{F4FE5F97-146D-4CA4-930E-0408ACB38F6D}"/>
              </a:ext>
            </a:extLst>
          </p:cNvPr>
          <p:cNvPicPr>
            <a:picLocks noChangeAspect="1"/>
          </p:cNvPicPr>
          <p:nvPr/>
        </p:nvPicPr>
        <p:blipFill rotWithShape="1">
          <a:blip r:embed="rId2" cstate="screen">
            <a:lum bright="70000" contrast="-70000"/>
            <a:alphaModFix/>
            <a:extLst>
              <a:ext uri="{28A0092B-C50C-407E-A947-70E740481C1C}">
                <a14:useLocalDpi xmlns:a14="http://schemas.microsoft.com/office/drawing/2010/main"/>
              </a:ext>
            </a:extLst>
          </a:blip>
          <a:srcRect/>
          <a:stretch/>
        </p:blipFill>
        <p:spPr>
          <a:xfrm>
            <a:off x="9262383" y="116310"/>
            <a:ext cx="2926443" cy="1372232"/>
          </a:xfrm>
          <a:prstGeom prst="rect">
            <a:avLst/>
          </a:prstGeom>
        </p:spPr>
      </p:pic>
      <p:pic>
        <p:nvPicPr>
          <p:cNvPr id="11" name="Picture 10" descr="A picture containing comb&#10;&#10;Description automatically generated">
            <a:extLst>
              <a:ext uri="{FF2B5EF4-FFF2-40B4-BE49-F238E27FC236}">
                <a16:creationId xmlns:a16="http://schemas.microsoft.com/office/drawing/2014/main" id="{D2C1876E-B148-42B6-BB96-2F90C8680721}"/>
              </a:ext>
            </a:extLst>
          </p:cNvPr>
          <p:cNvPicPr>
            <a:picLocks noChangeAspect="1"/>
          </p:cNvPicPr>
          <p:nvPr userDrawn="1"/>
        </p:nvPicPr>
        <p:blipFill rotWithShape="1">
          <a:blip r:embed="rId3" cstate="screen">
            <a:duotone>
              <a:prstClr val="black"/>
              <a:schemeClr val="tx2">
                <a:tint val="45000"/>
                <a:satMod val="400000"/>
              </a:schemeClr>
            </a:duotone>
            <a:alphaModFix amt="85000"/>
            <a:extLst>
              <a:ext uri="{28A0092B-C50C-407E-A947-70E740481C1C}">
                <a14:useLocalDpi xmlns:a14="http://schemas.microsoft.com/office/drawing/2010/main"/>
              </a:ext>
            </a:extLst>
          </a:blip>
          <a:srcRect/>
          <a:stretch/>
        </p:blipFill>
        <p:spPr>
          <a:xfrm flipH="1">
            <a:off x="0" y="4175777"/>
            <a:ext cx="3269010" cy="1372232"/>
          </a:xfrm>
          <a:prstGeom prst="rect">
            <a:avLst/>
          </a:prstGeom>
        </p:spPr>
      </p:pic>
      <p:sp>
        <p:nvSpPr>
          <p:cNvPr id="2" name="Date Placeholder 1"/>
          <p:cNvSpPr>
            <a:spLocks noGrp="1"/>
          </p:cNvSpPr>
          <p:nvPr>
            <p:ph type="dt" sz="half" idx="12"/>
          </p:nvPr>
        </p:nvSpPr>
        <p:spPr/>
        <p:txBody>
          <a:bodyPr/>
          <a:lstStyle>
            <a:lvl1pPr>
              <a:defRPr/>
            </a:lvl1pPr>
          </a:lstStyle>
          <a:p>
            <a:pPr>
              <a:buClr>
                <a:srgbClr val="FF0000"/>
              </a:buClr>
            </a:pPr>
            <a:fld id="{11042D32-9124-4478-806F-5097F510A200}"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4024956542"/>
      </p:ext>
    </p:extLst>
  </p:cSld>
  <p:clrMapOvr>
    <a:masterClrMapping/>
  </p:clrMapOvr>
  <p:transition>
    <p:fade/>
  </p:transition>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7" name="Picture 6" descr="A person sitting in front of a building&#10;&#10;Description automatically generated">
            <a:extLst>
              <a:ext uri="{FF2B5EF4-FFF2-40B4-BE49-F238E27FC236}">
                <a16:creationId xmlns:a16="http://schemas.microsoft.com/office/drawing/2014/main" id="{6AEBA8B7-4955-4263-AB3A-53337A95BE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30480"/>
            <a:ext cx="12188824" cy="6536175"/>
          </a:xfrm>
          <a:prstGeom prst="rect">
            <a:avLst/>
          </a:prstGeom>
        </p:spPr>
      </p:pic>
      <p:sp>
        <p:nvSpPr>
          <p:cNvPr id="8" name="Rectangle 7">
            <a:extLst>
              <a:ext uri="{FF2B5EF4-FFF2-40B4-BE49-F238E27FC236}">
                <a16:creationId xmlns:a16="http://schemas.microsoft.com/office/drawing/2014/main" id="{E756A239-DC06-46AD-AEA3-550F22C145F5}"/>
              </a:ext>
            </a:extLst>
          </p:cNvPr>
          <p:cNvSpPr/>
          <p:nvPr userDrawn="1"/>
        </p:nvSpPr>
        <p:spPr bwMode="auto">
          <a:xfrm>
            <a:off x="-24200" y="-30480"/>
            <a:ext cx="12222161" cy="6536175"/>
          </a:xfrm>
          <a:prstGeom prst="rect">
            <a:avLst/>
          </a:prstGeom>
          <a:solidFill>
            <a:schemeClr val="accent6">
              <a:alpha val="67000"/>
            </a:scheme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sp>
        <p:nvSpPr>
          <p:cNvPr id="2" name="Date Placeholder 1"/>
          <p:cNvSpPr>
            <a:spLocks noGrp="1"/>
          </p:cNvSpPr>
          <p:nvPr>
            <p:ph type="dt" sz="half" idx="12"/>
          </p:nvPr>
        </p:nvSpPr>
        <p:spPr/>
        <p:txBody>
          <a:bodyPr/>
          <a:lstStyle>
            <a:lvl1pPr>
              <a:defRPr/>
            </a:lvl1pPr>
          </a:lstStyle>
          <a:p>
            <a:pPr>
              <a:buClr>
                <a:srgbClr val="FF0000"/>
              </a:buClr>
            </a:pPr>
            <a:fld id="{11D467A6-AD89-4E52-A077-1582DAB904FA}"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149879825"/>
      </p:ext>
    </p:extLst>
  </p:cSld>
  <p:clrMapOvr>
    <a:masterClrMapping/>
  </p:clrMapOvr>
  <p:transition>
    <p:fade/>
  </p:transition>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tandard Title and Bullets">
    <p:spTree>
      <p:nvGrpSpPr>
        <p:cNvPr id="1" name=""/>
        <p:cNvGrpSpPr/>
        <p:nvPr/>
      </p:nvGrpSpPr>
      <p:grpSpPr>
        <a:xfrm>
          <a:off x="0" y="0"/>
          <a:ext cx="0" cy="0"/>
          <a:chOff x="0" y="0"/>
          <a:chExt cx="0" cy="0"/>
        </a:xfrm>
      </p:grpSpPr>
      <p:pic>
        <p:nvPicPr>
          <p:cNvPr id="8" name="Picture 7" descr="A picture containing outdoor, person, building, person&#10;&#10;Description automatically generated">
            <a:extLst>
              <a:ext uri="{FF2B5EF4-FFF2-40B4-BE49-F238E27FC236}">
                <a16:creationId xmlns:a16="http://schemas.microsoft.com/office/drawing/2014/main" id="{6183CDA4-0500-4D54-8060-6AE889F934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11575"/>
            <a:ext cx="12188825" cy="6535694"/>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2" y="481"/>
            <a:ext cx="12188825" cy="6535694"/>
          </a:xfrm>
          <a:prstGeom prst="rect">
            <a:avLst/>
          </a:prstGeom>
          <a:gradFill>
            <a:gsLst>
              <a:gs pos="98000">
                <a:srgbClr val="00153E"/>
              </a:gs>
              <a:gs pos="53000">
                <a:schemeClr val="accent6">
                  <a:alpha val="51000"/>
                </a:schemeClr>
              </a:gs>
            </a:gsLst>
            <a:lin ang="5400000" scaled="1"/>
          </a:gra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sp>
        <p:nvSpPr>
          <p:cNvPr id="2" name="Date Placeholder 1"/>
          <p:cNvSpPr>
            <a:spLocks noGrp="1"/>
          </p:cNvSpPr>
          <p:nvPr>
            <p:ph type="dt" sz="half" idx="12"/>
          </p:nvPr>
        </p:nvSpPr>
        <p:spPr/>
        <p:txBody>
          <a:bodyPr/>
          <a:lstStyle>
            <a:lvl1pPr>
              <a:defRPr/>
            </a:lvl1pPr>
          </a:lstStyle>
          <a:p>
            <a:pPr>
              <a:buClr>
                <a:srgbClr val="FF0000"/>
              </a:buClr>
            </a:pPr>
            <a:fld id="{99F8158D-27BF-4690-B408-ED49FC36082E}"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619103440"/>
      </p:ext>
    </p:extLst>
  </p:cSld>
  <p:clrMapOvr>
    <a:masterClrMapping/>
  </p:clrMapOvr>
  <p:transition>
    <p:fade/>
  </p:transition>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Gray gradient"/>
          <p:cNvSpPr/>
          <p:nvPr userDrawn="1"/>
        </p:nvSpPr>
        <p:spPr bwMode="auto">
          <a:xfrm>
            <a:off x="4241060"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a:latin typeface="+mn-lt"/>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0" y="1399032"/>
            <a:ext cx="6730683" cy="4443814"/>
          </a:xfrm>
          <a:prstGeom prst="rect">
            <a:avLst/>
          </a:prstGeom>
        </p:spPr>
        <p:txBody>
          <a:bodyPr lIns="91440" tIns="45720" rIns="91440" bIns="45720" anchor="ctr" anchorCtr="0">
            <a:noAutofit/>
          </a:bodyPr>
          <a:lstStyle>
            <a:lvl1pPr marL="320040" indent="-320040">
              <a:lnSpc>
                <a:spcPct val="95000"/>
              </a:lnSpc>
              <a:buSzPct val="85000"/>
              <a:buFont typeface="Calibri" panose="020F0502020204030204" pitchFamily="34" charset="0"/>
              <a:buChar char="•"/>
              <a:defRPr sz="3200" baseline="0">
                <a:solidFill>
                  <a:schemeClr val="tx1"/>
                </a:solidFill>
                <a:latin typeface="Calibri" panose="020F0502020204030204" pitchFamily="34" charset="0"/>
                <a:cs typeface="Calibri" panose="020F0502020204030204" pitchFamily="34" charset="0"/>
              </a:defRPr>
            </a:lvl1pPr>
            <a:lvl2pPr marL="667512" indent="-237744">
              <a:lnSpc>
                <a:spcPct val="95000"/>
              </a:lnSpc>
              <a:defRPr sz="2700">
                <a:latin typeface="Calibri" panose="020F0502020204030204" pitchFamily="34" charset="0"/>
                <a:cs typeface="Calibri" panose="020F0502020204030204" pitchFamily="34" charset="0"/>
              </a:defRPr>
            </a:lvl2pPr>
            <a:lvl3pPr>
              <a:defRPr sz="2700"/>
            </a:lvl3pPr>
            <a:lvl4pPr>
              <a:defRPr sz="2700"/>
            </a:lvl4pPr>
            <a:lvl5pPr>
              <a:defRPr sz="2700"/>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783" rtl="0" eaLnBrk="1" latinLnBrk="0" hangingPunct="1">
              <a:lnSpc>
                <a:spcPct val="80000"/>
              </a:lnSpc>
              <a:spcBef>
                <a:spcPct val="0"/>
              </a:spcBef>
              <a:buClr>
                <a:schemeClr val="tx1"/>
              </a:buClr>
              <a:buFont typeface="Ciscolight" pitchFamily="2" charset="0"/>
              <a:buNone/>
              <a:defRPr lang="en-US" sz="4000"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0"/>
            <a:ext cx="2843213" cy="365125"/>
          </a:xfrm>
        </p:spPr>
        <p:txBody>
          <a:bodyPr/>
          <a:lstStyle>
            <a:lvl1pPr>
              <a:defRPr/>
            </a:lvl1pPr>
          </a:lstStyle>
          <a:p>
            <a:fld id="{25B14EA0-D077-4AF7-BC7C-65CF8C1E39C3}" type="datetimeFigureOut">
              <a:rPr lang="en-US" smtClean="0"/>
              <a:pPr/>
              <a:t>29-Feb-24</a:t>
            </a:fld>
            <a:endParaRPr lang="en-US" dirty="0"/>
          </a:p>
        </p:txBody>
      </p:sp>
    </p:spTree>
    <p:extLst>
      <p:ext uri="{BB962C8B-B14F-4D97-AF65-F5344CB8AC3E}">
        <p14:creationId xmlns:p14="http://schemas.microsoft.com/office/powerpoint/2010/main" val="1720475042"/>
      </p:ext>
    </p:extLst>
  </p:cSld>
  <p:clrMapOvr>
    <a:masterClrMapping/>
  </p:clrMapOvr>
  <p:transition>
    <p:fade/>
  </p:transition>
  <p:hf sldNum="0"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tandard Title and Bullets">
    <p:spTree>
      <p:nvGrpSpPr>
        <p:cNvPr id="1" name=""/>
        <p:cNvGrpSpPr/>
        <p:nvPr/>
      </p:nvGrpSpPr>
      <p:grpSpPr>
        <a:xfrm>
          <a:off x="0" y="0"/>
          <a:ext cx="0" cy="0"/>
          <a:chOff x="0" y="0"/>
          <a:chExt cx="0" cy="0"/>
        </a:xfrm>
      </p:grpSpPr>
      <p:pic>
        <p:nvPicPr>
          <p:cNvPr id="11" name="Picture 10" descr="A person sitting on a bench talking on a cell phone&#10;&#10;Description automatically generated">
            <a:extLst>
              <a:ext uri="{FF2B5EF4-FFF2-40B4-BE49-F238E27FC236}">
                <a16:creationId xmlns:a16="http://schemas.microsoft.com/office/drawing/2014/main" id="{57990645-8350-4F63-BA84-BF625A9DE0D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632"/>
          <a:stretch/>
        </p:blipFill>
        <p:spPr>
          <a:xfrm flipH="1">
            <a:off x="2011680" y="-38101"/>
            <a:ext cx="11816862" cy="6536176"/>
          </a:xfrm>
          <a:prstGeom prst="rect">
            <a:avLst/>
          </a:prstGeom>
        </p:spPr>
      </p:pic>
      <p:pic>
        <p:nvPicPr>
          <p:cNvPr id="10" name="Picture 9" descr="A person sitting on a bench talking on a cell phone&#10;&#10;Description automatically generated">
            <a:extLst>
              <a:ext uri="{FF2B5EF4-FFF2-40B4-BE49-F238E27FC236}">
                <a16:creationId xmlns:a16="http://schemas.microsoft.com/office/drawing/2014/main" id="{0A288011-D1AE-4F1E-A77A-E3436352B32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5318"/>
          <a:stretch/>
        </p:blipFill>
        <p:spPr>
          <a:xfrm flipH="1">
            <a:off x="0" y="-27710"/>
            <a:ext cx="11816862" cy="6536176"/>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1" y="-27710"/>
            <a:ext cx="12188826" cy="65361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sp>
        <p:nvSpPr>
          <p:cNvPr id="6" name="Rectangle 5">
            <a:extLst>
              <a:ext uri="{FF2B5EF4-FFF2-40B4-BE49-F238E27FC236}">
                <a16:creationId xmlns:a16="http://schemas.microsoft.com/office/drawing/2014/main" id="{C0B7BB4A-670A-4FD0-B578-7D3EE4B0F1AE}"/>
              </a:ext>
            </a:extLst>
          </p:cNvPr>
          <p:cNvSpPr/>
          <p:nvPr userDrawn="1"/>
        </p:nvSpPr>
        <p:spPr bwMode="auto">
          <a:xfrm>
            <a:off x="-371962" y="4637946"/>
            <a:ext cx="8906362" cy="1879183"/>
          </a:xfrm>
          <a:prstGeom prst="rect">
            <a:avLst/>
          </a:prstGeom>
          <a:solidFill>
            <a:srgbClr val="111F46">
              <a:alpha val="85000"/>
            </a:srgbClr>
          </a:solidFill>
          <a:ln w="12700" algn="ctr">
            <a:noFill/>
            <a:miter lim="800000"/>
            <a:headEnd/>
            <a:tailEnd/>
          </a:ln>
          <a:effectLst>
            <a:softEdge rad="444500"/>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err="1">
              <a:latin typeface="Calibri"/>
              <a:ea typeface="+mn-ea"/>
              <a:cs typeface="Calibri" panose="020F0502020204030204" pitchFamily="34" charset="0"/>
            </a:endParaRPr>
          </a:p>
        </p:txBody>
      </p:sp>
      <p:sp>
        <p:nvSpPr>
          <p:cNvPr id="2" name="Date Placeholder 1"/>
          <p:cNvSpPr>
            <a:spLocks noGrp="1"/>
          </p:cNvSpPr>
          <p:nvPr>
            <p:ph type="dt" sz="half" idx="12"/>
          </p:nvPr>
        </p:nvSpPr>
        <p:spPr/>
        <p:txBody>
          <a:bodyPr/>
          <a:lstStyle>
            <a:lvl1pPr>
              <a:defRPr/>
            </a:lvl1pPr>
          </a:lstStyle>
          <a:p>
            <a:pPr>
              <a:buClr>
                <a:srgbClr val="FF0000"/>
              </a:buClr>
            </a:pPr>
            <a:fld id="{D41AB2CC-B398-4AF1-85B4-1A1883F2E17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907188633"/>
      </p:ext>
    </p:extLst>
  </p:cSld>
  <p:clrMapOvr>
    <a:masterClrMapping/>
  </p:clrMapOvr>
  <p:transition>
    <p:fade/>
  </p:transition>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p:txBody>
          <a:bodyPr/>
          <a:lstStyle>
            <a:lvl1pPr>
              <a:defRPr/>
            </a:lvl1pPr>
          </a:lstStyle>
          <a:p>
            <a:pPr>
              <a:buClr>
                <a:srgbClr val="FF0000"/>
              </a:buClr>
            </a:pPr>
            <a:fld id="{394C1603-2B17-4812-8B77-5C0C8FE1BA12}"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475458920"/>
      </p:ext>
    </p:extLst>
  </p:cSld>
  <p:clrMapOvr>
    <a:masterClrMapping/>
  </p:clrMapOvr>
  <p:transition>
    <p:fade/>
  </p:transition>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25" name="Picture 24"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2377442" y="-37087"/>
            <a:ext cx="9811385" cy="6548033"/>
          </a:xfrm>
          <a:prstGeom prst="rect">
            <a:avLst/>
          </a:prstGeom>
        </p:spPr>
      </p:pic>
      <p:pic>
        <p:nvPicPr>
          <p:cNvPr id="33" name="Picture 32" descr="A person sitting in front of a building&#10;&#10;Description automatically generated">
            <a:extLst>
              <a:ext uri="{FF2B5EF4-FFF2-40B4-BE49-F238E27FC236}">
                <a16:creationId xmlns:a16="http://schemas.microsoft.com/office/drawing/2014/main" id="{440C44E5-97D4-46EC-8312-058626078A8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0" y="-24473"/>
            <a:ext cx="2377440" cy="6548033"/>
          </a:xfrm>
          <a:prstGeom prst="rect">
            <a:avLst/>
          </a:prstGeom>
        </p:spPr>
      </p:pic>
      <p:sp>
        <p:nvSpPr>
          <p:cNvPr id="2" name="Date Placeholder 1"/>
          <p:cNvSpPr>
            <a:spLocks noGrp="1"/>
          </p:cNvSpPr>
          <p:nvPr>
            <p:ph type="dt" sz="half" idx="12"/>
          </p:nvPr>
        </p:nvSpPr>
        <p:spPr/>
        <p:txBody>
          <a:bodyPr/>
          <a:lstStyle>
            <a:lvl1pPr>
              <a:defRPr/>
            </a:lvl1pPr>
          </a:lstStyle>
          <a:p>
            <a:pPr>
              <a:buClr>
                <a:srgbClr val="FF0000"/>
              </a:buClr>
            </a:pPr>
            <a:fld id="{B12FABC2-36C8-40E3-B64E-4ADBBCEB2BC5}"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210554068"/>
      </p:ext>
    </p:extLst>
  </p:cSld>
  <p:clrMapOvr>
    <a:masterClrMapping/>
  </p:clrMapOvr>
  <p:transition>
    <p:fade/>
  </p:transition>
  <p:hf sldNum="0"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4"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462" indent="-228462">
              <a:lnSpc>
                <a:spcPct val="95000"/>
              </a:lnSpc>
              <a:spcBef>
                <a:spcPts val="1000"/>
              </a:spcBef>
              <a:buClr>
                <a:schemeClr val="tx2"/>
              </a:buClr>
              <a:buSzPct val="85000"/>
              <a:buFont typeface="Arial" panose="020B0604020202020204" pitchFamily="34" charset="0"/>
              <a:buChar char="•"/>
              <a:defRPr sz="2398">
                <a:solidFill>
                  <a:schemeClr val="tx1"/>
                </a:solidFill>
              </a:defRPr>
            </a:lvl1pPr>
            <a:lvl2pPr marL="475202" indent="-228462">
              <a:lnSpc>
                <a:spcPct val="95000"/>
              </a:lnSpc>
              <a:spcBef>
                <a:spcPts val="800"/>
              </a:spcBef>
              <a:buClr>
                <a:schemeClr val="tx2"/>
              </a:buClr>
              <a:buFont typeface="Arial" panose="020B0604020202020204" pitchFamily="34" charset="0"/>
              <a:buChar char="•"/>
              <a:defRPr sz="1998">
                <a:solidFill>
                  <a:schemeClr val="tx1"/>
                </a:solidFill>
              </a:defRPr>
            </a:lvl2pPr>
            <a:lvl3pPr marL="703666" indent="-155354">
              <a:lnSpc>
                <a:spcPct val="95000"/>
              </a:lnSpc>
              <a:spcBef>
                <a:spcPts val="800"/>
              </a:spcBef>
              <a:buClr>
                <a:schemeClr val="tx2"/>
              </a:buClr>
              <a:buFont typeface="Arial" panose="020B0604020202020204" pitchFamily="34" charset="0"/>
              <a:buChar char="•"/>
              <a:defRPr sz="1798">
                <a:solidFill>
                  <a:schemeClr val="tx1"/>
                </a:solidFill>
              </a:defRPr>
            </a:lvl3pPr>
            <a:lvl4pPr marL="904713" indent="-155354">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462" indent="-228462">
              <a:lnSpc>
                <a:spcPct val="95000"/>
              </a:lnSpc>
              <a:spcBef>
                <a:spcPts val="1000"/>
              </a:spcBef>
              <a:buClr>
                <a:schemeClr val="tx2"/>
              </a:buClr>
              <a:buSzPct val="85000"/>
              <a:buFont typeface="Arial" panose="020B0604020202020204" pitchFamily="34" charset="0"/>
              <a:buChar char="•"/>
              <a:defRPr sz="2398">
                <a:solidFill>
                  <a:schemeClr val="tx1"/>
                </a:solidFill>
              </a:defRPr>
            </a:lvl1pPr>
            <a:lvl2pPr marL="475202" indent="-228462">
              <a:lnSpc>
                <a:spcPct val="95000"/>
              </a:lnSpc>
              <a:spcBef>
                <a:spcPts val="800"/>
              </a:spcBef>
              <a:buClr>
                <a:schemeClr val="tx2"/>
              </a:buClr>
              <a:buFont typeface="Arial" panose="020B0604020202020204" pitchFamily="34" charset="0"/>
              <a:buChar char="•"/>
              <a:defRPr sz="1998">
                <a:solidFill>
                  <a:schemeClr val="tx1"/>
                </a:solidFill>
              </a:defRPr>
            </a:lvl2pPr>
            <a:lvl3pPr marL="703666" indent="-155354">
              <a:lnSpc>
                <a:spcPct val="95000"/>
              </a:lnSpc>
              <a:spcBef>
                <a:spcPts val="800"/>
              </a:spcBef>
              <a:buClr>
                <a:schemeClr val="tx2"/>
              </a:buClr>
              <a:buFont typeface="Arial" panose="020B0604020202020204" pitchFamily="34" charset="0"/>
              <a:buChar char="•"/>
              <a:defRPr sz="1798">
                <a:solidFill>
                  <a:schemeClr val="tx1"/>
                </a:solidFill>
              </a:defRPr>
            </a:lvl3pPr>
            <a:lvl4pPr marL="904713" indent="-155354">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p:txBody>
          <a:bodyPr/>
          <a:lstStyle>
            <a:lvl1pPr>
              <a:defRPr/>
            </a:lvl1pPr>
          </a:lstStyle>
          <a:p>
            <a:pPr>
              <a:buClr>
                <a:srgbClr val="FF0000"/>
              </a:buClr>
            </a:pPr>
            <a:fld id="{CBEE3953-D61F-41CB-B29C-927C62F0DC7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025323291"/>
      </p:ext>
    </p:extLst>
  </p:cSld>
  <p:clrMapOvr>
    <a:masterClrMapping/>
  </p:clrMapOvr>
  <p:transition>
    <p:fade/>
  </p:transition>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ub-title_column 3"/>
          <p:cNvSpPr>
            <a:spLocks noGrp="1"/>
          </p:cNvSpPr>
          <p:nvPr>
            <p:ph type="body" sz="quarter" idx="16"/>
          </p:nvPr>
        </p:nvSpPr>
        <p:spPr>
          <a:xfrm>
            <a:off x="8289004" y="1525707"/>
            <a:ext cx="3345117" cy="776499"/>
          </a:xfrm>
          <a:prstGeom prst="rect">
            <a:avLst/>
          </a:prstGeom>
        </p:spPr>
        <p:txBody>
          <a:bodyPr lIns="91440" tIns="45720" rIns="91440" bIns="45720" anchor="t" anchorCtr="0">
            <a:noAutofit/>
          </a:bodyPr>
          <a:lstStyle>
            <a:lvl1pPr marL="0" indent="0">
              <a:lnSpc>
                <a:spcPct val="85000"/>
              </a:lnSpc>
              <a:buNone/>
              <a:defRPr sz="2798">
                <a:solidFill>
                  <a:srgbClr val="4D4D4F"/>
                </a:solidFill>
              </a:defRPr>
            </a:lvl1pPr>
          </a:lstStyle>
          <a:p>
            <a:pPr lvl="0"/>
            <a:r>
              <a:rPr lang="en-US"/>
              <a:t>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798">
                <a:solidFill>
                  <a:srgbClr val="4D4D4F"/>
                </a:solidFill>
              </a:defRPr>
            </a:lvl1pPr>
          </a:lstStyle>
          <a:p>
            <a:pPr lvl="0"/>
            <a:r>
              <a:rPr lang="en-US"/>
              <a:t>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798">
                <a:solidFill>
                  <a:srgbClr val="4D4D4F"/>
                </a:solidFill>
              </a:defRPr>
            </a:lvl1pPr>
          </a:lstStyle>
          <a:p>
            <a:pPr lvl="0"/>
            <a:r>
              <a:rPr lang="en-US"/>
              <a:t>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6"/>
            <a:ext cx="3337560" cy="3601231"/>
          </a:xfrm>
          <a:prstGeom prst="rect">
            <a:avLst/>
          </a:prstGeom>
        </p:spPr>
        <p:txBody>
          <a:bodyPr lIns="91440" tIns="91440" rIns="91440" bIns="91440">
            <a:noAutofit/>
          </a:bodyPr>
          <a:lstStyle>
            <a:lvl1pPr marL="228462" indent="-228462">
              <a:lnSpc>
                <a:spcPct val="95000"/>
              </a:lnSpc>
              <a:spcBef>
                <a:spcPts val="1000"/>
              </a:spcBef>
              <a:buClr>
                <a:schemeClr val="tx2"/>
              </a:buClr>
              <a:buSzPct val="85000"/>
              <a:buFont typeface="Arial" panose="020B0604020202020204" pitchFamily="34" charset="0"/>
              <a:buChar char="•"/>
              <a:defRPr sz="1998">
                <a:solidFill>
                  <a:srgbClr val="4D4D4F"/>
                </a:solidFill>
              </a:defRPr>
            </a:lvl1pPr>
            <a:lvl2pPr marL="475202" indent="-228462">
              <a:lnSpc>
                <a:spcPct val="95000"/>
              </a:lnSpc>
              <a:spcBef>
                <a:spcPts val="800"/>
              </a:spcBef>
              <a:buClr>
                <a:schemeClr val="tx2"/>
              </a:buClr>
              <a:buFont typeface="Arial" panose="020B0604020202020204" pitchFamily="34" charset="0"/>
              <a:buChar char="•"/>
              <a:defRPr sz="1798">
                <a:solidFill>
                  <a:schemeClr val="tx1"/>
                </a:solidFill>
              </a:defRPr>
            </a:lvl2pPr>
            <a:lvl3pPr marL="685388" indent="-155354">
              <a:lnSpc>
                <a:spcPct val="95000"/>
              </a:lnSpc>
              <a:spcBef>
                <a:spcPts val="800"/>
              </a:spcBef>
              <a:buClr>
                <a:schemeClr val="tx2"/>
              </a:buClr>
              <a:buFont typeface="Arial" panose="020B0604020202020204" pitchFamily="34" charset="0"/>
              <a:buChar char="•"/>
              <a:tabLst>
                <a:tab pos="688561" algn="l"/>
              </a:tabLst>
              <a:defRPr sz="1600">
                <a:solidFill>
                  <a:schemeClr val="tx1"/>
                </a:solidFill>
              </a:defRPr>
            </a:lvl3pPr>
            <a:lvl4pPr marL="886436" indent="-155354">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6"/>
            <a:ext cx="3337560" cy="3601231"/>
          </a:xfrm>
          <a:prstGeom prst="rect">
            <a:avLst/>
          </a:prstGeom>
        </p:spPr>
        <p:txBody>
          <a:bodyPr lIns="91440" tIns="91440" rIns="91440" bIns="91440">
            <a:noAutofit/>
          </a:bodyPr>
          <a:lstStyle>
            <a:lvl1pPr marL="228462" indent="-228462">
              <a:lnSpc>
                <a:spcPct val="95000"/>
              </a:lnSpc>
              <a:spcBef>
                <a:spcPts val="1000"/>
              </a:spcBef>
              <a:buClr>
                <a:schemeClr val="tx2"/>
              </a:buClr>
              <a:buSzPct val="85000"/>
              <a:buFont typeface="Arial" panose="020B0604020202020204" pitchFamily="34" charset="0"/>
              <a:buChar char="•"/>
              <a:defRPr sz="1998">
                <a:solidFill>
                  <a:schemeClr val="tx1"/>
                </a:solidFill>
              </a:defRPr>
            </a:lvl1pPr>
            <a:lvl2pPr marL="475202" indent="-228462">
              <a:lnSpc>
                <a:spcPct val="95000"/>
              </a:lnSpc>
              <a:spcBef>
                <a:spcPts val="800"/>
              </a:spcBef>
              <a:buClr>
                <a:schemeClr val="tx2"/>
              </a:buClr>
              <a:buFont typeface="Arial" panose="020B0604020202020204" pitchFamily="34" charset="0"/>
              <a:buChar char="•"/>
              <a:defRPr sz="1798">
                <a:solidFill>
                  <a:schemeClr val="tx1"/>
                </a:solidFill>
              </a:defRPr>
            </a:lvl2pPr>
            <a:lvl3pPr marL="685388" indent="-155354">
              <a:lnSpc>
                <a:spcPct val="95000"/>
              </a:lnSpc>
              <a:spcBef>
                <a:spcPts val="800"/>
              </a:spcBef>
              <a:buClr>
                <a:schemeClr val="tx2"/>
              </a:buClr>
              <a:buFont typeface="Arial" panose="020B0604020202020204" pitchFamily="34" charset="0"/>
              <a:buChar char="•"/>
              <a:tabLst>
                <a:tab pos="688561" algn="l"/>
              </a:tabLst>
              <a:defRPr sz="1600">
                <a:solidFill>
                  <a:schemeClr val="tx1"/>
                </a:solidFill>
              </a:defRPr>
            </a:lvl3pPr>
            <a:lvl4pPr marL="886436" indent="-155354">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2" y="2560976"/>
            <a:ext cx="3337560" cy="3601231"/>
          </a:xfrm>
          <a:prstGeom prst="rect">
            <a:avLst/>
          </a:prstGeom>
        </p:spPr>
        <p:txBody>
          <a:bodyPr lIns="91440" tIns="91440" rIns="91440" bIns="91440">
            <a:noAutofit/>
          </a:bodyPr>
          <a:lstStyle>
            <a:lvl1pPr marL="228462" indent="-228462">
              <a:lnSpc>
                <a:spcPct val="95000"/>
              </a:lnSpc>
              <a:spcBef>
                <a:spcPts val="1000"/>
              </a:spcBef>
              <a:buClr>
                <a:schemeClr val="tx2"/>
              </a:buClr>
              <a:buSzPct val="85000"/>
              <a:buFont typeface="Arial" panose="020B0604020202020204" pitchFamily="34" charset="0"/>
              <a:buChar char="•"/>
              <a:defRPr sz="1998">
                <a:solidFill>
                  <a:schemeClr val="tx1"/>
                </a:solidFill>
              </a:defRPr>
            </a:lvl1pPr>
            <a:lvl2pPr marL="475202" indent="-228462">
              <a:lnSpc>
                <a:spcPct val="95000"/>
              </a:lnSpc>
              <a:spcBef>
                <a:spcPts val="800"/>
              </a:spcBef>
              <a:buClr>
                <a:schemeClr val="tx2"/>
              </a:buClr>
              <a:buFont typeface="Arial" panose="020B0604020202020204" pitchFamily="34" charset="0"/>
              <a:buChar char="•"/>
              <a:defRPr sz="1798">
                <a:solidFill>
                  <a:schemeClr val="tx1"/>
                </a:solidFill>
              </a:defRPr>
            </a:lvl2pPr>
            <a:lvl3pPr marL="685388" indent="-155354">
              <a:lnSpc>
                <a:spcPct val="95000"/>
              </a:lnSpc>
              <a:spcBef>
                <a:spcPts val="800"/>
              </a:spcBef>
              <a:buClr>
                <a:schemeClr val="tx2"/>
              </a:buClr>
              <a:buFont typeface="Arial" panose="020B0604020202020204" pitchFamily="34" charset="0"/>
              <a:buChar char="•"/>
              <a:tabLst>
                <a:tab pos="688561" algn="l"/>
              </a:tabLst>
              <a:defRPr sz="1600">
                <a:solidFill>
                  <a:schemeClr val="tx1"/>
                </a:solidFill>
              </a:defRPr>
            </a:lvl3pPr>
            <a:lvl4pPr marL="886436" indent="-155354">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p:txBody>
          <a:bodyPr/>
          <a:lstStyle>
            <a:lvl1pPr>
              <a:defRPr/>
            </a:lvl1pPr>
          </a:lstStyle>
          <a:p>
            <a:pPr>
              <a:buClr>
                <a:srgbClr val="FF0000"/>
              </a:buClr>
            </a:pPr>
            <a:fld id="{A8AB2711-EECB-4B8E-AB01-66E472532857}"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256390542"/>
      </p:ext>
    </p:extLst>
  </p:cSld>
  <p:clrMapOvr>
    <a:masterClrMapping/>
  </p:clrMapOvr>
  <p:transition>
    <p:fade/>
  </p:transition>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3" name="Date Placeholder 2"/>
          <p:cNvSpPr>
            <a:spLocks noGrp="1"/>
          </p:cNvSpPr>
          <p:nvPr>
            <p:ph type="dt" sz="half" idx="12"/>
          </p:nvPr>
        </p:nvSpPr>
        <p:spPr/>
        <p:txBody>
          <a:bodyPr/>
          <a:lstStyle>
            <a:lvl1pPr>
              <a:defRPr/>
            </a:lvl1pPr>
          </a:lstStyle>
          <a:p>
            <a:pPr>
              <a:buClr>
                <a:srgbClr val="FF0000"/>
              </a:buClr>
            </a:pPr>
            <a:fld id="{00BE836D-5939-48C6-97F9-69D9A59864E0}"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790990941"/>
      </p:ext>
    </p:extLst>
  </p:cSld>
  <p:clrMapOvr>
    <a:masterClrMapping/>
  </p:clrMapOvr>
  <p:transition>
    <p:fade/>
  </p:transition>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p:txBody>
          <a:bodyPr/>
          <a:lstStyle>
            <a:lvl1pPr>
              <a:defRPr/>
            </a:lvl1pPr>
          </a:lstStyle>
          <a:p>
            <a:pPr>
              <a:buClr>
                <a:srgbClr val="FF0000"/>
              </a:buClr>
            </a:pPr>
            <a:fld id="{86AA43ED-6C1E-46B3-BECE-B29E283DBAF9}"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77998492"/>
      </p:ext>
    </p:extLst>
  </p:cSld>
  <p:clrMapOvr>
    <a:masterClrMapping/>
  </p:clrMapOvr>
  <p:transition>
    <p:fade/>
  </p:transition>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grpSp>
        <p:nvGrpSpPr>
          <p:cNvPr id="5" name="Pink Background"/>
          <p:cNvGrpSpPr/>
          <p:nvPr userDrawn="1"/>
        </p:nvGrpSpPr>
        <p:grpSpPr>
          <a:xfrm>
            <a:off x="5929632"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198" dirty="0">
                <a:latin typeface="Calibri"/>
                <a:ea typeface="+mn-ea"/>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buSzPct val="115000"/>
              </a:pPr>
              <a:endParaRPr lang="en-US" sz="3198" dirty="0">
                <a:latin typeface="Calibri"/>
                <a:ea typeface="+mn-ea"/>
                <a:cs typeface="Calibri" panose="020F0502020204030204" pitchFamily="34" charset="0"/>
              </a:endParaRPr>
            </a:p>
          </p:txBody>
        </p:sp>
      </p:grpSp>
      <p:sp>
        <p:nvSpPr>
          <p:cNvPr id="8" name="Credit text"/>
          <p:cNvSpPr>
            <a:spLocks noGrp="1"/>
          </p:cNvSpPr>
          <p:nvPr>
            <p:ph type="body" sz="quarter" idx="14" hasCustomPrompt="1"/>
          </p:nvPr>
        </p:nvSpPr>
        <p:spPr bwMode="white">
          <a:xfrm>
            <a:off x="6478071"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5" y="2011684"/>
            <a:ext cx="4563058" cy="2440001"/>
          </a:xfrm>
          <a:prstGeom prst="rect">
            <a:avLst/>
          </a:prstGeom>
        </p:spPr>
        <p:txBody>
          <a:bodyPr lIns="91440" tIns="45720" rIns="91440" bIns="45720" anchor="ctr">
            <a:noAutofit/>
          </a:bodyPr>
          <a:lstStyle>
            <a:lvl1pPr marL="152253" indent="-152253" algn="l" defTabSz="1218000" rtl="0" eaLnBrk="1" latinLnBrk="0" hangingPunct="1">
              <a:lnSpc>
                <a:spcPct val="95000"/>
              </a:lnSpc>
              <a:spcBef>
                <a:spcPts val="0"/>
              </a:spcBef>
              <a:buNone/>
              <a:defRPr lang="en-US" sz="2798" b="1" kern="1200" dirty="0" smtClean="0">
                <a:solidFill>
                  <a:schemeClr val="tx1"/>
                </a:solidFill>
                <a:latin typeface="Calibri" panose="020F0502020204030204" pitchFamily="34" charset="0"/>
                <a:ea typeface="+mn-ea"/>
                <a:cs typeface="Calibri" panose="020F0502020204030204" pitchFamily="34" charset="0"/>
              </a:defRPr>
            </a:lvl1pPr>
            <a:lvl2pPr marL="152253" indent="-152253" algn="l" defTabSz="1218000" rtl="0" eaLnBrk="1" latinLnBrk="0" hangingPunct="1">
              <a:defRPr lang="en-US" sz="2698" kern="1200" dirty="0" smtClean="0">
                <a:solidFill>
                  <a:schemeClr val="accent2"/>
                </a:solidFill>
                <a:latin typeface="Ciscolight" pitchFamily="2" charset="0"/>
                <a:ea typeface="+mn-ea"/>
                <a:cs typeface="+mn-cs"/>
              </a:defRPr>
            </a:lvl2pPr>
            <a:lvl3pPr marL="152253" indent="-152253" algn="l" defTabSz="1218000" rtl="0" eaLnBrk="1" latinLnBrk="0" hangingPunct="1">
              <a:defRPr lang="en-US" sz="2698" kern="1200" dirty="0" smtClean="0">
                <a:solidFill>
                  <a:schemeClr val="accent2"/>
                </a:solidFill>
                <a:latin typeface="Ciscolight" pitchFamily="2" charset="0"/>
                <a:ea typeface="+mn-ea"/>
                <a:cs typeface="+mn-cs"/>
              </a:defRPr>
            </a:lvl3pPr>
            <a:lvl4pPr marL="152253" indent="-152253" algn="l" defTabSz="1218000" rtl="0" eaLnBrk="1" latinLnBrk="0" hangingPunct="1">
              <a:defRPr lang="en-US" sz="2698" kern="1200" dirty="0" smtClean="0">
                <a:solidFill>
                  <a:schemeClr val="accent2"/>
                </a:solidFill>
                <a:latin typeface="Ciscolight" pitchFamily="2" charset="0"/>
                <a:ea typeface="+mn-ea"/>
                <a:cs typeface="+mn-cs"/>
              </a:defRPr>
            </a:lvl4pPr>
            <a:lvl5pPr marL="152253" indent="-152253" algn="l" defTabSz="1218000" rtl="0" eaLnBrk="1" latinLnBrk="0" hangingPunct="1">
              <a:defRPr lang="en-US" sz="2698"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4"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41"/>
            <a:ext cx="5074008" cy="3783163"/>
          </a:xfrm>
          <a:prstGeom prst="rect">
            <a:avLst/>
          </a:prstGeom>
        </p:spPr>
        <p:txBody>
          <a:bodyPr>
            <a:noAutofit/>
          </a:bodyPr>
          <a:lstStyle>
            <a:lvl1pPr marL="224193" indent="-224193">
              <a:lnSpc>
                <a:spcPct val="95000"/>
              </a:lnSpc>
              <a:buSzPct val="85000"/>
              <a:buFont typeface="Calibri" panose="020F0502020204030204" pitchFamily="34" charset="0"/>
              <a:buChar char="•"/>
              <a:defRPr sz="2398">
                <a:solidFill>
                  <a:schemeClr val="tx1"/>
                </a:solidFill>
              </a:defRPr>
            </a:lvl1pPr>
            <a:lvl2pPr marL="458512" indent="-228462">
              <a:lnSpc>
                <a:spcPct val="95000"/>
              </a:lnSpc>
              <a:buFont typeface="Calibri" panose="020F0502020204030204" pitchFamily="34" charset="0"/>
              <a:buChar char="−"/>
              <a:defRPr sz="1998"/>
            </a:lvl2pPr>
            <a:lvl3pPr>
              <a:defRPr sz="2098"/>
            </a:lvl3pPr>
            <a:lvl4pPr>
              <a:defRPr sz="1898"/>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p:txBody>
          <a:bodyPr/>
          <a:lstStyle>
            <a:lvl1pPr>
              <a:defRPr/>
            </a:lvl1pPr>
          </a:lstStyle>
          <a:p>
            <a:pPr>
              <a:buClr>
                <a:srgbClr val="FF0000"/>
              </a:buClr>
            </a:pPr>
            <a:fld id="{04A6B53C-4346-4277-850A-C878082E5B8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559366021"/>
      </p:ext>
    </p:extLst>
  </p:cSld>
  <p:clrMapOvr>
    <a:masterClrMapping/>
  </p:clrMapOvr>
  <p:transition>
    <p:fade/>
  </p:transition>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Gray gradient"/>
          <p:cNvSpPr/>
          <p:nvPr userDrawn="1"/>
        </p:nvSpPr>
        <p:spPr bwMode="auto">
          <a:xfrm>
            <a:off x="4241062"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lnSpc>
                <a:spcPct val="80000"/>
              </a:lnSpc>
              <a:spcBef>
                <a:spcPts val="1200"/>
              </a:spcBef>
              <a:buSzPct val="115000"/>
            </a:pPr>
            <a:endParaRPr lang="en-US" sz="2398" dirty="0">
              <a:latin typeface="Calibri"/>
              <a:ea typeface="+mn-ea"/>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2" y="1399032"/>
            <a:ext cx="6730683" cy="4443814"/>
          </a:xfrm>
          <a:prstGeom prst="rect">
            <a:avLst/>
          </a:prstGeom>
        </p:spPr>
        <p:txBody>
          <a:bodyPr lIns="91440" tIns="45720" rIns="91440" bIns="45720" anchor="ctr" anchorCtr="0">
            <a:noAutofit/>
          </a:bodyPr>
          <a:lstStyle>
            <a:lvl1pPr marL="319848" indent="-319848">
              <a:lnSpc>
                <a:spcPct val="95000"/>
              </a:lnSpc>
              <a:buSzPct val="85000"/>
              <a:buFont typeface="Calibri" panose="020F0502020204030204" pitchFamily="34" charset="0"/>
              <a:buChar char="•"/>
              <a:defRPr sz="3198" baseline="0">
                <a:solidFill>
                  <a:schemeClr val="tx1"/>
                </a:solidFill>
                <a:latin typeface="Calibri" panose="020F0502020204030204" pitchFamily="34" charset="0"/>
                <a:cs typeface="Calibri" panose="020F0502020204030204" pitchFamily="34" charset="0"/>
              </a:defRPr>
            </a:lvl1pPr>
            <a:lvl2pPr marL="667112" indent="-237602">
              <a:lnSpc>
                <a:spcPct val="95000"/>
              </a:lnSpc>
              <a:defRPr sz="2698">
                <a:latin typeface="Calibri" panose="020F0502020204030204" pitchFamily="34" charset="0"/>
                <a:cs typeface="Calibri" panose="020F0502020204030204" pitchFamily="34" charset="0"/>
              </a:defRPr>
            </a:lvl2pPr>
            <a:lvl3pPr>
              <a:defRPr sz="2698"/>
            </a:lvl3pPr>
            <a:lvl4pPr>
              <a:defRPr sz="2698"/>
            </a:lvl4pPr>
            <a:lvl5pPr>
              <a:defRPr sz="2698"/>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051" rtl="0" eaLnBrk="1" latinLnBrk="0" hangingPunct="1">
              <a:lnSpc>
                <a:spcPct val="80000"/>
              </a:lnSpc>
              <a:spcBef>
                <a:spcPct val="0"/>
              </a:spcBef>
              <a:buClr>
                <a:schemeClr val="tx1"/>
              </a:buClr>
              <a:buFont typeface="Ciscolight" pitchFamily="2" charset="0"/>
              <a:buNone/>
              <a:defRPr lang="en-US" sz="3998"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p:txBody>
          <a:bodyPr/>
          <a:lstStyle>
            <a:lvl1pPr>
              <a:defRPr/>
            </a:lvl1pPr>
          </a:lstStyle>
          <a:p>
            <a:pPr>
              <a:buClr>
                <a:srgbClr val="FF0000"/>
              </a:buClr>
            </a:pPr>
            <a:fld id="{91B30AA8-DACA-4F0F-A547-F0265114B5BD}"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604033019"/>
      </p:ext>
    </p:extLst>
  </p:cSld>
  <p:clrMapOvr>
    <a:masterClrMapping/>
  </p:clrMapOvr>
  <p:transition>
    <p:fade/>
  </p:transition>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4"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4"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4"/>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vl1pPr>
          </a:lstStyle>
          <a:p>
            <a:pPr>
              <a:buClr>
                <a:srgbClr val="FF0000"/>
              </a:buClr>
            </a:pPr>
            <a:fld id="{5066BB35-57A8-4B4C-BAD8-ACDF03B58927}"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13189011"/>
      </p:ext>
    </p:extLst>
  </p:cSld>
  <p:clrMapOvr>
    <a:masterClrMapping/>
  </p:clrMapOvr>
  <p:transition>
    <p:fade/>
  </p:transition>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8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endParaRPr lang="en-US" dirty="0"/>
          </a:p>
        </p:txBody>
      </p:sp>
      <p:sp>
        <p:nvSpPr>
          <p:cNvPr id="2" name="Date Placeholder 1"/>
          <p:cNvSpPr>
            <a:spLocks noGrp="1"/>
          </p:cNvSpPr>
          <p:nvPr>
            <p:ph type="dt" sz="half" idx="14"/>
          </p:nvPr>
        </p:nvSpPr>
        <p:spPr/>
        <p:txBody>
          <a:bodyPr/>
          <a:lstStyle>
            <a:lvl1pPr>
              <a:defRPr/>
            </a:lvl1pPr>
          </a:lstStyle>
          <a:p>
            <a:fld id="{0D2C66B6-F570-4D48-9AB5-501EA47F26DC}" type="datetimeFigureOut">
              <a:rPr lang="en-US" smtClean="0"/>
              <a:pPr/>
              <a:t>29-Feb-24</a:t>
            </a:fld>
            <a:endParaRPr lang="en-US" dirty="0"/>
          </a:p>
        </p:txBody>
      </p:sp>
    </p:spTree>
    <p:extLst>
      <p:ext uri="{BB962C8B-B14F-4D97-AF65-F5344CB8AC3E}">
        <p14:creationId xmlns:p14="http://schemas.microsoft.com/office/powerpoint/2010/main" val="308384908"/>
      </p:ext>
    </p:extLst>
  </p:cSld>
  <p:clrMapOvr>
    <a:masterClrMapping/>
  </p:clrMapOvr>
  <p:transition>
    <p:fade/>
  </p:transition>
  <p:hf sldNum="0"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sp>
        <p:nvSpPr>
          <p:cNvPr id="4" name="Date" hidden="1"/>
          <p:cNvSpPr>
            <a:spLocks noGrp="1"/>
          </p:cNvSpPr>
          <p:nvPr>
            <p:ph type="dt" sz="half" idx="11"/>
          </p:nvPr>
        </p:nvSpPr>
        <p:spPr/>
        <p:txBody>
          <a:bodyPr/>
          <a:lstStyle>
            <a:lvl1pPr>
              <a:defRPr/>
            </a:lvl1pPr>
          </a:lstStyle>
          <a:p>
            <a:pPr>
              <a:buClr>
                <a:srgbClr val="FF0000"/>
              </a:buClr>
            </a:pPr>
            <a:fld id="{2C41E328-24BD-4562-8643-D93CAFFDA48E}" type="datetime1">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10" name="Footer Placeholder 1" hidden="1">
            <a:extLst>
              <a:ext uri="{FF2B5EF4-FFF2-40B4-BE49-F238E27FC236}">
                <a16:creationId xmlns:a16="http://schemas.microsoft.com/office/drawing/2014/main" id="{D062A658-67D1-9849-BFB0-FEAD87AA04FC}"/>
              </a:ext>
            </a:extLst>
          </p:cNvPr>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defRPr>
            </a:lvl1pPr>
          </a:lstStyle>
          <a:p>
            <a:pPr>
              <a:buClr>
                <a:srgbClr val="FF0000"/>
              </a:buClr>
            </a:pPr>
            <a:endParaRPr lang="en-US" dirty="0">
              <a:solidFill>
                <a:srgbClr val="FFFFFF">
                  <a:lumMod val="75000"/>
                </a:srgbClr>
              </a:solidFill>
            </a:endParaRPr>
          </a:p>
        </p:txBody>
      </p:sp>
    </p:spTree>
    <p:extLst>
      <p:ext uri="{BB962C8B-B14F-4D97-AF65-F5344CB8AC3E}">
        <p14:creationId xmlns:p14="http://schemas.microsoft.com/office/powerpoint/2010/main" val="1196621671"/>
      </p:ext>
    </p:extLst>
  </p:cSld>
  <p:clrMapOvr>
    <a:masterClrMapping/>
  </p:clrMapOvr>
  <p:transition>
    <p:fade/>
  </p:transition>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absolutly-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19EEC1-FCFF-491D-98EE-8FFA37A45C9E}"/>
              </a:ext>
            </a:extLst>
          </p:cNvPr>
          <p:cNvSpPr>
            <a:spLocks noGrp="1"/>
          </p:cNvSpPr>
          <p:nvPr>
            <p:ph type="dt" sz="half" idx="10"/>
          </p:nvPr>
        </p:nvSpPr>
        <p:spPr>
          <a:xfrm>
            <a:off x="10673689" y="6356357"/>
            <a:ext cx="1159631" cy="366183"/>
          </a:xfrm>
        </p:spPr>
        <p:txBody>
          <a:bodyPr/>
          <a:lstStyle>
            <a:lvl1pPr>
              <a:defRPr u="none">
                <a:solidFill>
                  <a:schemeClr val="bg1"/>
                </a:solidFill>
                <a:effectLst>
                  <a:outerShdw blurRad="38100" dist="38100" dir="2700000" algn="tl">
                    <a:srgbClr val="000000">
                      <a:alpha val="43137"/>
                    </a:srgbClr>
                  </a:outerShdw>
                </a:effectLst>
              </a:defRPr>
            </a:lvl1pPr>
          </a:lstStyle>
          <a:p>
            <a:pPr>
              <a:buClr>
                <a:srgbClr val="FF0000"/>
              </a:buClr>
            </a:pPr>
            <a:fld id="{3D7CEAB6-8CB3-4B17-B049-4F43C9FB4BF4}" type="datetime1">
              <a:rPr lang="en-US" smtClean="0">
                <a:solidFill>
                  <a:srgbClr val="FFFFFF"/>
                </a:solidFill>
              </a:rPr>
              <a:pPr>
                <a:buClr>
                  <a:srgbClr val="FF0000"/>
                </a:buClr>
              </a:pPr>
              <a:t>29-Feb-24</a:t>
            </a:fld>
            <a:endParaRPr lang="en-US" dirty="0">
              <a:solidFill>
                <a:srgbClr val="FFFFFF"/>
              </a:solidFill>
            </a:endParaRPr>
          </a:p>
        </p:txBody>
      </p:sp>
      <p:sp>
        <p:nvSpPr>
          <p:cNvPr id="3" name="Footer Placeholder 2" hidden="1">
            <a:extLst>
              <a:ext uri="{FF2B5EF4-FFF2-40B4-BE49-F238E27FC236}">
                <a16:creationId xmlns:a16="http://schemas.microsoft.com/office/drawing/2014/main" id="{C4962E99-EEE6-4471-AF19-515600D0518A}"/>
              </a:ext>
            </a:extLst>
          </p:cNvPr>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4" name="Slide Number Placeholder 3">
            <a:extLst>
              <a:ext uri="{FF2B5EF4-FFF2-40B4-BE49-F238E27FC236}">
                <a16:creationId xmlns:a16="http://schemas.microsoft.com/office/drawing/2014/main" id="{9C7C27F1-5A16-4F19-A969-EEBEA30B1F84}"/>
              </a:ext>
            </a:extLst>
          </p:cNvPr>
          <p:cNvSpPr>
            <a:spLocks noGrp="1"/>
          </p:cNvSpPr>
          <p:nvPr>
            <p:ph type="sldNum" sz="quarter" idx="12"/>
          </p:nvPr>
        </p:nvSpPr>
        <p:spPr>
          <a:xfrm>
            <a:off x="-1" y="6356357"/>
            <a:ext cx="432345" cy="366183"/>
          </a:xfrm>
        </p:spPr>
        <p:txBody>
          <a:bodyPr/>
          <a:lstStyle>
            <a:lvl1pPr algn="ctr">
              <a:defRPr sz="1200">
                <a:solidFill>
                  <a:schemeClr val="bg1"/>
                </a:solidFill>
                <a:cs typeface="Calibri" panose="020F0502020204030204" pitchFamily="34" charset="0"/>
              </a:defRPr>
            </a:lvl1pPr>
          </a:lstStyle>
          <a:p>
            <a:pPr fontAlgn="base">
              <a:spcBef>
                <a:spcPct val="20000"/>
              </a:spcBef>
              <a:spcAft>
                <a:spcPct val="0"/>
              </a:spcAft>
              <a:buClr>
                <a:srgbClr val="FF0000"/>
              </a:buClr>
              <a:buSzPct val="65000"/>
              <a:buFont typeface="Wingdings" pitchFamily="2" charset="2"/>
              <a:buNone/>
            </a:pPr>
            <a:fld id="{5CC49C4B-5D92-4978-8F93-40CBFCA19264}" type="slidenum">
              <a:rPr lang="en-US" kern="1200" smtClean="0">
                <a:solidFill>
                  <a:srgbClr val="FFFFFF"/>
                </a:solidFill>
                <a:latin typeface="Helvetica" pitchFamily="34" charset="0"/>
                <a:ea typeface="+mn-ea"/>
              </a:rPr>
              <a:pPr fontAlgn="base">
                <a:spcBef>
                  <a:spcPct val="20000"/>
                </a:spcBef>
                <a:spcAft>
                  <a:spcPct val="0"/>
                </a:spcAft>
                <a:buClr>
                  <a:srgbClr val="FF0000"/>
                </a:buClr>
                <a:buSzPct val="65000"/>
                <a:buFont typeface="Wingdings" pitchFamily="2" charset="2"/>
                <a:buNone/>
              </a:pPr>
              <a:t>‹#›</a:t>
            </a:fld>
            <a:endParaRPr lang="en-US" kern="1200" dirty="0">
              <a:solidFill>
                <a:srgbClr val="FFFFFF"/>
              </a:solidFill>
              <a:latin typeface="Helvetica" pitchFamily="34" charset="0"/>
              <a:ea typeface="+mn-ea"/>
              <a:cs typeface="+mn-cs"/>
            </a:endParaRPr>
          </a:p>
        </p:txBody>
      </p:sp>
    </p:spTree>
    <p:extLst>
      <p:ext uri="{BB962C8B-B14F-4D97-AF65-F5344CB8AC3E}">
        <p14:creationId xmlns:p14="http://schemas.microsoft.com/office/powerpoint/2010/main" val="698576586"/>
      </p:ext>
    </p:extLst>
  </p:cSld>
  <p:clrMapOvr>
    <a:masterClrMapping/>
  </p:clrMapOvr>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3_Standard Title and Bullets">
  <p:cSld name="9_Standard Title and Bullets">
    <p:spTree>
      <p:nvGrpSpPr>
        <p:cNvPr id="1" name="Shape 66"/>
        <p:cNvGrpSpPr/>
        <p:nvPr/>
      </p:nvGrpSpPr>
      <p:grpSpPr>
        <a:xfrm>
          <a:off x="0" y="0"/>
          <a:ext cx="0" cy="0"/>
          <a:chOff x="0" y="0"/>
          <a:chExt cx="0" cy="0"/>
        </a:xfrm>
      </p:grpSpPr>
      <p:pic>
        <p:nvPicPr>
          <p:cNvPr id="67" name="Google Shape;67;p68" descr="A picture containing outdoor, person, building, person&#10;&#10;Description automatically generated"/>
          <p:cNvPicPr preferRelativeResize="0"/>
          <p:nvPr/>
        </p:nvPicPr>
        <p:blipFill rotWithShape="1">
          <a:blip r:embed="rId2">
            <a:alphaModFix/>
          </a:blip>
          <a:srcRect/>
          <a:stretch/>
        </p:blipFill>
        <p:spPr>
          <a:xfrm flipH="1">
            <a:off x="-2" y="-11575"/>
            <a:ext cx="12188825" cy="6535694"/>
          </a:xfrm>
          <a:prstGeom prst="rect">
            <a:avLst/>
          </a:prstGeom>
          <a:noFill/>
          <a:ln>
            <a:noFill/>
          </a:ln>
        </p:spPr>
      </p:pic>
      <p:sp>
        <p:nvSpPr>
          <p:cNvPr id="68" name="Google Shape;68;p68" hidden="1"/>
          <p:cNvSpPr txBox="1">
            <a:spLocks noGrp="1"/>
          </p:cNvSpPr>
          <p:nvPr>
            <p:ph type="dt" idx="10"/>
          </p:nvPr>
        </p:nvSpPr>
        <p:spPr>
          <a:xfrm>
            <a:off x="-2991244"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69" name="Google Shape;69;p68"/>
          <p:cNvSpPr/>
          <p:nvPr/>
        </p:nvSpPr>
        <p:spPr>
          <a:xfrm>
            <a:off x="-2" y="481"/>
            <a:ext cx="12188825" cy="6535694"/>
          </a:xfrm>
          <a:prstGeom prst="rect">
            <a:avLst/>
          </a:prstGeom>
          <a:gradFill>
            <a:gsLst>
              <a:gs pos="0">
                <a:srgbClr val="002060">
                  <a:alpha val="50980"/>
                </a:srgbClr>
              </a:gs>
              <a:gs pos="52999">
                <a:srgbClr val="002060">
                  <a:alpha val="50980"/>
                </a:srgbClr>
              </a:gs>
              <a:gs pos="98000">
                <a:srgbClr val="00153E"/>
              </a:gs>
              <a:gs pos="100000">
                <a:srgbClr val="00153E"/>
              </a:gs>
            </a:gsLst>
            <a:lin ang="5400000" scaled="0"/>
          </a:gradFill>
          <a:ln>
            <a:noFill/>
          </a:ln>
        </p:spPr>
        <p:txBody>
          <a:bodyPr spcFirstLastPara="1" wrap="square" lIns="91401" tIns="45688" rIns="91401" bIns="45688" anchor="ctr" anchorCtr="0">
            <a:noAutofit/>
          </a:bodyPr>
          <a:lstStyle/>
          <a:p>
            <a:pPr algn="ctr">
              <a:lnSpc>
                <a:spcPct val="80000"/>
              </a:lnSpc>
              <a:buClrTx/>
              <a:buFontTx/>
              <a:buNone/>
            </a:pPr>
            <a:endParaRPr sz="2399" kern="1200">
              <a:solidFill>
                <a:srgbClr val="4D4D4F"/>
              </a:solidFill>
              <a:latin typeface="Calibri"/>
              <a:ea typeface="Calibri"/>
              <a:cs typeface="Calibri"/>
              <a:sym typeface="Calibri"/>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2869852935"/>
      </p:ext>
    </p:extLst>
  </p:cSld>
  <p:clrMapOvr>
    <a:masterClrMapping/>
  </p:clrMapOvr>
  <p:transition>
    <p:fade/>
  </p:transition>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9_Standard Title and Bullets">
    <p:spTree>
      <p:nvGrpSpPr>
        <p:cNvPr id="1" name=""/>
        <p:cNvGrpSpPr/>
        <p:nvPr/>
      </p:nvGrpSpPr>
      <p:grpSpPr>
        <a:xfrm>
          <a:off x="0" y="0"/>
          <a:ext cx="0" cy="0"/>
          <a:chOff x="0" y="0"/>
          <a:chExt cx="0" cy="0"/>
        </a:xfrm>
      </p:grpSpPr>
      <p:pic>
        <p:nvPicPr>
          <p:cNvPr id="8" name="Picture 7" descr="A picture containing outdoor, person, holding, drawing&#10;&#10;Description automatically generated">
            <a:extLst>
              <a:ext uri="{FF2B5EF4-FFF2-40B4-BE49-F238E27FC236}">
                <a16:creationId xmlns:a16="http://schemas.microsoft.com/office/drawing/2014/main" id="{1B78837F-643D-7549-99F2-0DAFF021468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88825" cy="6486273"/>
          </a:xfrm>
          <a:prstGeom prst="rect">
            <a:avLst/>
          </a:prstGeom>
        </p:spPr>
      </p:pic>
      <p:sp>
        <p:nvSpPr>
          <p:cNvPr id="4" name="Rectangle 3">
            <a:extLst>
              <a:ext uri="{FF2B5EF4-FFF2-40B4-BE49-F238E27FC236}">
                <a16:creationId xmlns:a16="http://schemas.microsoft.com/office/drawing/2014/main" id="{53AB380A-A884-2545-A397-F11FECBE70BD}"/>
              </a:ext>
            </a:extLst>
          </p:cNvPr>
          <p:cNvSpPr/>
          <p:nvPr userDrawn="1"/>
        </p:nvSpPr>
        <p:spPr bwMode="auto">
          <a:xfrm>
            <a:off x="0" y="0"/>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spcAft>
                <a:spcPts val="0"/>
              </a:spcAft>
              <a:buClr>
                <a:schemeClr val="accent2"/>
              </a:buClr>
              <a:buSzPct val="115000"/>
              <a:buFont typeface="Wingdings" pitchFamily="2" charset="2"/>
            </a:pPr>
            <a:endParaRPr lang="en-US" sz="2400" dirty="0">
              <a:latin typeface="+mn-lt"/>
              <a:cs typeface="Calibri" panose="020F0502020204030204" pitchFamily="34" charset="0"/>
            </a:endParaRPr>
          </a:p>
        </p:txBody>
      </p:sp>
      <p:sp>
        <p:nvSpPr>
          <p:cNvPr id="9" name="Rectangle 8">
            <a:extLst>
              <a:ext uri="{FF2B5EF4-FFF2-40B4-BE49-F238E27FC236}">
                <a16:creationId xmlns:a16="http://schemas.microsoft.com/office/drawing/2014/main" id="{F94B2798-40FD-D744-9CA1-FF4F7F89390D}"/>
              </a:ext>
            </a:extLst>
          </p:cNvPr>
          <p:cNvSpPr/>
          <p:nvPr userDrawn="1"/>
        </p:nvSpPr>
        <p:spPr bwMode="auto">
          <a:xfrm rot="10800000">
            <a:off x="0" y="2871203"/>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spcAft>
                <a:spcPts val="0"/>
              </a:spcAft>
              <a:buClr>
                <a:schemeClr val="accent2"/>
              </a:buClr>
              <a:buSzPct val="115000"/>
              <a:buFont typeface="Wingdings" pitchFamily="2" charset="2"/>
            </a:pPr>
            <a:endParaRPr lang="en-US" sz="2400" dirty="0">
              <a:latin typeface="+mn-lt"/>
              <a:cs typeface="Calibri" panose="020F0502020204030204" pitchFamily="34" charset="0"/>
            </a:endParaRPr>
          </a:p>
        </p:txBody>
      </p:sp>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endParaRPr lang="en-US" dirty="0"/>
          </a:p>
        </p:txBody>
      </p:sp>
      <p:sp>
        <p:nvSpPr>
          <p:cNvPr id="2" name="Date Placeholder 1"/>
          <p:cNvSpPr>
            <a:spLocks noGrp="1"/>
          </p:cNvSpPr>
          <p:nvPr>
            <p:ph type="dt" sz="half" idx="14"/>
          </p:nvPr>
        </p:nvSpPr>
        <p:spPr/>
        <p:txBody>
          <a:bodyPr/>
          <a:lstStyle>
            <a:lvl1pPr>
              <a:defRPr/>
            </a:lvl1pPr>
          </a:lstStyle>
          <a:p>
            <a:fld id="{074E79D6-FDEE-401D-A907-4831EE5E23E4}" type="datetimeFigureOut">
              <a:rPr lang="en-US" smtClean="0"/>
              <a:pPr/>
              <a:t>29-Feb-24</a:t>
            </a:fld>
            <a:endParaRPr lang="en-US" dirty="0"/>
          </a:p>
        </p:txBody>
      </p:sp>
    </p:spTree>
    <p:extLst>
      <p:ext uri="{BB962C8B-B14F-4D97-AF65-F5344CB8AC3E}">
        <p14:creationId xmlns:p14="http://schemas.microsoft.com/office/powerpoint/2010/main" val="1254264529"/>
      </p:ext>
    </p:extLst>
  </p:cSld>
  <p:clrMapOvr>
    <a:masterClrMapping/>
  </p:clrMapOvr>
  <p:transition>
    <p:fade/>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pic>
        <p:nvPicPr>
          <p:cNvPr id="5" name="Picture 4" descr="A person posing for the camera  Description automatically generated">
            <a:extLst>
              <a:ext uri="{FF2B5EF4-FFF2-40B4-BE49-F238E27FC236}">
                <a16:creationId xmlns:a16="http://schemas.microsoft.com/office/drawing/2014/main" id="{1D605E35-9CCF-424D-8841-387FE1786400}"/>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88824" cy="6165850"/>
          </a:xfrm>
          <a:prstGeom prst="rect">
            <a:avLst/>
          </a:prstGeom>
        </p:spPr>
      </p:pic>
      <p:sp>
        <p:nvSpPr>
          <p:cNvPr id="4" name="Date" hidden="1"/>
          <p:cNvSpPr>
            <a:spLocks noGrp="1"/>
          </p:cNvSpPr>
          <p:nvPr>
            <p:ph type="dt" sz="half" idx="11"/>
          </p:nvPr>
        </p:nvSpPr>
        <p:spPr/>
        <p:txBody>
          <a:bodyPr/>
          <a:lstStyle>
            <a:lvl1pPr>
              <a:defRPr/>
            </a:lvl1pPr>
          </a:lstStyle>
          <a:p>
            <a:fld id="{285138E8-3F3E-4DC5-A5FA-50868B94627A}" type="datetimeFigureOut">
              <a:rPr lang="en-US" smtClean="0"/>
              <a:pPr/>
              <a:t>29-Feb-24</a:t>
            </a:fld>
            <a:endParaRPr lang="en-US" dirty="0"/>
          </a:p>
        </p:txBody>
      </p:sp>
      <p:sp>
        <p:nvSpPr>
          <p:cNvPr id="2" name="Footer Placeholder 1" hidden="1"/>
          <p:cNvSpPr>
            <a:spLocks noGrp="1"/>
          </p:cNvSpPr>
          <p:nvPr>
            <p:ph type="ftr" sz="quarter" idx="12"/>
          </p:nvPr>
        </p:nvSpPr>
        <p:spPr>
          <a:xfrm>
            <a:off x="4037013" y="6356350"/>
            <a:ext cx="41148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400788826"/>
      </p:ext>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_1">
  <p:cSld name="Title Slide_1">
    <p:spTree>
      <p:nvGrpSpPr>
        <p:cNvPr id="1" name="Shape 16"/>
        <p:cNvGrpSpPr/>
        <p:nvPr/>
      </p:nvGrpSpPr>
      <p:grpSpPr>
        <a:xfrm>
          <a:off x="0" y="0"/>
          <a:ext cx="0" cy="0"/>
          <a:chOff x="0" y="0"/>
          <a:chExt cx="0" cy="0"/>
        </a:xfrm>
      </p:grpSpPr>
      <p:pic>
        <p:nvPicPr>
          <p:cNvPr id="17" name="Google Shape;17;p57" descr="A person with a bicycle in front of a building&#10;&#10;Description automatically generated"/>
          <p:cNvPicPr preferRelativeResize="0"/>
          <p:nvPr/>
        </p:nvPicPr>
        <p:blipFill rotWithShape="1">
          <a:blip r:embed="rId2">
            <a:alphaModFix/>
          </a:blip>
          <a:srcRect/>
          <a:stretch/>
        </p:blipFill>
        <p:spPr>
          <a:xfrm>
            <a:off x="21210" y="0"/>
            <a:ext cx="12167616" cy="6858000"/>
          </a:xfrm>
          <a:prstGeom prst="rect">
            <a:avLst/>
          </a:prstGeom>
          <a:noFill/>
          <a:ln>
            <a:noFill/>
          </a:ln>
        </p:spPr>
      </p:pic>
      <p:pic>
        <p:nvPicPr>
          <p:cNvPr id="18" name="Google Shape;18;p57" descr="A picture containing comb&#10;&#10;Description automatically generated"/>
          <p:cNvPicPr preferRelativeResize="0"/>
          <p:nvPr/>
        </p:nvPicPr>
        <p:blipFill rotWithShape="1">
          <a:blip r:embed="rId3">
            <a:alphaModFix amt="5000"/>
          </a:blip>
          <a:srcRect/>
          <a:stretch/>
        </p:blipFill>
        <p:spPr>
          <a:xfrm flipH="1">
            <a:off x="7970818" y="5628719"/>
            <a:ext cx="3269010" cy="1372232"/>
          </a:xfrm>
          <a:prstGeom prst="rect">
            <a:avLst/>
          </a:prstGeom>
          <a:noFill/>
          <a:ln>
            <a:noFill/>
          </a:ln>
        </p:spPr>
      </p:pic>
      <p:sp>
        <p:nvSpPr>
          <p:cNvPr id="19" name="Google Shape;19;p57"/>
          <p:cNvSpPr/>
          <p:nvPr/>
        </p:nvSpPr>
        <p:spPr>
          <a:xfrm>
            <a:off x="0" y="-4793"/>
            <a:ext cx="12239144" cy="6857999"/>
          </a:xfrm>
          <a:prstGeom prst="rect">
            <a:avLst/>
          </a:prstGeom>
          <a:solidFill>
            <a:schemeClr val="accent6">
              <a:alpha val="34901"/>
            </a:schemeClr>
          </a:solidFill>
          <a:ln>
            <a:noFill/>
          </a:ln>
        </p:spPr>
        <p:txBody>
          <a:bodyPr spcFirstLastPara="1" wrap="square" lIns="91401" tIns="45688" rIns="91401" bIns="45688" anchor="ctr" anchorCtr="0">
            <a:noAutofit/>
          </a:bodyPr>
          <a:lstStyle/>
          <a:p>
            <a:pPr algn="ctr">
              <a:lnSpc>
                <a:spcPct val="80000"/>
              </a:lnSpc>
              <a:buClr>
                <a:srgbClr val="000000"/>
              </a:buClr>
              <a:buFont typeface="Arial"/>
              <a:buNone/>
            </a:pPr>
            <a:endParaRPr sz="2399" kern="0">
              <a:solidFill>
                <a:srgbClr val="4D4D4F"/>
              </a:solidFill>
              <a:latin typeface="Calibri"/>
              <a:ea typeface="Calibri"/>
              <a:cs typeface="Calibri"/>
              <a:sym typeface="Calibri"/>
            </a:endParaRPr>
          </a:p>
        </p:txBody>
      </p:sp>
      <p:sp>
        <p:nvSpPr>
          <p:cNvPr id="23" name="Google Shape;23;p57" hidden="1"/>
          <p:cNvSpPr txBox="1">
            <a:spLocks noGrp="1"/>
          </p:cNvSpPr>
          <p:nvPr>
            <p:ph type="dt" idx="10"/>
          </p:nvPr>
        </p:nvSpPr>
        <p:spPr>
          <a:xfrm>
            <a:off x="609600"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4D4D4F">
                  <a:tint val="75000"/>
                </a:srgbClr>
              </a:solidFill>
            </a:endParaRPr>
          </a:p>
        </p:txBody>
      </p:sp>
    </p:spTree>
    <p:extLst>
      <p:ext uri="{BB962C8B-B14F-4D97-AF65-F5344CB8AC3E}">
        <p14:creationId xmlns:p14="http://schemas.microsoft.com/office/powerpoint/2010/main" val="4074933672"/>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egue-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3685"/>
            <a:ext cx="12356105" cy="6949440"/>
          </a:xfrm>
          <a:prstGeom prst="rect">
            <a:avLst/>
          </a:prstGeom>
        </p:spPr>
      </p:pic>
      <p:sp>
        <p:nvSpPr>
          <p:cNvPr id="4" name="Footer Placeholder 3" hidden="1"/>
          <p:cNvSpPr>
            <a:spLocks noGrp="1"/>
          </p:cNvSpPr>
          <p:nvPr>
            <p:ph type="ftr" sz="quarter" idx="11"/>
          </p:nvPr>
        </p:nvSpPr>
        <p:spPr/>
        <p:txBody>
          <a:bodyPr/>
          <a:lstStyle>
            <a:lvl1pPr>
              <a:defRPr/>
            </a:lvl1pPr>
          </a:lstStyle>
          <a:p>
            <a:endParaRPr lang="en-US" dirty="0"/>
          </a:p>
        </p:txBody>
      </p:sp>
      <p:sp>
        <p:nvSpPr>
          <p:cNvPr id="6" name="Section title"/>
          <p:cNvSpPr>
            <a:spLocks noGrp="1"/>
          </p:cNvSpPr>
          <p:nvPr>
            <p:ph type="body" sz="quarter" idx="13" hasCustomPrompt="1"/>
          </p:nvPr>
        </p:nvSpPr>
        <p:spPr bwMode="white">
          <a:xfrm>
            <a:off x="637179" y="2171235"/>
            <a:ext cx="6454501" cy="3027783"/>
          </a:xfrm>
          <a:prstGeom prst="rect">
            <a:avLst/>
          </a:prstGeom>
        </p:spPr>
        <p:txBody>
          <a:bodyPr wrap="square" anchor="t" anchorCtr="0">
            <a:noAutofit/>
          </a:bodyPr>
          <a:lstStyle>
            <a:lvl1pPr marL="0" indent="0" algn="l">
              <a:lnSpc>
                <a:spcPct val="100000"/>
              </a:lnSpc>
              <a:spcBef>
                <a:spcPts val="0"/>
              </a:spcBef>
              <a:buNone/>
              <a:defRPr sz="3400" b="0" cap="all" baseline="0">
                <a:solidFill>
                  <a:schemeClr val="bg1"/>
                </a:solidFill>
              </a:defRPr>
            </a:lvl1pPr>
            <a:lvl5pPr marL="1371360"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19" y="963868"/>
            <a:ext cx="4649659" cy="891075"/>
          </a:xfrm>
          <a:prstGeom prst="rect">
            <a:avLst/>
          </a:prstGeom>
        </p:spPr>
        <p:txBody>
          <a:bodyPr anchor="t" anchorCtr="0">
            <a:noAutofit/>
          </a:bodyPr>
          <a:lstStyle>
            <a:lvl1pPr marL="0" indent="0" algn="l">
              <a:lnSpc>
                <a:spcPct val="100000"/>
              </a:lnSpc>
              <a:spcBef>
                <a:spcPts val="0"/>
              </a:spcBef>
              <a:buNone/>
              <a:defRPr sz="3600" b="1" baseline="0">
                <a:solidFill>
                  <a:schemeClr val="bg2"/>
                </a:solidFill>
              </a:defRPr>
            </a:lvl1pPr>
            <a:lvl5pPr marL="1371360" indent="0">
              <a:buNone/>
              <a:defRPr/>
            </a:lvl5pPr>
          </a:lstStyle>
          <a:p>
            <a:pPr lvl="0"/>
            <a:r>
              <a:rPr lang="en-US" dirty="0"/>
              <a:t>Click to Edit</a:t>
            </a:r>
          </a:p>
        </p:txBody>
      </p:sp>
      <p:sp>
        <p:nvSpPr>
          <p:cNvPr id="2" name="Date Placeholder 1"/>
          <p:cNvSpPr>
            <a:spLocks noGrp="1"/>
          </p:cNvSpPr>
          <p:nvPr>
            <p:ph type="dt" sz="half" idx="17"/>
          </p:nvPr>
        </p:nvSpPr>
        <p:spPr>
          <a:xfrm>
            <a:off x="-3156888" y="6356350"/>
            <a:ext cx="2843213" cy="365125"/>
          </a:xfrm>
        </p:spPr>
        <p:txBody>
          <a:bodyPr/>
          <a:lstStyle>
            <a:lvl1pPr>
              <a:defRPr/>
            </a:lvl1pPr>
          </a:lstStyle>
          <a:p>
            <a:fld id="{BFD34698-4CB0-4260-A437-6B0E52C5ABA4}" type="datetimeFigureOut">
              <a:rPr lang="en-US" smtClean="0"/>
              <a:pPr/>
              <a:t>29-Feb-24</a:t>
            </a:fld>
            <a:endParaRPr lang="en-US" dirty="0"/>
          </a:p>
        </p:txBody>
      </p:sp>
      <p:grpSp>
        <p:nvGrpSpPr>
          <p:cNvPr id="8" name="Group 4"/>
          <p:cNvGrpSpPr>
            <a:grpSpLocks noChangeAspect="1"/>
          </p:cNvGrpSpPr>
          <p:nvPr userDrawn="1"/>
        </p:nvGrpSpPr>
        <p:grpSpPr bwMode="auto">
          <a:xfrm>
            <a:off x="9592310" y="3357225"/>
            <a:ext cx="1919288" cy="1919288"/>
            <a:chOff x="3690" y="2372"/>
            <a:chExt cx="1209" cy="1209"/>
          </a:xfrm>
        </p:grpSpPr>
        <p:sp>
          <p:nvSpPr>
            <p:cNvPr id="9" name="AutoShape 3"/>
            <p:cNvSpPr>
              <a:spLocks noChangeAspect="1" noChangeArrowheads="1" noTextEdit="1"/>
            </p:cNvSpPr>
            <p:nvPr userDrawn="1"/>
          </p:nvSpPr>
          <p:spPr bwMode="auto">
            <a:xfrm>
              <a:off x="3690" y="2372"/>
              <a:ext cx="1209" cy="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0" name="Freeform 5"/>
            <p:cNvSpPr>
              <a:spLocks noEditPoints="1"/>
            </p:cNvSpPr>
            <p:nvPr userDrawn="1"/>
          </p:nvSpPr>
          <p:spPr bwMode="auto">
            <a:xfrm>
              <a:off x="3690" y="2372"/>
              <a:ext cx="1209" cy="1209"/>
            </a:xfrm>
            <a:custGeom>
              <a:avLst/>
              <a:gdLst>
                <a:gd name="T0" fmla="*/ 1331 w 2662"/>
                <a:gd name="T1" fmla="*/ 2485 h 2661"/>
                <a:gd name="T2" fmla="*/ 177 w 2662"/>
                <a:gd name="T3" fmla="*/ 1330 h 2661"/>
                <a:gd name="T4" fmla="*/ 1331 w 2662"/>
                <a:gd name="T5" fmla="*/ 176 h 2661"/>
                <a:gd name="T6" fmla="*/ 2485 w 2662"/>
                <a:gd name="T7" fmla="*/ 1330 h 2661"/>
                <a:gd name="T8" fmla="*/ 1331 w 2662"/>
                <a:gd name="T9" fmla="*/ 2485 h 2661"/>
                <a:gd name="T10" fmla="*/ 1331 w 2662"/>
                <a:gd name="T11" fmla="*/ 0 h 2661"/>
                <a:gd name="T12" fmla="*/ 0 w 2662"/>
                <a:gd name="T13" fmla="*/ 1330 h 2661"/>
                <a:gd name="T14" fmla="*/ 1331 w 2662"/>
                <a:gd name="T15" fmla="*/ 2661 h 2661"/>
                <a:gd name="T16" fmla="*/ 2662 w 2662"/>
                <a:gd name="T17" fmla="*/ 1330 h 2661"/>
                <a:gd name="T18" fmla="*/ 1331 w 2662"/>
                <a:gd name="T19" fmla="*/ 0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2" h="2661">
                  <a:moveTo>
                    <a:pt x="1331" y="2485"/>
                  </a:moveTo>
                  <a:cubicBezTo>
                    <a:pt x="695" y="2485"/>
                    <a:pt x="177" y="1967"/>
                    <a:pt x="177" y="1330"/>
                  </a:cubicBezTo>
                  <a:cubicBezTo>
                    <a:pt x="177" y="694"/>
                    <a:pt x="695" y="176"/>
                    <a:pt x="1331" y="176"/>
                  </a:cubicBezTo>
                  <a:cubicBezTo>
                    <a:pt x="1968" y="176"/>
                    <a:pt x="2485" y="694"/>
                    <a:pt x="2485" y="1330"/>
                  </a:cubicBezTo>
                  <a:cubicBezTo>
                    <a:pt x="2485" y="1967"/>
                    <a:pt x="1968" y="2485"/>
                    <a:pt x="1331" y="2485"/>
                  </a:cubicBezTo>
                  <a:moveTo>
                    <a:pt x="1331" y="0"/>
                  </a:moveTo>
                  <a:cubicBezTo>
                    <a:pt x="597" y="0"/>
                    <a:pt x="0" y="597"/>
                    <a:pt x="0" y="1330"/>
                  </a:cubicBezTo>
                  <a:cubicBezTo>
                    <a:pt x="0" y="2064"/>
                    <a:pt x="597" y="2661"/>
                    <a:pt x="1331" y="2661"/>
                  </a:cubicBezTo>
                  <a:cubicBezTo>
                    <a:pt x="2065" y="2661"/>
                    <a:pt x="2662" y="2064"/>
                    <a:pt x="2662" y="1330"/>
                  </a:cubicBezTo>
                  <a:cubicBezTo>
                    <a:pt x="2662" y="597"/>
                    <a:pt x="2065" y="0"/>
                    <a:pt x="1331"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1" name="Freeform 6"/>
            <p:cNvSpPr>
              <a:spLocks noEditPoints="1"/>
            </p:cNvSpPr>
            <p:nvPr userDrawn="1"/>
          </p:nvSpPr>
          <p:spPr bwMode="auto">
            <a:xfrm>
              <a:off x="3921" y="3124"/>
              <a:ext cx="760" cy="133"/>
            </a:xfrm>
            <a:custGeom>
              <a:avLst/>
              <a:gdLst>
                <a:gd name="T0" fmla="*/ 61 w 1673"/>
                <a:gd name="T1" fmla="*/ 58 h 292"/>
                <a:gd name="T2" fmla="*/ 185 w 1673"/>
                <a:gd name="T3" fmla="*/ 150 h 292"/>
                <a:gd name="T4" fmla="*/ 61 w 1673"/>
                <a:gd name="T5" fmla="*/ 234 h 292"/>
                <a:gd name="T6" fmla="*/ 0 w 1673"/>
                <a:gd name="T7" fmla="*/ 7 h 292"/>
                <a:gd name="T8" fmla="*/ 120 w 1673"/>
                <a:gd name="T9" fmla="*/ 285 h 292"/>
                <a:gd name="T10" fmla="*/ 120 w 1673"/>
                <a:gd name="T11" fmla="*/ 7 h 292"/>
                <a:gd name="T12" fmla="*/ 289 w 1673"/>
                <a:gd name="T13" fmla="*/ 7 h 292"/>
                <a:gd name="T14" fmla="*/ 500 w 1673"/>
                <a:gd name="T15" fmla="*/ 285 h 292"/>
                <a:gd name="T16" fmla="*/ 350 w 1673"/>
                <a:gd name="T17" fmla="*/ 234 h 292"/>
                <a:gd name="T18" fmla="*/ 485 w 1673"/>
                <a:gd name="T19" fmla="*/ 166 h 292"/>
                <a:gd name="T20" fmla="*/ 350 w 1673"/>
                <a:gd name="T21" fmla="*/ 118 h 292"/>
                <a:gd name="T22" fmla="*/ 497 w 1673"/>
                <a:gd name="T23" fmla="*/ 58 h 292"/>
                <a:gd name="T24" fmla="*/ 1000 w 1673"/>
                <a:gd name="T25" fmla="*/ 7 h 292"/>
                <a:gd name="T26" fmla="*/ 772 w 1673"/>
                <a:gd name="T27" fmla="*/ 58 h 292"/>
                <a:gd name="T28" fmla="*/ 856 w 1673"/>
                <a:gd name="T29" fmla="*/ 285 h 292"/>
                <a:gd name="T30" fmla="*/ 917 w 1673"/>
                <a:gd name="T31" fmla="*/ 58 h 292"/>
                <a:gd name="T32" fmla="*/ 1000 w 1673"/>
                <a:gd name="T33" fmla="*/ 7 h 292"/>
                <a:gd name="T34" fmla="*/ 1032 w 1673"/>
                <a:gd name="T35" fmla="*/ 7 h 292"/>
                <a:gd name="T36" fmla="*/ 1094 w 1673"/>
                <a:gd name="T37" fmla="*/ 285 h 292"/>
                <a:gd name="T38" fmla="*/ 1382 w 1673"/>
                <a:gd name="T39" fmla="*/ 7 h 292"/>
                <a:gd name="T40" fmla="*/ 1325 w 1673"/>
                <a:gd name="T41" fmla="*/ 194 h 292"/>
                <a:gd name="T42" fmla="*/ 1208 w 1673"/>
                <a:gd name="T43" fmla="*/ 7 h 292"/>
                <a:gd name="T44" fmla="*/ 1147 w 1673"/>
                <a:gd name="T45" fmla="*/ 285 h 292"/>
                <a:gd name="T46" fmla="*/ 1205 w 1673"/>
                <a:gd name="T47" fmla="*/ 99 h 292"/>
                <a:gd name="T48" fmla="*/ 1321 w 1673"/>
                <a:gd name="T49" fmla="*/ 285 h 292"/>
                <a:gd name="T50" fmla="*/ 1382 w 1673"/>
                <a:gd name="T51" fmla="*/ 7 h 292"/>
                <a:gd name="T52" fmla="*/ 1605 w 1673"/>
                <a:gd name="T53" fmla="*/ 7 h 292"/>
                <a:gd name="T54" fmla="*/ 1475 w 1673"/>
                <a:gd name="T55" fmla="*/ 7 h 292"/>
                <a:gd name="T56" fmla="*/ 1508 w 1673"/>
                <a:gd name="T57" fmla="*/ 177 h 292"/>
                <a:gd name="T58" fmla="*/ 1570 w 1673"/>
                <a:gd name="T59" fmla="*/ 285 h 292"/>
                <a:gd name="T60" fmla="*/ 1673 w 1673"/>
                <a:gd name="T61" fmla="*/ 7 h 292"/>
                <a:gd name="T62" fmla="*/ 533 w 1673"/>
                <a:gd name="T63" fmla="*/ 84 h 292"/>
                <a:gd name="T64" fmla="*/ 699 w 1673"/>
                <a:gd name="T65" fmla="*/ 210 h 292"/>
                <a:gd name="T66" fmla="*/ 583 w 1673"/>
                <a:gd name="T67" fmla="*/ 193 h 292"/>
                <a:gd name="T68" fmla="*/ 642 w 1673"/>
                <a:gd name="T69" fmla="*/ 292 h 292"/>
                <a:gd name="T70" fmla="*/ 675 w 1673"/>
                <a:gd name="T71" fmla="*/ 122 h 292"/>
                <a:gd name="T72" fmla="*/ 634 w 1673"/>
                <a:gd name="T73" fmla="*/ 48 h 292"/>
                <a:gd name="T74" fmla="*/ 749 w 1673"/>
                <a:gd name="T75"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3" h="292">
                  <a:moveTo>
                    <a:pt x="61" y="234"/>
                  </a:moveTo>
                  <a:cubicBezTo>
                    <a:pt x="61" y="58"/>
                    <a:pt x="61" y="58"/>
                    <a:pt x="61" y="58"/>
                  </a:cubicBezTo>
                  <a:cubicBezTo>
                    <a:pt x="105" y="58"/>
                    <a:pt x="105" y="58"/>
                    <a:pt x="105" y="58"/>
                  </a:cubicBezTo>
                  <a:cubicBezTo>
                    <a:pt x="166" y="58"/>
                    <a:pt x="185" y="94"/>
                    <a:pt x="185" y="150"/>
                  </a:cubicBezTo>
                  <a:cubicBezTo>
                    <a:pt x="185" y="212"/>
                    <a:pt x="151" y="234"/>
                    <a:pt x="116" y="234"/>
                  </a:cubicBezTo>
                  <a:cubicBezTo>
                    <a:pt x="61" y="234"/>
                    <a:pt x="61" y="234"/>
                    <a:pt x="61" y="234"/>
                  </a:cubicBezTo>
                  <a:moveTo>
                    <a:pt x="120" y="7"/>
                  </a:moveTo>
                  <a:cubicBezTo>
                    <a:pt x="0" y="7"/>
                    <a:pt x="0" y="7"/>
                    <a:pt x="0" y="7"/>
                  </a:cubicBezTo>
                  <a:cubicBezTo>
                    <a:pt x="0" y="285"/>
                    <a:pt x="0" y="285"/>
                    <a:pt x="0" y="285"/>
                  </a:cubicBezTo>
                  <a:cubicBezTo>
                    <a:pt x="120" y="285"/>
                    <a:pt x="120" y="285"/>
                    <a:pt x="120" y="285"/>
                  </a:cubicBezTo>
                  <a:cubicBezTo>
                    <a:pt x="205" y="285"/>
                    <a:pt x="246" y="225"/>
                    <a:pt x="246" y="145"/>
                  </a:cubicBezTo>
                  <a:cubicBezTo>
                    <a:pt x="246" y="52"/>
                    <a:pt x="192" y="7"/>
                    <a:pt x="120" y="7"/>
                  </a:cubicBezTo>
                  <a:moveTo>
                    <a:pt x="497" y="7"/>
                  </a:moveTo>
                  <a:cubicBezTo>
                    <a:pt x="289" y="7"/>
                    <a:pt x="289" y="7"/>
                    <a:pt x="289" y="7"/>
                  </a:cubicBezTo>
                  <a:cubicBezTo>
                    <a:pt x="289" y="285"/>
                    <a:pt x="289" y="285"/>
                    <a:pt x="289" y="285"/>
                  </a:cubicBezTo>
                  <a:cubicBezTo>
                    <a:pt x="500" y="285"/>
                    <a:pt x="500" y="285"/>
                    <a:pt x="500" y="285"/>
                  </a:cubicBezTo>
                  <a:cubicBezTo>
                    <a:pt x="500" y="234"/>
                    <a:pt x="500" y="234"/>
                    <a:pt x="500" y="234"/>
                  </a:cubicBezTo>
                  <a:cubicBezTo>
                    <a:pt x="350" y="234"/>
                    <a:pt x="350" y="234"/>
                    <a:pt x="350" y="234"/>
                  </a:cubicBezTo>
                  <a:cubicBezTo>
                    <a:pt x="350" y="166"/>
                    <a:pt x="350" y="166"/>
                    <a:pt x="350" y="166"/>
                  </a:cubicBezTo>
                  <a:cubicBezTo>
                    <a:pt x="485" y="166"/>
                    <a:pt x="485" y="166"/>
                    <a:pt x="485" y="166"/>
                  </a:cubicBezTo>
                  <a:cubicBezTo>
                    <a:pt x="485" y="118"/>
                    <a:pt x="485" y="118"/>
                    <a:pt x="485" y="118"/>
                  </a:cubicBezTo>
                  <a:cubicBezTo>
                    <a:pt x="350" y="118"/>
                    <a:pt x="350" y="118"/>
                    <a:pt x="350" y="118"/>
                  </a:cubicBezTo>
                  <a:cubicBezTo>
                    <a:pt x="350" y="58"/>
                    <a:pt x="350" y="58"/>
                    <a:pt x="350" y="58"/>
                  </a:cubicBezTo>
                  <a:cubicBezTo>
                    <a:pt x="497" y="58"/>
                    <a:pt x="497" y="58"/>
                    <a:pt x="497" y="58"/>
                  </a:cubicBezTo>
                  <a:cubicBezTo>
                    <a:pt x="497" y="7"/>
                    <a:pt x="497" y="7"/>
                    <a:pt x="497" y="7"/>
                  </a:cubicBezTo>
                  <a:moveTo>
                    <a:pt x="1000" y="7"/>
                  </a:moveTo>
                  <a:cubicBezTo>
                    <a:pt x="772" y="7"/>
                    <a:pt x="772" y="7"/>
                    <a:pt x="772" y="7"/>
                  </a:cubicBezTo>
                  <a:cubicBezTo>
                    <a:pt x="772" y="58"/>
                    <a:pt x="772" y="58"/>
                    <a:pt x="772" y="58"/>
                  </a:cubicBezTo>
                  <a:cubicBezTo>
                    <a:pt x="856" y="58"/>
                    <a:pt x="856" y="58"/>
                    <a:pt x="856" y="58"/>
                  </a:cubicBezTo>
                  <a:cubicBezTo>
                    <a:pt x="856" y="285"/>
                    <a:pt x="856" y="285"/>
                    <a:pt x="856" y="285"/>
                  </a:cubicBezTo>
                  <a:cubicBezTo>
                    <a:pt x="917" y="285"/>
                    <a:pt x="917" y="285"/>
                    <a:pt x="917" y="285"/>
                  </a:cubicBezTo>
                  <a:cubicBezTo>
                    <a:pt x="917" y="58"/>
                    <a:pt x="917" y="58"/>
                    <a:pt x="917" y="58"/>
                  </a:cubicBezTo>
                  <a:cubicBezTo>
                    <a:pt x="1000" y="58"/>
                    <a:pt x="1000" y="58"/>
                    <a:pt x="1000" y="58"/>
                  </a:cubicBezTo>
                  <a:cubicBezTo>
                    <a:pt x="1000" y="7"/>
                    <a:pt x="1000" y="7"/>
                    <a:pt x="1000" y="7"/>
                  </a:cubicBezTo>
                  <a:moveTo>
                    <a:pt x="1094" y="7"/>
                  </a:moveTo>
                  <a:cubicBezTo>
                    <a:pt x="1032" y="7"/>
                    <a:pt x="1032" y="7"/>
                    <a:pt x="1032" y="7"/>
                  </a:cubicBezTo>
                  <a:cubicBezTo>
                    <a:pt x="1032" y="285"/>
                    <a:pt x="1032" y="285"/>
                    <a:pt x="1032" y="285"/>
                  </a:cubicBezTo>
                  <a:cubicBezTo>
                    <a:pt x="1094" y="285"/>
                    <a:pt x="1094" y="285"/>
                    <a:pt x="1094" y="285"/>
                  </a:cubicBezTo>
                  <a:cubicBezTo>
                    <a:pt x="1094" y="7"/>
                    <a:pt x="1094" y="7"/>
                    <a:pt x="1094" y="7"/>
                  </a:cubicBezTo>
                  <a:moveTo>
                    <a:pt x="1382" y="7"/>
                  </a:moveTo>
                  <a:cubicBezTo>
                    <a:pt x="1325" y="7"/>
                    <a:pt x="1325" y="7"/>
                    <a:pt x="1325" y="7"/>
                  </a:cubicBezTo>
                  <a:cubicBezTo>
                    <a:pt x="1325" y="194"/>
                    <a:pt x="1325" y="194"/>
                    <a:pt x="1325" y="194"/>
                  </a:cubicBezTo>
                  <a:cubicBezTo>
                    <a:pt x="1324" y="194"/>
                    <a:pt x="1324" y="194"/>
                    <a:pt x="1324" y="194"/>
                  </a:cubicBezTo>
                  <a:cubicBezTo>
                    <a:pt x="1208" y="7"/>
                    <a:pt x="1208" y="7"/>
                    <a:pt x="1208" y="7"/>
                  </a:cubicBezTo>
                  <a:cubicBezTo>
                    <a:pt x="1147" y="7"/>
                    <a:pt x="1147" y="7"/>
                    <a:pt x="1147" y="7"/>
                  </a:cubicBezTo>
                  <a:cubicBezTo>
                    <a:pt x="1147" y="285"/>
                    <a:pt x="1147" y="285"/>
                    <a:pt x="1147" y="285"/>
                  </a:cubicBezTo>
                  <a:cubicBezTo>
                    <a:pt x="1205" y="285"/>
                    <a:pt x="1205" y="285"/>
                    <a:pt x="1205" y="285"/>
                  </a:cubicBezTo>
                  <a:cubicBezTo>
                    <a:pt x="1205" y="99"/>
                    <a:pt x="1205" y="99"/>
                    <a:pt x="1205" y="99"/>
                  </a:cubicBezTo>
                  <a:cubicBezTo>
                    <a:pt x="1205" y="99"/>
                    <a:pt x="1205" y="99"/>
                    <a:pt x="1205" y="99"/>
                  </a:cubicBezTo>
                  <a:cubicBezTo>
                    <a:pt x="1321" y="285"/>
                    <a:pt x="1321" y="285"/>
                    <a:pt x="1321" y="285"/>
                  </a:cubicBezTo>
                  <a:cubicBezTo>
                    <a:pt x="1382" y="285"/>
                    <a:pt x="1382" y="285"/>
                    <a:pt x="1382" y="285"/>
                  </a:cubicBezTo>
                  <a:cubicBezTo>
                    <a:pt x="1382" y="7"/>
                    <a:pt x="1382" y="7"/>
                    <a:pt x="1382" y="7"/>
                  </a:cubicBezTo>
                  <a:moveTo>
                    <a:pt x="1673" y="7"/>
                  </a:moveTo>
                  <a:cubicBezTo>
                    <a:pt x="1605" y="7"/>
                    <a:pt x="1605" y="7"/>
                    <a:pt x="1605" y="7"/>
                  </a:cubicBezTo>
                  <a:cubicBezTo>
                    <a:pt x="1540" y="117"/>
                    <a:pt x="1540" y="117"/>
                    <a:pt x="1540" y="117"/>
                  </a:cubicBezTo>
                  <a:cubicBezTo>
                    <a:pt x="1475" y="7"/>
                    <a:pt x="1475" y="7"/>
                    <a:pt x="1475" y="7"/>
                  </a:cubicBezTo>
                  <a:cubicBezTo>
                    <a:pt x="1406" y="7"/>
                    <a:pt x="1406" y="7"/>
                    <a:pt x="1406" y="7"/>
                  </a:cubicBezTo>
                  <a:cubicBezTo>
                    <a:pt x="1508" y="177"/>
                    <a:pt x="1508" y="177"/>
                    <a:pt x="1508" y="177"/>
                  </a:cubicBezTo>
                  <a:cubicBezTo>
                    <a:pt x="1508" y="285"/>
                    <a:pt x="1508" y="285"/>
                    <a:pt x="1508" y="285"/>
                  </a:cubicBezTo>
                  <a:cubicBezTo>
                    <a:pt x="1570" y="285"/>
                    <a:pt x="1570" y="285"/>
                    <a:pt x="1570" y="285"/>
                  </a:cubicBezTo>
                  <a:cubicBezTo>
                    <a:pt x="1570" y="178"/>
                    <a:pt x="1570" y="178"/>
                    <a:pt x="1570" y="178"/>
                  </a:cubicBezTo>
                  <a:cubicBezTo>
                    <a:pt x="1673" y="7"/>
                    <a:pt x="1673" y="7"/>
                    <a:pt x="1673" y="7"/>
                  </a:cubicBezTo>
                  <a:moveTo>
                    <a:pt x="637" y="0"/>
                  </a:moveTo>
                  <a:cubicBezTo>
                    <a:pt x="587" y="0"/>
                    <a:pt x="533" y="28"/>
                    <a:pt x="533" y="84"/>
                  </a:cubicBezTo>
                  <a:cubicBezTo>
                    <a:pt x="533" y="137"/>
                    <a:pt x="575" y="153"/>
                    <a:pt x="616" y="164"/>
                  </a:cubicBezTo>
                  <a:cubicBezTo>
                    <a:pt x="657" y="175"/>
                    <a:pt x="699" y="180"/>
                    <a:pt x="699" y="210"/>
                  </a:cubicBezTo>
                  <a:cubicBezTo>
                    <a:pt x="699" y="238"/>
                    <a:pt x="666" y="244"/>
                    <a:pt x="645" y="244"/>
                  </a:cubicBezTo>
                  <a:cubicBezTo>
                    <a:pt x="612" y="244"/>
                    <a:pt x="583" y="230"/>
                    <a:pt x="583" y="193"/>
                  </a:cubicBezTo>
                  <a:cubicBezTo>
                    <a:pt x="524" y="193"/>
                    <a:pt x="524" y="193"/>
                    <a:pt x="524" y="193"/>
                  </a:cubicBezTo>
                  <a:cubicBezTo>
                    <a:pt x="523" y="261"/>
                    <a:pt x="581" y="292"/>
                    <a:pt x="642" y="292"/>
                  </a:cubicBezTo>
                  <a:cubicBezTo>
                    <a:pt x="718" y="292"/>
                    <a:pt x="758" y="254"/>
                    <a:pt x="758" y="203"/>
                  </a:cubicBezTo>
                  <a:cubicBezTo>
                    <a:pt x="758" y="139"/>
                    <a:pt x="696" y="127"/>
                    <a:pt x="675" y="122"/>
                  </a:cubicBezTo>
                  <a:cubicBezTo>
                    <a:pt x="606" y="104"/>
                    <a:pt x="592" y="101"/>
                    <a:pt x="592" y="79"/>
                  </a:cubicBezTo>
                  <a:cubicBezTo>
                    <a:pt x="592" y="56"/>
                    <a:pt x="615" y="48"/>
                    <a:pt x="634" y="48"/>
                  </a:cubicBezTo>
                  <a:cubicBezTo>
                    <a:pt x="664" y="48"/>
                    <a:pt x="687" y="56"/>
                    <a:pt x="689" y="90"/>
                  </a:cubicBezTo>
                  <a:cubicBezTo>
                    <a:pt x="749" y="90"/>
                    <a:pt x="749" y="90"/>
                    <a:pt x="749" y="90"/>
                  </a:cubicBezTo>
                  <a:cubicBezTo>
                    <a:pt x="749" y="26"/>
                    <a:pt x="695" y="0"/>
                    <a:pt x="637"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2" name="Freeform 7"/>
            <p:cNvSpPr>
              <a:spLocks noEditPoints="1"/>
            </p:cNvSpPr>
            <p:nvPr userDrawn="1"/>
          </p:nvSpPr>
          <p:spPr bwMode="auto">
            <a:xfrm>
              <a:off x="4074" y="2683"/>
              <a:ext cx="435" cy="132"/>
            </a:xfrm>
            <a:custGeom>
              <a:avLst/>
              <a:gdLst>
                <a:gd name="T0" fmla="*/ 675 w 958"/>
                <a:gd name="T1" fmla="*/ 6 h 291"/>
                <a:gd name="T2" fmla="*/ 615 w 958"/>
                <a:gd name="T3" fmla="*/ 6 h 291"/>
                <a:gd name="T4" fmla="*/ 570 w 958"/>
                <a:gd name="T5" fmla="*/ 198 h 291"/>
                <a:gd name="T6" fmla="*/ 569 w 958"/>
                <a:gd name="T7" fmla="*/ 198 h 291"/>
                <a:gd name="T8" fmla="*/ 521 w 958"/>
                <a:gd name="T9" fmla="*/ 6 h 291"/>
                <a:gd name="T10" fmla="*/ 464 w 958"/>
                <a:gd name="T11" fmla="*/ 6 h 291"/>
                <a:gd name="T12" fmla="*/ 416 w 958"/>
                <a:gd name="T13" fmla="*/ 196 h 291"/>
                <a:gd name="T14" fmla="*/ 415 w 958"/>
                <a:gd name="T15" fmla="*/ 196 h 291"/>
                <a:gd name="T16" fmla="*/ 371 w 958"/>
                <a:gd name="T17" fmla="*/ 6 h 291"/>
                <a:gd name="T18" fmla="*/ 310 w 958"/>
                <a:gd name="T19" fmla="*/ 6 h 291"/>
                <a:gd name="T20" fmla="*/ 383 w 958"/>
                <a:gd name="T21" fmla="*/ 285 h 291"/>
                <a:gd name="T22" fmla="*/ 445 w 958"/>
                <a:gd name="T23" fmla="*/ 285 h 291"/>
                <a:gd name="T24" fmla="*/ 492 w 958"/>
                <a:gd name="T25" fmla="*/ 95 h 291"/>
                <a:gd name="T26" fmla="*/ 492 w 958"/>
                <a:gd name="T27" fmla="*/ 95 h 291"/>
                <a:gd name="T28" fmla="*/ 540 w 958"/>
                <a:gd name="T29" fmla="*/ 285 h 291"/>
                <a:gd name="T30" fmla="*/ 600 w 958"/>
                <a:gd name="T31" fmla="*/ 285 h 291"/>
                <a:gd name="T32" fmla="*/ 675 w 958"/>
                <a:gd name="T33" fmla="*/ 6 h 291"/>
                <a:gd name="T34" fmla="*/ 958 w 958"/>
                <a:gd name="T35" fmla="*/ 6 h 291"/>
                <a:gd name="T36" fmla="*/ 900 w 958"/>
                <a:gd name="T37" fmla="*/ 6 h 291"/>
                <a:gd name="T38" fmla="*/ 900 w 958"/>
                <a:gd name="T39" fmla="*/ 193 h 291"/>
                <a:gd name="T40" fmla="*/ 900 w 958"/>
                <a:gd name="T41" fmla="*/ 193 h 291"/>
                <a:gd name="T42" fmla="*/ 784 w 958"/>
                <a:gd name="T43" fmla="*/ 6 h 291"/>
                <a:gd name="T44" fmla="*/ 723 w 958"/>
                <a:gd name="T45" fmla="*/ 6 h 291"/>
                <a:gd name="T46" fmla="*/ 723 w 958"/>
                <a:gd name="T47" fmla="*/ 285 h 291"/>
                <a:gd name="T48" fmla="*/ 780 w 958"/>
                <a:gd name="T49" fmla="*/ 285 h 291"/>
                <a:gd name="T50" fmla="*/ 780 w 958"/>
                <a:gd name="T51" fmla="*/ 98 h 291"/>
                <a:gd name="T52" fmla="*/ 781 w 958"/>
                <a:gd name="T53" fmla="*/ 98 h 291"/>
                <a:gd name="T54" fmla="*/ 897 w 958"/>
                <a:gd name="T55" fmla="*/ 285 h 291"/>
                <a:gd name="T56" fmla="*/ 958 w 958"/>
                <a:gd name="T57" fmla="*/ 285 h 291"/>
                <a:gd name="T58" fmla="*/ 958 w 958"/>
                <a:gd name="T59" fmla="*/ 6 h 291"/>
                <a:gd name="T60" fmla="*/ 137 w 958"/>
                <a:gd name="T61" fmla="*/ 240 h 291"/>
                <a:gd name="T62" fmla="*/ 62 w 958"/>
                <a:gd name="T63" fmla="*/ 147 h 291"/>
                <a:gd name="T64" fmla="*/ 137 w 958"/>
                <a:gd name="T65" fmla="*/ 51 h 291"/>
                <a:gd name="T66" fmla="*/ 213 w 958"/>
                <a:gd name="T67" fmla="*/ 147 h 291"/>
                <a:gd name="T68" fmla="*/ 137 w 958"/>
                <a:gd name="T69" fmla="*/ 240 h 291"/>
                <a:gd name="T70" fmla="*/ 137 w 958"/>
                <a:gd name="T71" fmla="*/ 0 h 291"/>
                <a:gd name="T72" fmla="*/ 0 w 958"/>
                <a:gd name="T73" fmla="*/ 147 h 291"/>
                <a:gd name="T74" fmla="*/ 137 w 958"/>
                <a:gd name="T75" fmla="*/ 291 h 291"/>
                <a:gd name="T76" fmla="*/ 274 w 958"/>
                <a:gd name="T77" fmla="*/ 147 h 291"/>
                <a:gd name="T78" fmla="*/ 137 w 958"/>
                <a:gd name="T7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8" h="291">
                  <a:moveTo>
                    <a:pt x="675" y="6"/>
                  </a:moveTo>
                  <a:cubicBezTo>
                    <a:pt x="615" y="6"/>
                    <a:pt x="615" y="6"/>
                    <a:pt x="615" y="6"/>
                  </a:cubicBezTo>
                  <a:cubicBezTo>
                    <a:pt x="570" y="198"/>
                    <a:pt x="570" y="198"/>
                    <a:pt x="570" y="198"/>
                  </a:cubicBezTo>
                  <a:cubicBezTo>
                    <a:pt x="569" y="198"/>
                    <a:pt x="569" y="198"/>
                    <a:pt x="569" y="198"/>
                  </a:cubicBezTo>
                  <a:cubicBezTo>
                    <a:pt x="521" y="6"/>
                    <a:pt x="521" y="6"/>
                    <a:pt x="521" y="6"/>
                  </a:cubicBezTo>
                  <a:cubicBezTo>
                    <a:pt x="464" y="6"/>
                    <a:pt x="464" y="6"/>
                    <a:pt x="464" y="6"/>
                  </a:cubicBezTo>
                  <a:cubicBezTo>
                    <a:pt x="416" y="196"/>
                    <a:pt x="416" y="196"/>
                    <a:pt x="416" y="196"/>
                  </a:cubicBezTo>
                  <a:cubicBezTo>
                    <a:pt x="415" y="196"/>
                    <a:pt x="415" y="196"/>
                    <a:pt x="415" y="196"/>
                  </a:cubicBezTo>
                  <a:cubicBezTo>
                    <a:pt x="371" y="6"/>
                    <a:pt x="371" y="6"/>
                    <a:pt x="371" y="6"/>
                  </a:cubicBezTo>
                  <a:cubicBezTo>
                    <a:pt x="310" y="6"/>
                    <a:pt x="310" y="6"/>
                    <a:pt x="310" y="6"/>
                  </a:cubicBezTo>
                  <a:cubicBezTo>
                    <a:pt x="383" y="285"/>
                    <a:pt x="383" y="285"/>
                    <a:pt x="383" y="285"/>
                  </a:cubicBezTo>
                  <a:cubicBezTo>
                    <a:pt x="445" y="285"/>
                    <a:pt x="445" y="285"/>
                    <a:pt x="445" y="285"/>
                  </a:cubicBezTo>
                  <a:cubicBezTo>
                    <a:pt x="492" y="95"/>
                    <a:pt x="492" y="95"/>
                    <a:pt x="492" y="95"/>
                  </a:cubicBezTo>
                  <a:cubicBezTo>
                    <a:pt x="492" y="95"/>
                    <a:pt x="492" y="95"/>
                    <a:pt x="492" y="95"/>
                  </a:cubicBezTo>
                  <a:cubicBezTo>
                    <a:pt x="540" y="285"/>
                    <a:pt x="540" y="285"/>
                    <a:pt x="540" y="285"/>
                  </a:cubicBezTo>
                  <a:cubicBezTo>
                    <a:pt x="600" y="285"/>
                    <a:pt x="600" y="285"/>
                    <a:pt x="600" y="285"/>
                  </a:cubicBezTo>
                  <a:cubicBezTo>
                    <a:pt x="675" y="6"/>
                    <a:pt x="675" y="6"/>
                    <a:pt x="675" y="6"/>
                  </a:cubicBezTo>
                  <a:moveTo>
                    <a:pt x="958" y="6"/>
                  </a:moveTo>
                  <a:cubicBezTo>
                    <a:pt x="900" y="6"/>
                    <a:pt x="900" y="6"/>
                    <a:pt x="900" y="6"/>
                  </a:cubicBezTo>
                  <a:cubicBezTo>
                    <a:pt x="900" y="193"/>
                    <a:pt x="900" y="193"/>
                    <a:pt x="900" y="193"/>
                  </a:cubicBezTo>
                  <a:cubicBezTo>
                    <a:pt x="900" y="193"/>
                    <a:pt x="900" y="193"/>
                    <a:pt x="900" y="193"/>
                  </a:cubicBezTo>
                  <a:cubicBezTo>
                    <a:pt x="784" y="6"/>
                    <a:pt x="784" y="6"/>
                    <a:pt x="784" y="6"/>
                  </a:cubicBezTo>
                  <a:cubicBezTo>
                    <a:pt x="723" y="6"/>
                    <a:pt x="723" y="6"/>
                    <a:pt x="723" y="6"/>
                  </a:cubicBezTo>
                  <a:cubicBezTo>
                    <a:pt x="723" y="285"/>
                    <a:pt x="723" y="285"/>
                    <a:pt x="723" y="285"/>
                  </a:cubicBezTo>
                  <a:cubicBezTo>
                    <a:pt x="780" y="285"/>
                    <a:pt x="780" y="285"/>
                    <a:pt x="780" y="285"/>
                  </a:cubicBezTo>
                  <a:cubicBezTo>
                    <a:pt x="780" y="98"/>
                    <a:pt x="780" y="98"/>
                    <a:pt x="780" y="98"/>
                  </a:cubicBezTo>
                  <a:cubicBezTo>
                    <a:pt x="781" y="98"/>
                    <a:pt x="781" y="98"/>
                    <a:pt x="781" y="98"/>
                  </a:cubicBezTo>
                  <a:cubicBezTo>
                    <a:pt x="897" y="285"/>
                    <a:pt x="897" y="285"/>
                    <a:pt x="897" y="285"/>
                  </a:cubicBezTo>
                  <a:cubicBezTo>
                    <a:pt x="958" y="285"/>
                    <a:pt x="958" y="285"/>
                    <a:pt x="958" y="285"/>
                  </a:cubicBezTo>
                  <a:cubicBezTo>
                    <a:pt x="958" y="6"/>
                    <a:pt x="958" y="6"/>
                    <a:pt x="958" y="6"/>
                  </a:cubicBezTo>
                  <a:moveTo>
                    <a:pt x="137" y="240"/>
                  </a:moveTo>
                  <a:cubicBezTo>
                    <a:pt x="82" y="240"/>
                    <a:pt x="62" y="193"/>
                    <a:pt x="62" y="147"/>
                  </a:cubicBezTo>
                  <a:cubicBezTo>
                    <a:pt x="62" y="98"/>
                    <a:pt x="82" y="51"/>
                    <a:pt x="137" y="51"/>
                  </a:cubicBezTo>
                  <a:cubicBezTo>
                    <a:pt x="192" y="51"/>
                    <a:pt x="213" y="98"/>
                    <a:pt x="213" y="147"/>
                  </a:cubicBezTo>
                  <a:cubicBezTo>
                    <a:pt x="213" y="193"/>
                    <a:pt x="192" y="240"/>
                    <a:pt x="137" y="240"/>
                  </a:cubicBezTo>
                  <a:moveTo>
                    <a:pt x="137" y="0"/>
                  </a:moveTo>
                  <a:cubicBezTo>
                    <a:pt x="51" y="0"/>
                    <a:pt x="0" y="64"/>
                    <a:pt x="0" y="147"/>
                  </a:cubicBezTo>
                  <a:cubicBezTo>
                    <a:pt x="0" y="227"/>
                    <a:pt x="51" y="291"/>
                    <a:pt x="137" y="291"/>
                  </a:cubicBezTo>
                  <a:cubicBezTo>
                    <a:pt x="223" y="291"/>
                    <a:pt x="274" y="227"/>
                    <a:pt x="274" y="147"/>
                  </a:cubicBezTo>
                  <a:cubicBezTo>
                    <a:pt x="274" y="64"/>
                    <a:pt x="223" y="0"/>
                    <a:pt x="137"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3" name="Freeform 8"/>
            <p:cNvSpPr>
              <a:spLocks noEditPoints="1"/>
            </p:cNvSpPr>
            <p:nvPr userDrawn="1"/>
          </p:nvSpPr>
          <p:spPr bwMode="auto">
            <a:xfrm>
              <a:off x="3879" y="2862"/>
              <a:ext cx="802" cy="208"/>
            </a:xfrm>
            <a:custGeom>
              <a:avLst/>
              <a:gdLst>
                <a:gd name="T0" fmla="*/ 420 w 1764"/>
                <a:gd name="T1" fmla="*/ 10 h 458"/>
                <a:gd name="T2" fmla="*/ 313 w 1764"/>
                <a:gd name="T3" fmla="*/ 10 h 458"/>
                <a:gd name="T4" fmla="*/ 211 w 1764"/>
                <a:gd name="T5" fmla="*/ 183 h 458"/>
                <a:gd name="T6" fmla="*/ 109 w 1764"/>
                <a:gd name="T7" fmla="*/ 10 h 458"/>
                <a:gd name="T8" fmla="*/ 0 w 1764"/>
                <a:gd name="T9" fmla="*/ 10 h 458"/>
                <a:gd name="T10" fmla="*/ 161 w 1764"/>
                <a:gd name="T11" fmla="*/ 277 h 458"/>
                <a:gd name="T12" fmla="*/ 161 w 1764"/>
                <a:gd name="T13" fmla="*/ 448 h 458"/>
                <a:gd name="T14" fmla="*/ 257 w 1764"/>
                <a:gd name="T15" fmla="*/ 448 h 458"/>
                <a:gd name="T16" fmla="*/ 257 w 1764"/>
                <a:gd name="T17" fmla="*/ 280 h 458"/>
                <a:gd name="T18" fmla="*/ 420 w 1764"/>
                <a:gd name="T19" fmla="*/ 10 h 458"/>
                <a:gd name="T20" fmla="*/ 1304 w 1764"/>
                <a:gd name="T21" fmla="*/ 10 h 458"/>
                <a:gd name="T22" fmla="*/ 1208 w 1764"/>
                <a:gd name="T23" fmla="*/ 10 h 458"/>
                <a:gd name="T24" fmla="*/ 1208 w 1764"/>
                <a:gd name="T25" fmla="*/ 282 h 458"/>
                <a:gd name="T26" fmla="*/ 1117 w 1764"/>
                <a:gd name="T27" fmla="*/ 377 h 458"/>
                <a:gd name="T28" fmla="*/ 1027 w 1764"/>
                <a:gd name="T29" fmla="*/ 282 h 458"/>
                <a:gd name="T30" fmla="*/ 1027 w 1764"/>
                <a:gd name="T31" fmla="*/ 10 h 458"/>
                <a:gd name="T32" fmla="*/ 931 w 1764"/>
                <a:gd name="T33" fmla="*/ 10 h 458"/>
                <a:gd name="T34" fmla="*/ 931 w 1764"/>
                <a:gd name="T35" fmla="*/ 282 h 458"/>
                <a:gd name="T36" fmla="*/ 1117 w 1764"/>
                <a:gd name="T37" fmla="*/ 458 h 458"/>
                <a:gd name="T38" fmla="*/ 1304 w 1764"/>
                <a:gd name="T39" fmla="*/ 282 h 458"/>
                <a:gd name="T40" fmla="*/ 1304 w 1764"/>
                <a:gd name="T41" fmla="*/ 10 h 458"/>
                <a:gd name="T42" fmla="*/ 1483 w 1764"/>
                <a:gd name="T43" fmla="*/ 208 h 458"/>
                <a:gd name="T44" fmla="*/ 1483 w 1764"/>
                <a:gd name="T45" fmla="*/ 85 h 458"/>
                <a:gd name="T46" fmla="*/ 1589 w 1764"/>
                <a:gd name="T47" fmla="*/ 85 h 458"/>
                <a:gd name="T48" fmla="*/ 1655 w 1764"/>
                <a:gd name="T49" fmla="*/ 146 h 458"/>
                <a:gd name="T50" fmla="*/ 1589 w 1764"/>
                <a:gd name="T51" fmla="*/ 208 h 458"/>
                <a:gd name="T52" fmla="*/ 1483 w 1764"/>
                <a:gd name="T53" fmla="*/ 208 h 458"/>
                <a:gd name="T54" fmla="*/ 1623 w 1764"/>
                <a:gd name="T55" fmla="*/ 10 h 458"/>
                <a:gd name="T56" fmla="*/ 1387 w 1764"/>
                <a:gd name="T57" fmla="*/ 10 h 458"/>
                <a:gd name="T58" fmla="*/ 1387 w 1764"/>
                <a:gd name="T59" fmla="*/ 448 h 458"/>
                <a:gd name="T60" fmla="*/ 1483 w 1764"/>
                <a:gd name="T61" fmla="*/ 448 h 458"/>
                <a:gd name="T62" fmla="*/ 1483 w 1764"/>
                <a:gd name="T63" fmla="*/ 277 h 458"/>
                <a:gd name="T64" fmla="*/ 1579 w 1764"/>
                <a:gd name="T65" fmla="*/ 277 h 458"/>
                <a:gd name="T66" fmla="*/ 1652 w 1764"/>
                <a:gd name="T67" fmla="*/ 343 h 458"/>
                <a:gd name="T68" fmla="*/ 1668 w 1764"/>
                <a:gd name="T69" fmla="*/ 448 h 458"/>
                <a:gd name="T70" fmla="*/ 1764 w 1764"/>
                <a:gd name="T71" fmla="*/ 448 h 458"/>
                <a:gd name="T72" fmla="*/ 1745 w 1764"/>
                <a:gd name="T73" fmla="*/ 344 h 458"/>
                <a:gd name="T74" fmla="*/ 1682 w 1764"/>
                <a:gd name="T75" fmla="*/ 242 h 458"/>
                <a:gd name="T76" fmla="*/ 1682 w 1764"/>
                <a:gd name="T77" fmla="*/ 241 h 458"/>
                <a:gd name="T78" fmla="*/ 1751 w 1764"/>
                <a:gd name="T79" fmla="*/ 131 h 458"/>
                <a:gd name="T80" fmla="*/ 1623 w 1764"/>
                <a:gd name="T81" fmla="*/ 10 h 458"/>
                <a:gd name="T82" fmla="*/ 653 w 1764"/>
                <a:gd name="T83" fmla="*/ 377 h 458"/>
                <a:gd name="T84" fmla="*/ 534 w 1764"/>
                <a:gd name="T85" fmla="*/ 231 h 458"/>
                <a:gd name="T86" fmla="*/ 653 w 1764"/>
                <a:gd name="T87" fmla="*/ 81 h 458"/>
                <a:gd name="T88" fmla="*/ 771 w 1764"/>
                <a:gd name="T89" fmla="*/ 231 h 458"/>
                <a:gd name="T90" fmla="*/ 653 w 1764"/>
                <a:gd name="T91" fmla="*/ 377 h 458"/>
                <a:gd name="T92" fmla="*/ 653 w 1764"/>
                <a:gd name="T93" fmla="*/ 0 h 458"/>
                <a:gd name="T94" fmla="*/ 438 w 1764"/>
                <a:gd name="T95" fmla="*/ 231 h 458"/>
                <a:gd name="T96" fmla="*/ 653 w 1764"/>
                <a:gd name="T97" fmla="*/ 458 h 458"/>
                <a:gd name="T98" fmla="*/ 868 w 1764"/>
                <a:gd name="T99" fmla="*/ 231 h 458"/>
                <a:gd name="T100" fmla="*/ 653 w 1764"/>
                <a:gd name="T101"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4" h="458">
                  <a:moveTo>
                    <a:pt x="420" y="10"/>
                  </a:moveTo>
                  <a:cubicBezTo>
                    <a:pt x="313" y="10"/>
                    <a:pt x="313" y="10"/>
                    <a:pt x="313" y="10"/>
                  </a:cubicBezTo>
                  <a:cubicBezTo>
                    <a:pt x="211" y="183"/>
                    <a:pt x="211" y="183"/>
                    <a:pt x="211" y="183"/>
                  </a:cubicBezTo>
                  <a:cubicBezTo>
                    <a:pt x="109" y="10"/>
                    <a:pt x="109" y="10"/>
                    <a:pt x="109" y="10"/>
                  </a:cubicBezTo>
                  <a:cubicBezTo>
                    <a:pt x="0" y="10"/>
                    <a:pt x="0" y="10"/>
                    <a:pt x="0" y="10"/>
                  </a:cubicBezTo>
                  <a:cubicBezTo>
                    <a:pt x="161" y="277"/>
                    <a:pt x="161" y="277"/>
                    <a:pt x="161" y="277"/>
                  </a:cubicBezTo>
                  <a:cubicBezTo>
                    <a:pt x="161" y="448"/>
                    <a:pt x="161" y="448"/>
                    <a:pt x="161" y="448"/>
                  </a:cubicBezTo>
                  <a:cubicBezTo>
                    <a:pt x="257" y="448"/>
                    <a:pt x="257" y="448"/>
                    <a:pt x="257" y="448"/>
                  </a:cubicBezTo>
                  <a:cubicBezTo>
                    <a:pt x="257" y="280"/>
                    <a:pt x="257" y="280"/>
                    <a:pt x="257" y="280"/>
                  </a:cubicBezTo>
                  <a:cubicBezTo>
                    <a:pt x="420" y="10"/>
                    <a:pt x="420" y="10"/>
                    <a:pt x="420" y="10"/>
                  </a:cubicBezTo>
                  <a:moveTo>
                    <a:pt x="1304" y="10"/>
                  </a:moveTo>
                  <a:cubicBezTo>
                    <a:pt x="1208" y="10"/>
                    <a:pt x="1208" y="10"/>
                    <a:pt x="1208" y="10"/>
                  </a:cubicBezTo>
                  <a:cubicBezTo>
                    <a:pt x="1208" y="282"/>
                    <a:pt x="1208" y="282"/>
                    <a:pt x="1208" y="282"/>
                  </a:cubicBezTo>
                  <a:cubicBezTo>
                    <a:pt x="1208" y="347"/>
                    <a:pt x="1186" y="377"/>
                    <a:pt x="1117" y="377"/>
                  </a:cubicBezTo>
                  <a:cubicBezTo>
                    <a:pt x="1040" y="377"/>
                    <a:pt x="1027" y="330"/>
                    <a:pt x="1027" y="282"/>
                  </a:cubicBezTo>
                  <a:cubicBezTo>
                    <a:pt x="1027" y="10"/>
                    <a:pt x="1027" y="10"/>
                    <a:pt x="1027" y="10"/>
                  </a:cubicBezTo>
                  <a:cubicBezTo>
                    <a:pt x="931" y="10"/>
                    <a:pt x="931" y="10"/>
                    <a:pt x="931" y="10"/>
                  </a:cubicBezTo>
                  <a:cubicBezTo>
                    <a:pt x="931" y="282"/>
                    <a:pt x="931" y="282"/>
                    <a:pt x="931" y="282"/>
                  </a:cubicBezTo>
                  <a:cubicBezTo>
                    <a:pt x="931" y="401"/>
                    <a:pt x="1000" y="458"/>
                    <a:pt x="1117" y="458"/>
                  </a:cubicBezTo>
                  <a:cubicBezTo>
                    <a:pt x="1234" y="458"/>
                    <a:pt x="1304" y="401"/>
                    <a:pt x="1304" y="282"/>
                  </a:cubicBezTo>
                  <a:cubicBezTo>
                    <a:pt x="1304" y="10"/>
                    <a:pt x="1304" y="10"/>
                    <a:pt x="1304" y="10"/>
                  </a:cubicBezTo>
                  <a:moveTo>
                    <a:pt x="1483" y="208"/>
                  </a:moveTo>
                  <a:cubicBezTo>
                    <a:pt x="1483" y="85"/>
                    <a:pt x="1483" y="85"/>
                    <a:pt x="1483" y="85"/>
                  </a:cubicBezTo>
                  <a:cubicBezTo>
                    <a:pt x="1589" y="85"/>
                    <a:pt x="1589" y="85"/>
                    <a:pt x="1589" y="85"/>
                  </a:cubicBezTo>
                  <a:cubicBezTo>
                    <a:pt x="1631" y="85"/>
                    <a:pt x="1655" y="103"/>
                    <a:pt x="1655" y="146"/>
                  </a:cubicBezTo>
                  <a:cubicBezTo>
                    <a:pt x="1655" y="190"/>
                    <a:pt x="1631" y="208"/>
                    <a:pt x="1589" y="208"/>
                  </a:cubicBezTo>
                  <a:cubicBezTo>
                    <a:pt x="1483" y="208"/>
                    <a:pt x="1483" y="208"/>
                    <a:pt x="1483" y="208"/>
                  </a:cubicBezTo>
                  <a:moveTo>
                    <a:pt x="1623" y="10"/>
                  </a:moveTo>
                  <a:cubicBezTo>
                    <a:pt x="1387" y="10"/>
                    <a:pt x="1387" y="10"/>
                    <a:pt x="1387" y="10"/>
                  </a:cubicBezTo>
                  <a:cubicBezTo>
                    <a:pt x="1387" y="448"/>
                    <a:pt x="1387" y="448"/>
                    <a:pt x="1387" y="448"/>
                  </a:cubicBezTo>
                  <a:cubicBezTo>
                    <a:pt x="1483" y="448"/>
                    <a:pt x="1483" y="448"/>
                    <a:pt x="1483" y="448"/>
                  </a:cubicBezTo>
                  <a:cubicBezTo>
                    <a:pt x="1483" y="277"/>
                    <a:pt x="1483" y="277"/>
                    <a:pt x="1483" y="277"/>
                  </a:cubicBezTo>
                  <a:cubicBezTo>
                    <a:pt x="1579" y="277"/>
                    <a:pt x="1579" y="277"/>
                    <a:pt x="1579" y="277"/>
                  </a:cubicBezTo>
                  <a:cubicBezTo>
                    <a:pt x="1628" y="277"/>
                    <a:pt x="1646" y="297"/>
                    <a:pt x="1652" y="343"/>
                  </a:cubicBezTo>
                  <a:cubicBezTo>
                    <a:pt x="1657" y="378"/>
                    <a:pt x="1656" y="420"/>
                    <a:pt x="1668" y="448"/>
                  </a:cubicBezTo>
                  <a:cubicBezTo>
                    <a:pt x="1764" y="448"/>
                    <a:pt x="1764" y="448"/>
                    <a:pt x="1764" y="448"/>
                  </a:cubicBezTo>
                  <a:cubicBezTo>
                    <a:pt x="1747" y="423"/>
                    <a:pt x="1747" y="372"/>
                    <a:pt x="1745" y="344"/>
                  </a:cubicBezTo>
                  <a:cubicBezTo>
                    <a:pt x="1742" y="300"/>
                    <a:pt x="1729" y="254"/>
                    <a:pt x="1682" y="242"/>
                  </a:cubicBezTo>
                  <a:cubicBezTo>
                    <a:pt x="1682" y="241"/>
                    <a:pt x="1682" y="241"/>
                    <a:pt x="1682" y="241"/>
                  </a:cubicBezTo>
                  <a:cubicBezTo>
                    <a:pt x="1730" y="221"/>
                    <a:pt x="1751" y="182"/>
                    <a:pt x="1751" y="131"/>
                  </a:cubicBezTo>
                  <a:cubicBezTo>
                    <a:pt x="1751" y="65"/>
                    <a:pt x="1701" y="10"/>
                    <a:pt x="1623" y="10"/>
                  </a:cubicBezTo>
                  <a:moveTo>
                    <a:pt x="653" y="377"/>
                  </a:moveTo>
                  <a:cubicBezTo>
                    <a:pt x="566" y="377"/>
                    <a:pt x="534" y="304"/>
                    <a:pt x="534" y="231"/>
                  </a:cubicBezTo>
                  <a:cubicBezTo>
                    <a:pt x="534" y="154"/>
                    <a:pt x="566" y="81"/>
                    <a:pt x="653" y="81"/>
                  </a:cubicBezTo>
                  <a:cubicBezTo>
                    <a:pt x="739" y="81"/>
                    <a:pt x="771" y="154"/>
                    <a:pt x="771" y="231"/>
                  </a:cubicBezTo>
                  <a:cubicBezTo>
                    <a:pt x="771" y="304"/>
                    <a:pt x="739" y="377"/>
                    <a:pt x="653" y="377"/>
                  </a:cubicBezTo>
                  <a:moveTo>
                    <a:pt x="653" y="0"/>
                  </a:moveTo>
                  <a:cubicBezTo>
                    <a:pt x="517" y="0"/>
                    <a:pt x="438" y="101"/>
                    <a:pt x="438" y="231"/>
                  </a:cubicBezTo>
                  <a:cubicBezTo>
                    <a:pt x="438" y="357"/>
                    <a:pt x="517" y="458"/>
                    <a:pt x="653" y="458"/>
                  </a:cubicBezTo>
                  <a:cubicBezTo>
                    <a:pt x="788" y="458"/>
                    <a:pt x="868" y="357"/>
                    <a:pt x="868" y="231"/>
                  </a:cubicBezTo>
                  <a:cubicBezTo>
                    <a:pt x="868" y="101"/>
                    <a:pt x="788" y="0"/>
                    <a:pt x="653"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611116465"/>
      </p:ext>
    </p:extLst>
  </p:cSld>
  <p:clrMapOvr>
    <a:masterClrMapping/>
  </p:clrMapOvr>
  <p:transition>
    <p:fade/>
  </p:transition>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endParaRPr lang="en-US" dirty="0"/>
          </a:p>
        </p:txBody>
      </p:sp>
      <p:sp>
        <p:nvSpPr>
          <p:cNvPr id="3" name="Date Placeholder 2"/>
          <p:cNvSpPr>
            <a:spLocks noGrp="1"/>
          </p:cNvSpPr>
          <p:nvPr>
            <p:ph type="dt" sz="half" idx="12"/>
          </p:nvPr>
        </p:nvSpPr>
        <p:spPr>
          <a:xfrm>
            <a:off x="-3068548" y="6356352"/>
            <a:ext cx="2843213" cy="365125"/>
          </a:xfrm>
        </p:spPr>
        <p:txBody>
          <a:bodyPr/>
          <a:lstStyle>
            <a:lvl1pPr>
              <a:defRPr/>
            </a:lvl1pPr>
          </a:lstStyle>
          <a:p>
            <a:fld id="{BA761656-1249-4F38-99F8-ACF2559DA4D2}" type="datetimeFigureOut">
              <a:rPr lang="en-US" smtClean="0"/>
              <a:pPr/>
              <a:t>29-Feb-24</a:t>
            </a:fld>
            <a:endParaRPr lang="en-US" dirty="0"/>
          </a:p>
        </p:txBody>
      </p:sp>
    </p:spTree>
    <p:extLst>
      <p:ext uri="{BB962C8B-B14F-4D97-AF65-F5344CB8AC3E}">
        <p14:creationId xmlns:p14="http://schemas.microsoft.com/office/powerpoint/2010/main" val="3495680083"/>
      </p:ext>
    </p:extLst>
  </p:cSld>
  <p:clrMapOvr>
    <a:masterClrMapping/>
  </p:clrMapOvr>
  <p:transition>
    <p:fade/>
  </p:transition>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Keyno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endParaRPr lang="en-US" dirty="0"/>
          </a:p>
        </p:txBody>
      </p:sp>
      <p:pic>
        <p:nvPicPr>
          <p:cNvPr id="10" name="Backgrouind imag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05" y="-17632"/>
            <a:ext cx="12223343" cy="687563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59"/>
            <a:ext cx="2728800" cy="464477"/>
          </a:xfrm>
          <a:prstGeom prst="rect">
            <a:avLst/>
          </a:prstGeom>
        </p:spPr>
      </p:pic>
      <p:sp>
        <p:nvSpPr>
          <p:cNvPr id="13" name="Speaker name and date"/>
          <p:cNvSpPr>
            <a:spLocks noGrp="1"/>
          </p:cNvSpPr>
          <p:nvPr userDrawn="1">
            <p:ph type="subTitle" idx="1" hasCustomPrompt="1"/>
          </p:nvPr>
        </p:nvSpPr>
        <p:spPr>
          <a:xfrm>
            <a:off x="10532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0"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bg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0"/>
            <a:ext cx="2843213" cy="365125"/>
          </a:xfrm>
        </p:spPr>
        <p:txBody>
          <a:bodyPr/>
          <a:lstStyle>
            <a:lvl1pPr>
              <a:defRPr/>
            </a:lvl1pPr>
          </a:lstStyle>
          <a:p>
            <a:fld id="{603289AC-4C12-4E6D-B39B-A4756814FEEC}" type="datetimeFigureOut">
              <a:rPr lang="en-US" smtClean="0"/>
              <a:pPr/>
              <a:t>29-Feb-24</a:t>
            </a:fld>
            <a:endParaRPr lang="en-US" dirty="0"/>
          </a:p>
        </p:txBody>
      </p:sp>
      <p:grpSp>
        <p:nvGrpSpPr>
          <p:cNvPr id="8" name="SKO Wordmark"/>
          <p:cNvGrpSpPr/>
          <p:nvPr userDrawn="1"/>
        </p:nvGrpSpPr>
        <p:grpSpPr>
          <a:xfrm>
            <a:off x="9286127" y="1911637"/>
            <a:ext cx="1892808" cy="1892808"/>
            <a:chOff x="9256951" y="1841025"/>
            <a:chExt cx="1892808" cy="1892808"/>
          </a:xfrm>
        </p:grpSpPr>
        <p:pic>
          <p:nvPicPr>
            <p:cNvPr id="6" name="gradient circle behind"/>
            <p:cNvPicPr>
              <a:picLocks noChangeAspect="1"/>
            </p:cNvPicPr>
            <p:nvPr userDrawn="1"/>
          </p:nvPicPr>
          <p:blipFill>
            <a:blip r:embed="rId4"/>
            <a:stretch>
              <a:fillRect/>
            </a:stretch>
          </p:blipFill>
          <p:spPr>
            <a:xfrm>
              <a:off x="9333659" y="1917733"/>
              <a:ext cx="1739392" cy="1739392"/>
            </a:xfrm>
            <a:prstGeom prst="rect">
              <a:avLst/>
            </a:prstGeom>
          </p:spPr>
        </p:pic>
        <p:pic>
          <p:nvPicPr>
            <p:cNvPr id="7" name="SKO wordmark"/>
            <p:cNvPicPr>
              <a:picLocks noChangeAspect="1"/>
            </p:cNvPicPr>
            <p:nvPr userDrawn="1"/>
          </p:nvPicPr>
          <p:blipFill>
            <a:blip r:embed="rId5"/>
            <a:stretch>
              <a:fillRect/>
            </a:stretch>
          </p:blipFill>
          <p:spPr>
            <a:xfrm>
              <a:off x="9256951" y="1841025"/>
              <a:ext cx="1892808" cy="1892808"/>
            </a:xfrm>
            <a:prstGeom prst="rect">
              <a:avLst/>
            </a:prstGeom>
            <a:effectLst>
              <a:outerShdw blurRad="50800" dist="38100" dir="2700000" algn="tl" rotWithShape="0">
                <a:prstClr val="black">
                  <a:alpha val="40000"/>
                </a:prstClr>
              </a:outerShdw>
            </a:effectLst>
          </p:spPr>
        </p:pic>
      </p:grpSp>
      <p:grpSp>
        <p:nvGrpSpPr>
          <p:cNvPr id="16" name="Group 4"/>
          <p:cNvGrpSpPr>
            <a:grpSpLocks noChangeAspect="1"/>
          </p:cNvGrpSpPr>
          <p:nvPr userDrawn="1"/>
        </p:nvGrpSpPr>
        <p:grpSpPr bwMode="auto">
          <a:xfrm>
            <a:off x="7721600" y="5908675"/>
            <a:ext cx="3746500" cy="307975"/>
            <a:chOff x="4864" y="3722"/>
            <a:chExt cx="2360" cy="194"/>
          </a:xfrm>
        </p:grpSpPr>
        <p:sp>
          <p:nvSpPr>
            <p:cNvPr id="17" name="AutoShape 3"/>
            <p:cNvSpPr>
              <a:spLocks noChangeAspect="1" noChangeArrowheads="1" noTextEdit="1"/>
            </p:cNvSpPr>
            <p:nvPr userDrawn="1"/>
          </p:nvSpPr>
          <p:spPr bwMode="auto">
            <a:xfrm>
              <a:off x="4864" y="3722"/>
              <a:ext cx="236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8" name="Freeform 5"/>
            <p:cNvSpPr>
              <a:spLocks noEditPoints="1"/>
            </p:cNvSpPr>
            <p:nvPr userDrawn="1"/>
          </p:nvSpPr>
          <p:spPr bwMode="auto">
            <a:xfrm>
              <a:off x="4865" y="3721"/>
              <a:ext cx="101"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19" name="Freeform 6"/>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0" name="Freeform 7"/>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1" name="Freeform 8"/>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2" name="Freeform 9"/>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3" name="Freeform 10"/>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4" name="Freeform 11"/>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5" name="Freeform 12"/>
            <p:cNvSpPr>
              <a:spLocks noEditPoints="1"/>
            </p:cNvSpPr>
            <p:nvPr userDrawn="1"/>
          </p:nvSpPr>
          <p:spPr bwMode="auto">
            <a:xfrm>
              <a:off x="5661" y="3721"/>
              <a:ext cx="102"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6" name="Freeform 13"/>
            <p:cNvSpPr>
              <a:spLocks/>
            </p:cNvSpPr>
            <p:nvPr userDrawn="1"/>
          </p:nvSpPr>
          <p:spPr bwMode="auto">
            <a:xfrm>
              <a:off x="5827" y="3723"/>
              <a:ext cx="97" cy="194"/>
            </a:xfrm>
            <a:custGeom>
              <a:avLst/>
              <a:gdLst>
                <a:gd name="T0" fmla="*/ 136 w 136"/>
                <a:gd name="T1" fmla="*/ 0 h 269"/>
                <a:gd name="T2" fmla="*/ 94 w 136"/>
                <a:gd name="T3" fmla="*/ 0 h 269"/>
                <a:gd name="T4" fmla="*/ 94 w 136"/>
                <a:gd name="T5" fmla="*/ 199 h 269"/>
                <a:gd name="T6" fmla="*/ 87 w 136"/>
                <a:gd name="T7" fmla="*/ 223 h 269"/>
                <a:gd name="T8" fmla="*/ 68 w 136"/>
                <a:gd name="T9" fmla="*/ 231 h 269"/>
                <a:gd name="T10" fmla="*/ 49 w 136"/>
                <a:gd name="T11" fmla="*/ 223 h 269"/>
                <a:gd name="T12" fmla="*/ 42 w 136"/>
                <a:gd name="T13" fmla="*/ 199 h 269"/>
                <a:gd name="T14" fmla="*/ 42 w 136"/>
                <a:gd name="T15" fmla="*/ 0 h 269"/>
                <a:gd name="T16" fmla="*/ 0 w 136"/>
                <a:gd name="T17" fmla="*/ 0 h 269"/>
                <a:gd name="T18" fmla="*/ 0 w 136"/>
                <a:gd name="T19" fmla="*/ 200 h 269"/>
                <a:gd name="T20" fmla="*/ 19 w 136"/>
                <a:gd name="T21" fmla="*/ 249 h 269"/>
                <a:gd name="T22" fmla="*/ 68 w 136"/>
                <a:gd name="T23" fmla="*/ 269 h 269"/>
                <a:gd name="T24" fmla="*/ 118 w 136"/>
                <a:gd name="T25" fmla="*/ 249 h 269"/>
                <a:gd name="T26" fmla="*/ 136 w 136"/>
                <a:gd name="T27" fmla="*/ 200 h 269"/>
                <a:gd name="T28" fmla="*/ 136 w 136"/>
                <a:gd name="T29"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269">
                  <a:moveTo>
                    <a:pt x="136" y="0"/>
                  </a:moveTo>
                  <a:cubicBezTo>
                    <a:pt x="94" y="0"/>
                    <a:pt x="94" y="0"/>
                    <a:pt x="94" y="0"/>
                  </a:cubicBezTo>
                  <a:cubicBezTo>
                    <a:pt x="94" y="199"/>
                    <a:pt x="94" y="199"/>
                    <a:pt x="94" y="199"/>
                  </a:cubicBezTo>
                  <a:cubicBezTo>
                    <a:pt x="94" y="210"/>
                    <a:pt x="92" y="218"/>
                    <a:pt x="87" y="223"/>
                  </a:cubicBezTo>
                  <a:cubicBezTo>
                    <a:pt x="83" y="229"/>
                    <a:pt x="77" y="231"/>
                    <a:pt x="68" y="231"/>
                  </a:cubicBezTo>
                  <a:cubicBezTo>
                    <a:pt x="60" y="231"/>
                    <a:pt x="53" y="229"/>
                    <a:pt x="49" y="223"/>
                  </a:cubicBezTo>
                  <a:cubicBezTo>
                    <a:pt x="44" y="218"/>
                    <a:pt x="42" y="210"/>
                    <a:pt x="42" y="199"/>
                  </a:cubicBezTo>
                  <a:cubicBezTo>
                    <a:pt x="42" y="0"/>
                    <a:pt x="42" y="0"/>
                    <a:pt x="42" y="0"/>
                  </a:cubicBezTo>
                  <a:cubicBezTo>
                    <a:pt x="0" y="0"/>
                    <a:pt x="0" y="0"/>
                    <a:pt x="0" y="0"/>
                  </a:cubicBezTo>
                  <a:cubicBezTo>
                    <a:pt x="0" y="200"/>
                    <a:pt x="0" y="200"/>
                    <a:pt x="0" y="200"/>
                  </a:cubicBezTo>
                  <a:cubicBezTo>
                    <a:pt x="0" y="221"/>
                    <a:pt x="6" y="237"/>
                    <a:pt x="19" y="249"/>
                  </a:cubicBezTo>
                  <a:cubicBezTo>
                    <a:pt x="31" y="262"/>
                    <a:pt x="48" y="269"/>
                    <a:pt x="68" y="269"/>
                  </a:cubicBezTo>
                  <a:cubicBezTo>
                    <a:pt x="89" y="269"/>
                    <a:pt x="105" y="262"/>
                    <a:pt x="118" y="249"/>
                  </a:cubicBezTo>
                  <a:cubicBezTo>
                    <a:pt x="130" y="237"/>
                    <a:pt x="136" y="221"/>
                    <a:pt x="136" y="200"/>
                  </a:cubicBezTo>
                  <a:cubicBezTo>
                    <a:pt x="136" y="0"/>
                    <a:pt x="136" y="0"/>
                    <a:pt x="136"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7" name="Freeform 14"/>
            <p:cNvSpPr>
              <a:spLocks noEditPoints="1"/>
            </p:cNvSpPr>
            <p:nvPr userDrawn="1"/>
          </p:nvSpPr>
          <p:spPr bwMode="auto">
            <a:xfrm>
              <a:off x="5995" y="3723"/>
              <a:ext cx="102" cy="192"/>
            </a:xfrm>
            <a:custGeom>
              <a:avLst/>
              <a:gdLst>
                <a:gd name="T0" fmla="*/ 41 w 143"/>
                <a:gd name="T1" fmla="*/ 119 h 266"/>
                <a:gd name="T2" fmla="*/ 41 w 143"/>
                <a:gd name="T3" fmla="*/ 38 h 266"/>
                <a:gd name="T4" fmla="*/ 67 w 143"/>
                <a:gd name="T5" fmla="*/ 38 h 266"/>
                <a:gd name="T6" fmla="*/ 81 w 143"/>
                <a:gd name="T7" fmla="*/ 41 h 266"/>
                <a:gd name="T8" fmla="*/ 89 w 143"/>
                <a:gd name="T9" fmla="*/ 50 h 266"/>
                <a:gd name="T10" fmla="*/ 92 w 143"/>
                <a:gd name="T11" fmla="*/ 63 h 266"/>
                <a:gd name="T12" fmla="*/ 93 w 143"/>
                <a:gd name="T13" fmla="*/ 78 h 266"/>
                <a:gd name="T14" fmla="*/ 92 w 143"/>
                <a:gd name="T15" fmla="*/ 94 h 266"/>
                <a:gd name="T16" fmla="*/ 89 w 143"/>
                <a:gd name="T17" fmla="*/ 107 h 266"/>
                <a:gd name="T18" fmla="*/ 81 w 143"/>
                <a:gd name="T19" fmla="*/ 116 h 266"/>
                <a:gd name="T20" fmla="*/ 67 w 143"/>
                <a:gd name="T21" fmla="*/ 119 h 266"/>
                <a:gd name="T22" fmla="*/ 41 w 143"/>
                <a:gd name="T23" fmla="*/ 119 h 266"/>
                <a:gd name="T24" fmla="*/ 67 w 143"/>
                <a:gd name="T25" fmla="*/ 0 h 266"/>
                <a:gd name="T26" fmla="*/ 0 w 143"/>
                <a:gd name="T27" fmla="*/ 0 h 266"/>
                <a:gd name="T28" fmla="*/ 0 w 143"/>
                <a:gd name="T29" fmla="*/ 266 h 266"/>
                <a:gd name="T30" fmla="*/ 41 w 143"/>
                <a:gd name="T31" fmla="*/ 266 h 266"/>
                <a:gd name="T32" fmla="*/ 41 w 143"/>
                <a:gd name="T33" fmla="*/ 157 h 266"/>
                <a:gd name="T34" fmla="*/ 65 w 143"/>
                <a:gd name="T35" fmla="*/ 157 h 266"/>
                <a:gd name="T36" fmla="*/ 100 w 143"/>
                <a:gd name="T37" fmla="*/ 266 h 266"/>
                <a:gd name="T38" fmla="*/ 143 w 143"/>
                <a:gd name="T39" fmla="*/ 266 h 266"/>
                <a:gd name="T40" fmla="*/ 104 w 143"/>
                <a:gd name="T41" fmla="*/ 148 h 266"/>
                <a:gd name="T42" fmla="*/ 129 w 143"/>
                <a:gd name="T43" fmla="*/ 121 h 266"/>
                <a:gd name="T44" fmla="*/ 135 w 143"/>
                <a:gd name="T45" fmla="*/ 78 h 266"/>
                <a:gd name="T46" fmla="*/ 119 w 143"/>
                <a:gd name="T47" fmla="*/ 18 h 266"/>
                <a:gd name="T48" fmla="*/ 67 w 143"/>
                <a:gd name="T4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3" h="266">
                  <a:moveTo>
                    <a:pt x="41" y="119"/>
                  </a:moveTo>
                  <a:cubicBezTo>
                    <a:pt x="41" y="38"/>
                    <a:pt x="41" y="38"/>
                    <a:pt x="41" y="38"/>
                  </a:cubicBezTo>
                  <a:cubicBezTo>
                    <a:pt x="67" y="38"/>
                    <a:pt x="67" y="38"/>
                    <a:pt x="67" y="38"/>
                  </a:cubicBezTo>
                  <a:cubicBezTo>
                    <a:pt x="73" y="38"/>
                    <a:pt x="77" y="39"/>
                    <a:pt x="81" y="41"/>
                  </a:cubicBezTo>
                  <a:cubicBezTo>
                    <a:pt x="84" y="43"/>
                    <a:pt x="87" y="46"/>
                    <a:pt x="89" y="50"/>
                  </a:cubicBezTo>
                  <a:cubicBezTo>
                    <a:pt x="90" y="53"/>
                    <a:pt x="91" y="58"/>
                    <a:pt x="92" y="63"/>
                  </a:cubicBezTo>
                  <a:cubicBezTo>
                    <a:pt x="93" y="68"/>
                    <a:pt x="93" y="73"/>
                    <a:pt x="93" y="78"/>
                  </a:cubicBezTo>
                  <a:cubicBezTo>
                    <a:pt x="93" y="84"/>
                    <a:pt x="93" y="89"/>
                    <a:pt x="92" y="94"/>
                  </a:cubicBezTo>
                  <a:cubicBezTo>
                    <a:pt x="91" y="99"/>
                    <a:pt x="90" y="104"/>
                    <a:pt x="89" y="107"/>
                  </a:cubicBezTo>
                  <a:cubicBezTo>
                    <a:pt x="87" y="111"/>
                    <a:pt x="84" y="114"/>
                    <a:pt x="81" y="116"/>
                  </a:cubicBezTo>
                  <a:cubicBezTo>
                    <a:pt x="77" y="118"/>
                    <a:pt x="73" y="119"/>
                    <a:pt x="67" y="119"/>
                  </a:cubicBezTo>
                  <a:cubicBezTo>
                    <a:pt x="41" y="119"/>
                    <a:pt x="41" y="119"/>
                    <a:pt x="41" y="119"/>
                  </a:cubicBezTo>
                  <a:moveTo>
                    <a:pt x="67" y="0"/>
                  </a:moveTo>
                  <a:cubicBezTo>
                    <a:pt x="0" y="0"/>
                    <a:pt x="0" y="0"/>
                    <a:pt x="0" y="0"/>
                  </a:cubicBezTo>
                  <a:cubicBezTo>
                    <a:pt x="0" y="266"/>
                    <a:pt x="0" y="266"/>
                    <a:pt x="0" y="266"/>
                  </a:cubicBezTo>
                  <a:cubicBezTo>
                    <a:pt x="41" y="266"/>
                    <a:pt x="41" y="266"/>
                    <a:pt x="41" y="266"/>
                  </a:cubicBezTo>
                  <a:cubicBezTo>
                    <a:pt x="41" y="157"/>
                    <a:pt x="41" y="157"/>
                    <a:pt x="41" y="157"/>
                  </a:cubicBezTo>
                  <a:cubicBezTo>
                    <a:pt x="65" y="157"/>
                    <a:pt x="65" y="157"/>
                    <a:pt x="65" y="157"/>
                  </a:cubicBezTo>
                  <a:cubicBezTo>
                    <a:pt x="100" y="266"/>
                    <a:pt x="100" y="266"/>
                    <a:pt x="100" y="266"/>
                  </a:cubicBezTo>
                  <a:cubicBezTo>
                    <a:pt x="143" y="266"/>
                    <a:pt x="143" y="266"/>
                    <a:pt x="143" y="266"/>
                  </a:cubicBezTo>
                  <a:cubicBezTo>
                    <a:pt x="104" y="148"/>
                    <a:pt x="104" y="148"/>
                    <a:pt x="104" y="148"/>
                  </a:cubicBezTo>
                  <a:cubicBezTo>
                    <a:pt x="116" y="141"/>
                    <a:pt x="124" y="132"/>
                    <a:pt x="129" y="121"/>
                  </a:cubicBezTo>
                  <a:cubicBezTo>
                    <a:pt x="133" y="109"/>
                    <a:pt x="135" y="95"/>
                    <a:pt x="135" y="78"/>
                  </a:cubicBezTo>
                  <a:cubicBezTo>
                    <a:pt x="135" y="51"/>
                    <a:pt x="130" y="31"/>
                    <a:pt x="119" y="18"/>
                  </a:cubicBezTo>
                  <a:cubicBezTo>
                    <a:pt x="109" y="6"/>
                    <a:pt x="91" y="0"/>
                    <a:pt x="67"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8" name="Freeform 15"/>
            <p:cNvSpPr>
              <a:spLocks noEditPoints="1"/>
            </p:cNvSpPr>
            <p:nvPr userDrawn="1"/>
          </p:nvSpPr>
          <p:spPr bwMode="auto">
            <a:xfrm>
              <a:off x="6249" y="3723"/>
              <a:ext cx="99" cy="192"/>
            </a:xfrm>
            <a:custGeom>
              <a:avLst/>
              <a:gdLst>
                <a:gd name="T0" fmla="*/ 42 w 139"/>
                <a:gd name="T1" fmla="*/ 228 h 266"/>
                <a:gd name="T2" fmla="*/ 42 w 139"/>
                <a:gd name="T3" fmla="*/ 38 h 266"/>
                <a:gd name="T4" fmla="*/ 67 w 139"/>
                <a:gd name="T5" fmla="*/ 38 h 266"/>
                <a:gd name="T6" fmla="*/ 80 w 139"/>
                <a:gd name="T7" fmla="*/ 41 h 266"/>
                <a:gd name="T8" fmla="*/ 88 w 139"/>
                <a:gd name="T9" fmla="*/ 49 h 266"/>
                <a:gd name="T10" fmla="*/ 96 w 139"/>
                <a:gd name="T11" fmla="*/ 78 h 266"/>
                <a:gd name="T12" fmla="*/ 97 w 139"/>
                <a:gd name="T13" fmla="*/ 133 h 266"/>
                <a:gd name="T14" fmla="*/ 96 w 139"/>
                <a:gd name="T15" fmla="*/ 188 h 266"/>
                <a:gd name="T16" fmla="*/ 88 w 139"/>
                <a:gd name="T17" fmla="*/ 217 h 266"/>
                <a:gd name="T18" fmla="*/ 80 w 139"/>
                <a:gd name="T19" fmla="*/ 225 h 266"/>
                <a:gd name="T20" fmla="*/ 67 w 139"/>
                <a:gd name="T21" fmla="*/ 228 h 266"/>
                <a:gd name="T22" fmla="*/ 42 w 139"/>
                <a:gd name="T23" fmla="*/ 228 h 266"/>
                <a:gd name="T24" fmla="*/ 68 w 139"/>
                <a:gd name="T25" fmla="*/ 0 h 266"/>
                <a:gd name="T26" fmla="*/ 0 w 139"/>
                <a:gd name="T27" fmla="*/ 0 h 266"/>
                <a:gd name="T28" fmla="*/ 0 w 139"/>
                <a:gd name="T29" fmla="*/ 266 h 266"/>
                <a:gd name="T30" fmla="*/ 68 w 139"/>
                <a:gd name="T31" fmla="*/ 266 h 266"/>
                <a:gd name="T32" fmla="*/ 99 w 139"/>
                <a:gd name="T33" fmla="*/ 260 h 266"/>
                <a:gd name="T34" fmla="*/ 119 w 139"/>
                <a:gd name="T35" fmla="*/ 244 h 266"/>
                <a:gd name="T36" fmla="*/ 130 w 139"/>
                <a:gd name="T37" fmla="*/ 227 h 266"/>
                <a:gd name="T38" fmla="*/ 136 w 139"/>
                <a:gd name="T39" fmla="*/ 204 h 266"/>
                <a:gd name="T40" fmla="*/ 138 w 139"/>
                <a:gd name="T41" fmla="*/ 173 h 266"/>
                <a:gd name="T42" fmla="*/ 139 w 139"/>
                <a:gd name="T43" fmla="*/ 133 h 266"/>
                <a:gd name="T44" fmla="*/ 138 w 139"/>
                <a:gd name="T45" fmla="*/ 92 h 266"/>
                <a:gd name="T46" fmla="*/ 136 w 139"/>
                <a:gd name="T47" fmla="*/ 62 h 266"/>
                <a:gd name="T48" fmla="*/ 130 w 139"/>
                <a:gd name="T49" fmla="*/ 39 h 266"/>
                <a:gd name="T50" fmla="*/ 119 w 139"/>
                <a:gd name="T51" fmla="*/ 22 h 266"/>
                <a:gd name="T52" fmla="*/ 99 w 139"/>
                <a:gd name="T53" fmla="*/ 6 h 266"/>
                <a:gd name="T54" fmla="*/ 68 w 139"/>
                <a:gd name="T5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66">
                  <a:moveTo>
                    <a:pt x="42" y="228"/>
                  </a:moveTo>
                  <a:cubicBezTo>
                    <a:pt x="42" y="38"/>
                    <a:pt x="42" y="38"/>
                    <a:pt x="42" y="38"/>
                  </a:cubicBezTo>
                  <a:cubicBezTo>
                    <a:pt x="67" y="38"/>
                    <a:pt x="67" y="38"/>
                    <a:pt x="67" y="38"/>
                  </a:cubicBezTo>
                  <a:cubicBezTo>
                    <a:pt x="72" y="38"/>
                    <a:pt x="76" y="39"/>
                    <a:pt x="80" y="41"/>
                  </a:cubicBezTo>
                  <a:cubicBezTo>
                    <a:pt x="83" y="43"/>
                    <a:pt x="86" y="45"/>
                    <a:pt x="88" y="49"/>
                  </a:cubicBezTo>
                  <a:cubicBezTo>
                    <a:pt x="92" y="55"/>
                    <a:pt x="95" y="65"/>
                    <a:pt x="96" y="78"/>
                  </a:cubicBezTo>
                  <a:cubicBezTo>
                    <a:pt x="97" y="91"/>
                    <a:pt x="97" y="109"/>
                    <a:pt x="97" y="133"/>
                  </a:cubicBezTo>
                  <a:cubicBezTo>
                    <a:pt x="97" y="156"/>
                    <a:pt x="97" y="174"/>
                    <a:pt x="96" y="188"/>
                  </a:cubicBezTo>
                  <a:cubicBezTo>
                    <a:pt x="95" y="201"/>
                    <a:pt x="92" y="211"/>
                    <a:pt x="88" y="217"/>
                  </a:cubicBezTo>
                  <a:cubicBezTo>
                    <a:pt x="86" y="221"/>
                    <a:pt x="83" y="223"/>
                    <a:pt x="80" y="225"/>
                  </a:cubicBezTo>
                  <a:cubicBezTo>
                    <a:pt x="76" y="227"/>
                    <a:pt x="72" y="228"/>
                    <a:pt x="67" y="228"/>
                  </a:cubicBezTo>
                  <a:cubicBezTo>
                    <a:pt x="42" y="228"/>
                    <a:pt x="42" y="228"/>
                    <a:pt x="42" y="228"/>
                  </a:cubicBezTo>
                  <a:moveTo>
                    <a:pt x="68" y="0"/>
                  </a:moveTo>
                  <a:cubicBezTo>
                    <a:pt x="0" y="0"/>
                    <a:pt x="0" y="0"/>
                    <a:pt x="0" y="0"/>
                  </a:cubicBezTo>
                  <a:cubicBezTo>
                    <a:pt x="0" y="266"/>
                    <a:pt x="0" y="266"/>
                    <a:pt x="0" y="266"/>
                  </a:cubicBezTo>
                  <a:cubicBezTo>
                    <a:pt x="68" y="266"/>
                    <a:pt x="68" y="266"/>
                    <a:pt x="68" y="266"/>
                  </a:cubicBezTo>
                  <a:cubicBezTo>
                    <a:pt x="81" y="266"/>
                    <a:pt x="91" y="264"/>
                    <a:pt x="99" y="260"/>
                  </a:cubicBezTo>
                  <a:cubicBezTo>
                    <a:pt x="107" y="255"/>
                    <a:pt x="114" y="250"/>
                    <a:pt x="119" y="244"/>
                  </a:cubicBezTo>
                  <a:cubicBezTo>
                    <a:pt x="124" y="239"/>
                    <a:pt x="127" y="233"/>
                    <a:pt x="130" y="227"/>
                  </a:cubicBezTo>
                  <a:cubicBezTo>
                    <a:pt x="133" y="220"/>
                    <a:pt x="135" y="213"/>
                    <a:pt x="136" y="204"/>
                  </a:cubicBezTo>
                  <a:cubicBezTo>
                    <a:pt x="137" y="195"/>
                    <a:pt x="138" y="185"/>
                    <a:pt x="138" y="173"/>
                  </a:cubicBezTo>
                  <a:cubicBezTo>
                    <a:pt x="139" y="162"/>
                    <a:pt x="139" y="148"/>
                    <a:pt x="139" y="133"/>
                  </a:cubicBezTo>
                  <a:cubicBezTo>
                    <a:pt x="139" y="117"/>
                    <a:pt x="139" y="104"/>
                    <a:pt x="138" y="92"/>
                  </a:cubicBezTo>
                  <a:cubicBezTo>
                    <a:pt x="138" y="81"/>
                    <a:pt x="137" y="71"/>
                    <a:pt x="136" y="62"/>
                  </a:cubicBezTo>
                  <a:cubicBezTo>
                    <a:pt x="135" y="53"/>
                    <a:pt x="133" y="45"/>
                    <a:pt x="130" y="39"/>
                  </a:cubicBezTo>
                  <a:cubicBezTo>
                    <a:pt x="127" y="33"/>
                    <a:pt x="124" y="27"/>
                    <a:pt x="119" y="22"/>
                  </a:cubicBezTo>
                  <a:cubicBezTo>
                    <a:pt x="114" y="16"/>
                    <a:pt x="107" y="11"/>
                    <a:pt x="99" y="6"/>
                  </a:cubicBezTo>
                  <a:cubicBezTo>
                    <a:pt x="91" y="2"/>
                    <a:pt x="81" y="0"/>
                    <a:pt x="68"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29" name="Freeform 16"/>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0" name="Freeform 17"/>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1" name="Freeform 18"/>
            <p:cNvSpPr>
              <a:spLocks/>
            </p:cNvSpPr>
            <p:nvPr userDrawn="1"/>
          </p:nvSpPr>
          <p:spPr bwMode="auto">
            <a:xfrm>
              <a:off x="6554" y="3722"/>
              <a:ext cx="98" cy="195"/>
            </a:xfrm>
            <a:custGeom>
              <a:avLst/>
              <a:gdLst>
                <a:gd name="T0" fmla="*/ 70 w 138"/>
                <a:gd name="T1" fmla="*/ 0 h 271"/>
                <a:gd name="T2" fmla="*/ 44 w 138"/>
                <a:gd name="T3" fmla="*/ 4 h 271"/>
                <a:gd name="T4" fmla="*/ 24 w 138"/>
                <a:gd name="T5" fmla="*/ 16 h 271"/>
                <a:gd name="T6" fmla="*/ 8 w 138"/>
                <a:gd name="T7" fmla="*/ 40 h 271"/>
                <a:gd name="T8" fmla="*/ 3 w 138"/>
                <a:gd name="T9" fmla="*/ 72 h 271"/>
                <a:gd name="T10" fmla="*/ 5 w 138"/>
                <a:gd name="T11" fmla="*/ 98 h 271"/>
                <a:gd name="T12" fmla="*/ 11 w 138"/>
                <a:gd name="T13" fmla="*/ 117 h 271"/>
                <a:gd name="T14" fmla="*/ 22 w 138"/>
                <a:gd name="T15" fmla="*/ 130 h 271"/>
                <a:gd name="T16" fmla="*/ 40 w 138"/>
                <a:gd name="T17" fmla="*/ 139 h 271"/>
                <a:gd name="T18" fmla="*/ 71 w 138"/>
                <a:gd name="T19" fmla="*/ 152 h 271"/>
                <a:gd name="T20" fmla="*/ 84 w 138"/>
                <a:gd name="T21" fmla="*/ 159 h 271"/>
                <a:gd name="T22" fmla="*/ 92 w 138"/>
                <a:gd name="T23" fmla="*/ 167 h 271"/>
                <a:gd name="T24" fmla="*/ 95 w 138"/>
                <a:gd name="T25" fmla="*/ 178 h 271"/>
                <a:gd name="T26" fmla="*/ 96 w 138"/>
                <a:gd name="T27" fmla="*/ 196 h 271"/>
                <a:gd name="T28" fmla="*/ 95 w 138"/>
                <a:gd name="T29" fmla="*/ 214 h 271"/>
                <a:gd name="T30" fmla="*/ 89 w 138"/>
                <a:gd name="T31" fmla="*/ 225 h 271"/>
                <a:gd name="T32" fmla="*/ 69 w 138"/>
                <a:gd name="T33" fmla="*/ 233 h 271"/>
                <a:gd name="T34" fmla="*/ 57 w 138"/>
                <a:gd name="T35" fmla="*/ 231 h 271"/>
                <a:gd name="T36" fmla="*/ 50 w 138"/>
                <a:gd name="T37" fmla="*/ 226 h 271"/>
                <a:gd name="T38" fmla="*/ 44 w 138"/>
                <a:gd name="T39" fmla="*/ 214 h 271"/>
                <a:gd name="T40" fmla="*/ 42 w 138"/>
                <a:gd name="T41" fmla="*/ 196 h 271"/>
                <a:gd name="T42" fmla="*/ 0 w 138"/>
                <a:gd name="T43" fmla="*/ 196 h 271"/>
                <a:gd name="T44" fmla="*/ 4 w 138"/>
                <a:gd name="T45" fmla="*/ 230 h 271"/>
                <a:gd name="T46" fmla="*/ 17 w 138"/>
                <a:gd name="T47" fmla="*/ 253 h 271"/>
                <a:gd name="T48" fmla="*/ 69 w 138"/>
                <a:gd name="T49" fmla="*/ 271 h 271"/>
                <a:gd name="T50" fmla="*/ 100 w 138"/>
                <a:gd name="T51" fmla="*/ 266 h 271"/>
                <a:gd name="T52" fmla="*/ 121 w 138"/>
                <a:gd name="T53" fmla="*/ 253 h 271"/>
                <a:gd name="T54" fmla="*/ 135 w 138"/>
                <a:gd name="T55" fmla="*/ 229 h 271"/>
                <a:gd name="T56" fmla="*/ 138 w 138"/>
                <a:gd name="T57" fmla="*/ 194 h 271"/>
                <a:gd name="T58" fmla="*/ 136 w 138"/>
                <a:gd name="T59" fmla="*/ 166 h 271"/>
                <a:gd name="T60" fmla="*/ 130 w 138"/>
                <a:gd name="T61" fmla="*/ 145 h 271"/>
                <a:gd name="T62" fmla="*/ 118 w 138"/>
                <a:gd name="T63" fmla="*/ 131 h 271"/>
                <a:gd name="T64" fmla="*/ 98 w 138"/>
                <a:gd name="T65" fmla="*/ 120 h 271"/>
                <a:gd name="T66" fmla="*/ 66 w 138"/>
                <a:gd name="T67" fmla="*/ 107 h 271"/>
                <a:gd name="T68" fmla="*/ 55 w 138"/>
                <a:gd name="T69" fmla="*/ 101 h 271"/>
                <a:gd name="T70" fmla="*/ 48 w 138"/>
                <a:gd name="T71" fmla="*/ 94 h 271"/>
                <a:gd name="T72" fmla="*/ 45 w 138"/>
                <a:gd name="T73" fmla="*/ 85 h 271"/>
                <a:gd name="T74" fmla="*/ 44 w 138"/>
                <a:gd name="T75" fmla="*/ 71 h 271"/>
                <a:gd name="T76" fmla="*/ 52 w 138"/>
                <a:gd name="T77" fmla="*/ 45 h 271"/>
                <a:gd name="T78" fmla="*/ 59 w 138"/>
                <a:gd name="T79" fmla="*/ 40 h 271"/>
                <a:gd name="T80" fmla="*/ 69 w 138"/>
                <a:gd name="T81" fmla="*/ 37 h 271"/>
                <a:gd name="T82" fmla="*/ 88 w 138"/>
                <a:gd name="T83" fmla="*/ 45 h 271"/>
                <a:gd name="T84" fmla="*/ 93 w 138"/>
                <a:gd name="T85" fmla="*/ 58 h 271"/>
                <a:gd name="T86" fmla="*/ 94 w 138"/>
                <a:gd name="T87" fmla="*/ 74 h 271"/>
                <a:gd name="T88" fmla="*/ 136 w 138"/>
                <a:gd name="T89" fmla="*/ 74 h 271"/>
                <a:gd name="T90" fmla="*/ 132 w 138"/>
                <a:gd name="T91" fmla="*/ 40 h 271"/>
                <a:gd name="T92" fmla="*/ 118 w 138"/>
                <a:gd name="T93" fmla="*/ 16 h 271"/>
                <a:gd name="T94" fmla="*/ 70 w 138"/>
                <a:gd name="T95"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271">
                  <a:moveTo>
                    <a:pt x="70" y="0"/>
                  </a:moveTo>
                  <a:cubicBezTo>
                    <a:pt x="60" y="0"/>
                    <a:pt x="52" y="1"/>
                    <a:pt x="44" y="4"/>
                  </a:cubicBezTo>
                  <a:cubicBezTo>
                    <a:pt x="37" y="7"/>
                    <a:pt x="30" y="11"/>
                    <a:pt x="24" y="16"/>
                  </a:cubicBezTo>
                  <a:cubicBezTo>
                    <a:pt x="17" y="22"/>
                    <a:pt x="12" y="30"/>
                    <a:pt x="8" y="40"/>
                  </a:cubicBezTo>
                  <a:cubicBezTo>
                    <a:pt x="4" y="50"/>
                    <a:pt x="3" y="60"/>
                    <a:pt x="3" y="72"/>
                  </a:cubicBezTo>
                  <a:cubicBezTo>
                    <a:pt x="3" y="82"/>
                    <a:pt x="3" y="91"/>
                    <a:pt x="5" y="98"/>
                  </a:cubicBezTo>
                  <a:cubicBezTo>
                    <a:pt x="6" y="106"/>
                    <a:pt x="8" y="112"/>
                    <a:pt x="11" y="117"/>
                  </a:cubicBezTo>
                  <a:cubicBezTo>
                    <a:pt x="14" y="122"/>
                    <a:pt x="18" y="126"/>
                    <a:pt x="22" y="130"/>
                  </a:cubicBezTo>
                  <a:cubicBezTo>
                    <a:pt x="27" y="133"/>
                    <a:pt x="33" y="136"/>
                    <a:pt x="40" y="139"/>
                  </a:cubicBezTo>
                  <a:cubicBezTo>
                    <a:pt x="71" y="152"/>
                    <a:pt x="71" y="152"/>
                    <a:pt x="71" y="152"/>
                  </a:cubicBezTo>
                  <a:cubicBezTo>
                    <a:pt x="77" y="154"/>
                    <a:pt x="81" y="156"/>
                    <a:pt x="84" y="159"/>
                  </a:cubicBezTo>
                  <a:cubicBezTo>
                    <a:pt x="87" y="161"/>
                    <a:pt x="90" y="163"/>
                    <a:pt x="92" y="167"/>
                  </a:cubicBezTo>
                  <a:cubicBezTo>
                    <a:pt x="94" y="170"/>
                    <a:pt x="95" y="174"/>
                    <a:pt x="95" y="178"/>
                  </a:cubicBezTo>
                  <a:cubicBezTo>
                    <a:pt x="96" y="183"/>
                    <a:pt x="96" y="189"/>
                    <a:pt x="96" y="196"/>
                  </a:cubicBezTo>
                  <a:cubicBezTo>
                    <a:pt x="96" y="203"/>
                    <a:pt x="96" y="209"/>
                    <a:pt x="95" y="214"/>
                  </a:cubicBezTo>
                  <a:cubicBezTo>
                    <a:pt x="94" y="218"/>
                    <a:pt x="92" y="222"/>
                    <a:pt x="89" y="225"/>
                  </a:cubicBezTo>
                  <a:cubicBezTo>
                    <a:pt x="85" y="230"/>
                    <a:pt x="78" y="233"/>
                    <a:pt x="69" y="233"/>
                  </a:cubicBezTo>
                  <a:cubicBezTo>
                    <a:pt x="64" y="233"/>
                    <a:pt x="60" y="232"/>
                    <a:pt x="57" y="231"/>
                  </a:cubicBezTo>
                  <a:cubicBezTo>
                    <a:pt x="54" y="229"/>
                    <a:pt x="52" y="228"/>
                    <a:pt x="50" y="226"/>
                  </a:cubicBezTo>
                  <a:cubicBezTo>
                    <a:pt x="47" y="222"/>
                    <a:pt x="45" y="218"/>
                    <a:pt x="44" y="214"/>
                  </a:cubicBezTo>
                  <a:cubicBezTo>
                    <a:pt x="43" y="209"/>
                    <a:pt x="42" y="203"/>
                    <a:pt x="42" y="196"/>
                  </a:cubicBezTo>
                  <a:cubicBezTo>
                    <a:pt x="0" y="196"/>
                    <a:pt x="0" y="196"/>
                    <a:pt x="0" y="196"/>
                  </a:cubicBezTo>
                  <a:cubicBezTo>
                    <a:pt x="0" y="210"/>
                    <a:pt x="2" y="222"/>
                    <a:pt x="4" y="230"/>
                  </a:cubicBezTo>
                  <a:cubicBezTo>
                    <a:pt x="7" y="239"/>
                    <a:pt x="11" y="247"/>
                    <a:pt x="17" y="253"/>
                  </a:cubicBezTo>
                  <a:cubicBezTo>
                    <a:pt x="29" y="265"/>
                    <a:pt x="46" y="271"/>
                    <a:pt x="69" y="271"/>
                  </a:cubicBezTo>
                  <a:cubicBezTo>
                    <a:pt x="81" y="271"/>
                    <a:pt x="91" y="269"/>
                    <a:pt x="100" y="266"/>
                  </a:cubicBezTo>
                  <a:cubicBezTo>
                    <a:pt x="108" y="263"/>
                    <a:pt x="116" y="258"/>
                    <a:pt x="121" y="253"/>
                  </a:cubicBezTo>
                  <a:cubicBezTo>
                    <a:pt x="128" y="247"/>
                    <a:pt x="132" y="239"/>
                    <a:pt x="135" y="229"/>
                  </a:cubicBezTo>
                  <a:cubicBezTo>
                    <a:pt x="137" y="220"/>
                    <a:pt x="138" y="208"/>
                    <a:pt x="138" y="194"/>
                  </a:cubicBezTo>
                  <a:cubicBezTo>
                    <a:pt x="138" y="183"/>
                    <a:pt x="138" y="174"/>
                    <a:pt x="136" y="166"/>
                  </a:cubicBezTo>
                  <a:cubicBezTo>
                    <a:pt x="135" y="158"/>
                    <a:pt x="133" y="151"/>
                    <a:pt x="130" y="145"/>
                  </a:cubicBezTo>
                  <a:cubicBezTo>
                    <a:pt x="127" y="139"/>
                    <a:pt x="123" y="135"/>
                    <a:pt x="118" y="131"/>
                  </a:cubicBezTo>
                  <a:cubicBezTo>
                    <a:pt x="112" y="127"/>
                    <a:pt x="106" y="123"/>
                    <a:pt x="98" y="120"/>
                  </a:cubicBezTo>
                  <a:cubicBezTo>
                    <a:pt x="66" y="107"/>
                    <a:pt x="66" y="107"/>
                    <a:pt x="66" y="107"/>
                  </a:cubicBezTo>
                  <a:cubicBezTo>
                    <a:pt x="62" y="105"/>
                    <a:pt x="58" y="103"/>
                    <a:pt x="55" y="101"/>
                  </a:cubicBezTo>
                  <a:cubicBezTo>
                    <a:pt x="52" y="99"/>
                    <a:pt x="50" y="97"/>
                    <a:pt x="48" y="94"/>
                  </a:cubicBezTo>
                  <a:cubicBezTo>
                    <a:pt x="47" y="92"/>
                    <a:pt x="46" y="89"/>
                    <a:pt x="45" y="85"/>
                  </a:cubicBezTo>
                  <a:cubicBezTo>
                    <a:pt x="45" y="81"/>
                    <a:pt x="44" y="77"/>
                    <a:pt x="44" y="71"/>
                  </a:cubicBezTo>
                  <a:cubicBezTo>
                    <a:pt x="44" y="59"/>
                    <a:pt x="47" y="50"/>
                    <a:pt x="52" y="45"/>
                  </a:cubicBezTo>
                  <a:cubicBezTo>
                    <a:pt x="53" y="43"/>
                    <a:pt x="56" y="41"/>
                    <a:pt x="59" y="40"/>
                  </a:cubicBezTo>
                  <a:cubicBezTo>
                    <a:pt x="62" y="38"/>
                    <a:pt x="65" y="37"/>
                    <a:pt x="69" y="37"/>
                  </a:cubicBezTo>
                  <a:cubicBezTo>
                    <a:pt x="78" y="37"/>
                    <a:pt x="84" y="40"/>
                    <a:pt x="88" y="45"/>
                  </a:cubicBezTo>
                  <a:cubicBezTo>
                    <a:pt x="91" y="49"/>
                    <a:pt x="93" y="53"/>
                    <a:pt x="93" y="58"/>
                  </a:cubicBezTo>
                  <a:cubicBezTo>
                    <a:pt x="94" y="62"/>
                    <a:pt x="94" y="68"/>
                    <a:pt x="94" y="74"/>
                  </a:cubicBezTo>
                  <a:cubicBezTo>
                    <a:pt x="136" y="74"/>
                    <a:pt x="136" y="74"/>
                    <a:pt x="136" y="74"/>
                  </a:cubicBezTo>
                  <a:cubicBezTo>
                    <a:pt x="136" y="61"/>
                    <a:pt x="135" y="50"/>
                    <a:pt x="132" y="40"/>
                  </a:cubicBezTo>
                  <a:cubicBezTo>
                    <a:pt x="129" y="31"/>
                    <a:pt x="125" y="23"/>
                    <a:pt x="118" y="16"/>
                  </a:cubicBezTo>
                  <a:cubicBezTo>
                    <a:pt x="106" y="5"/>
                    <a:pt x="90" y="0"/>
                    <a:pt x="70"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2" name="Freeform 19"/>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3" name="Freeform 20"/>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4" name="Rectangle 21"/>
            <p:cNvSpPr>
              <a:spLocks noChangeArrowheads="1"/>
            </p:cNvSpPr>
            <p:nvPr userDrawn="1"/>
          </p:nvSpPr>
          <p:spPr bwMode="auto">
            <a:xfrm>
              <a:off x="6861" y="3723"/>
              <a:ext cx="30" cy="192"/>
            </a:xfrm>
            <a:prstGeom prst="rect">
              <a:avLst/>
            </a:prstGeom>
            <a:solidFill>
              <a:srgbClr val="08B1F0">
                <a:alpha val="8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5" name="Rectangle 22"/>
            <p:cNvSpPr>
              <a:spLocks noChangeArrowheads="1"/>
            </p:cNvSpPr>
            <p:nvPr userDrawn="1"/>
          </p:nvSpPr>
          <p:spPr bwMode="auto">
            <a:xfrm>
              <a:off x="6861" y="3723"/>
              <a:ext cx="3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6" name="Freeform 23"/>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7" name="Freeform 24"/>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8" name="Freeform 25"/>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39" name="Freeform 26"/>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185917221"/>
      </p:ext>
    </p:extLst>
  </p:cSld>
  <p:clrMapOvr>
    <a:masterClrMapping/>
  </p:clrMapOvr>
  <p:transition>
    <p:fade/>
  </p:transition>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4" name="Footer Placeholder 3" hidden="1"/>
          <p:cNvSpPr>
            <a:spLocks noGrp="1"/>
          </p:cNvSpPr>
          <p:nvPr userDrawn="1">
            <p:ph type="ftr" sz="quarter" idx="11"/>
          </p:nvPr>
        </p:nvSpPr>
        <p:spPr/>
        <p:txBody>
          <a:bodyPr/>
          <a:lstStyle>
            <a:lvl1pPr>
              <a:defRPr/>
            </a:lvl1pPr>
          </a:lstStyle>
          <a:p>
            <a:endParaRPr lang="en-US" dirty="0"/>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2"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3" cstate="screen">
            <a:grayscl/>
            <a:alphaModFix amt="70000"/>
            <a:extLst>
              <a:ext uri="{28A0092B-C50C-407E-A947-70E740481C1C}">
                <a14:useLocalDpi xmlns:a14="http://schemas.microsoft.com/office/drawing/2010/main"/>
              </a:ext>
            </a:extLst>
          </a:blip>
          <a:srcRect/>
          <a:stretch/>
        </p:blipFill>
        <p:spPr>
          <a:xfrm>
            <a:off x="8630500" y="-1405915"/>
            <a:ext cx="4802094" cy="2251739"/>
          </a:xfrm>
          <a:prstGeom prst="rect">
            <a:avLst/>
          </a:prstGeom>
        </p:spPr>
      </p:pic>
      <p:pic>
        <p:nvPicPr>
          <p:cNvPr id="17" name="Picture 16" descr="A picture containing comb&#10;&#10;Description automatically generated">
            <a:extLst>
              <a:ext uri="{FF2B5EF4-FFF2-40B4-BE49-F238E27FC236}">
                <a16:creationId xmlns:a16="http://schemas.microsoft.com/office/drawing/2014/main" id="{B73E91CB-9BDB-4070-A647-827134A27200}"/>
              </a:ext>
            </a:extLst>
          </p:cNvPr>
          <p:cNvPicPr>
            <a:picLocks noChangeAspect="1"/>
          </p:cNvPicPr>
          <p:nvPr userDrawn="1"/>
        </p:nvPicPr>
        <p:blipFill rotWithShape="1">
          <a:blip r:embed="rId4" cstate="print">
            <a:alphaModFix amt="70000"/>
            <a:biLevel thresh="25000"/>
            <a:extLst>
              <a:ext uri="{28A0092B-C50C-407E-A947-70E740481C1C}">
                <a14:useLocalDpi xmlns:a14="http://schemas.microsoft.com/office/drawing/2010/main"/>
              </a:ext>
            </a:extLst>
          </a:blip>
          <a:srcRect t="-5181"/>
          <a:stretch/>
        </p:blipFill>
        <p:spPr>
          <a:xfrm flipH="1">
            <a:off x="-106093" y="4124759"/>
            <a:ext cx="3121449" cy="1748800"/>
          </a:xfrm>
          <a:prstGeom prst="rect">
            <a:avLst/>
          </a:prstGeom>
        </p:spPr>
      </p:pic>
      <p:pic>
        <p:nvPicPr>
          <p:cNvPr id="24" name="Picture 23" descr="A picture containing object, comb&#10;&#10;Description automatically generated">
            <a:extLst>
              <a:ext uri="{FF2B5EF4-FFF2-40B4-BE49-F238E27FC236}">
                <a16:creationId xmlns:a16="http://schemas.microsoft.com/office/drawing/2014/main" id="{7EE510AA-5A9D-4084-A606-8ED53F68829A}"/>
              </a:ext>
            </a:extLst>
          </p:cNvPr>
          <p:cNvPicPr>
            <a:picLocks noChangeAspect="1"/>
          </p:cNvPicPr>
          <p:nvPr userDrawn="1"/>
        </p:nvPicPr>
        <p:blipFill rotWithShape="1">
          <a:blip r:embed="rId5" cstate="screen">
            <a:duotone>
              <a:prstClr val="black"/>
              <a:schemeClr val="accent1">
                <a:tint val="45000"/>
                <a:satMod val="400000"/>
              </a:schemeClr>
            </a:duotone>
            <a:alphaModFix/>
            <a:extLst>
              <a:ext uri="{28A0092B-C50C-407E-A947-70E740481C1C}">
                <a14:useLocalDpi xmlns:a14="http://schemas.microsoft.com/office/drawing/2010/main"/>
              </a:ext>
            </a:extLst>
          </a:blip>
          <a:srcRect/>
          <a:stretch/>
        </p:blipFill>
        <p:spPr>
          <a:xfrm>
            <a:off x="-150811" y="5677025"/>
            <a:ext cx="6038251" cy="1225953"/>
          </a:xfrm>
          <a:prstGeom prst="rect">
            <a:avLst/>
          </a:prstGeom>
        </p:spPr>
      </p:pic>
      <p:sp>
        <p:nvSpPr>
          <p:cNvPr id="2" name="Date Placeholder 1"/>
          <p:cNvSpPr>
            <a:spLocks noGrp="1"/>
          </p:cNvSpPr>
          <p:nvPr>
            <p:ph type="dt" sz="half" idx="12"/>
          </p:nvPr>
        </p:nvSpPr>
        <p:spPr/>
        <p:txBody>
          <a:bodyPr/>
          <a:lstStyle>
            <a:lvl1pPr>
              <a:defRPr/>
            </a:lvl1pPr>
          </a:lstStyle>
          <a:p>
            <a:fld id="{8C968F5C-3BA0-4D89-916A-3025CE596C4C}" type="datetimeFigureOut">
              <a:rPr lang="en-US" smtClean="0"/>
              <a:pPr/>
              <a:t>29-Feb-24</a:t>
            </a:fld>
            <a:endParaRPr lang="en-US" dirty="0"/>
          </a:p>
        </p:txBody>
      </p:sp>
    </p:spTree>
    <p:extLst>
      <p:ext uri="{BB962C8B-B14F-4D97-AF65-F5344CB8AC3E}">
        <p14:creationId xmlns:p14="http://schemas.microsoft.com/office/powerpoint/2010/main" val="4193330310"/>
      </p:ext>
    </p:extLst>
  </p:cSld>
  <p:clrMapOvr>
    <a:masterClrMapping/>
  </p:clrMapOvr>
  <p:transition>
    <p:fade/>
  </p:transition>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_1">
    <p:spTree>
      <p:nvGrpSpPr>
        <p:cNvPr id="1" name=""/>
        <p:cNvGrpSpPr/>
        <p:nvPr/>
      </p:nvGrpSpPr>
      <p:grpSpPr>
        <a:xfrm>
          <a:off x="0" y="0"/>
          <a:ext cx="0" cy="0"/>
          <a:chOff x="0" y="0"/>
          <a:chExt cx="0" cy="0"/>
        </a:xfrm>
      </p:grpSpPr>
      <p:sp>
        <p:nvSpPr>
          <p:cNvPr id="4" name="Footer Placeholder 3" hidden="1"/>
          <p:cNvSpPr>
            <a:spLocks noGrp="1"/>
          </p:cNvSpPr>
          <p:nvPr userDrawn="1">
            <p:ph type="ftr" sz="quarter" idx="11"/>
          </p:nvPr>
        </p:nvSpPr>
        <p:spPr/>
        <p:txBody>
          <a:bodyPr/>
          <a:lstStyle>
            <a:lvl1pPr>
              <a:defRPr/>
            </a:lvl1pPr>
          </a:lstStyle>
          <a:p>
            <a:endParaRPr lang="en-US" dirty="0"/>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2"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3" cstate="print">
            <a:grayscl/>
            <a:alphaModFix amt="70000"/>
            <a:extLst>
              <a:ext uri="{28A0092B-C50C-407E-A947-70E740481C1C}">
                <a14:useLocalDpi xmlns:a14="http://schemas.microsoft.com/office/drawing/2010/main"/>
              </a:ext>
            </a:extLst>
          </a:blip>
          <a:srcRect/>
          <a:stretch/>
        </p:blipFill>
        <p:spPr>
          <a:xfrm>
            <a:off x="8630500" y="-1405915"/>
            <a:ext cx="4802094" cy="2251739"/>
          </a:xfrm>
          <a:prstGeom prst="rect">
            <a:avLst/>
          </a:prstGeom>
        </p:spPr>
      </p:pic>
      <p:sp>
        <p:nvSpPr>
          <p:cNvPr id="2" name="Date Placeholder 1"/>
          <p:cNvSpPr>
            <a:spLocks noGrp="1"/>
          </p:cNvSpPr>
          <p:nvPr>
            <p:ph type="dt" sz="half" idx="12"/>
          </p:nvPr>
        </p:nvSpPr>
        <p:spPr/>
        <p:txBody>
          <a:bodyPr/>
          <a:lstStyle>
            <a:lvl1pPr>
              <a:defRPr/>
            </a:lvl1pPr>
          </a:lstStyle>
          <a:p>
            <a:fld id="{BACB0C39-AABC-4609-8BCC-DE0E90CAC45F}" type="datetimeFigureOut">
              <a:rPr lang="en-US" smtClean="0"/>
              <a:pPr/>
              <a:t>29-Feb-24</a:t>
            </a:fld>
            <a:endParaRPr lang="en-US" dirty="0"/>
          </a:p>
        </p:txBody>
      </p:sp>
    </p:spTree>
    <p:extLst>
      <p:ext uri="{BB962C8B-B14F-4D97-AF65-F5344CB8AC3E}">
        <p14:creationId xmlns:p14="http://schemas.microsoft.com/office/powerpoint/2010/main" val="1946883951"/>
      </p:ext>
    </p:extLst>
  </p:cSld>
  <p:clrMapOvr>
    <a:masterClrMapping/>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lide Title"/>
          <p:cNvSpPr>
            <a:spLocks noGrp="1"/>
          </p:cNvSpPr>
          <p:nvPr>
            <p:ph type="title"/>
          </p:nvPr>
        </p:nvSpPr>
        <p:spPr>
          <a:xfrm>
            <a:off x="583843"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spTree>
    <p:extLst>
      <p:ext uri="{BB962C8B-B14F-4D97-AF65-F5344CB8AC3E}">
        <p14:creationId xmlns:p14="http://schemas.microsoft.com/office/powerpoint/2010/main" val="1562491957"/>
      </p:ext>
    </p:extLst>
  </p:cSld>
  <p:clrMapOvr>
    <a:masterClrMapping/>
  </p:clrMapOvr>
  <p:transition>
    <p:fade/>
  </p:transition>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pic>
        <p:nvPicPr>
          <p:cNvPr id="7" name="Content Placeholder 38" descr="A person sitting at a table using a computer&#10;&#10;Description automatically generated">
            <a:extLst>
              <a:ext uri="{FF2B5EF4-FFF2-40B4-BE49-F238E27FC236}">
                <a16:creationId xmlns:a16="http://schemas.microsoft.com/office/drawing/2014/main" id="{8DD4190E-E75D-4106-896E-51605FEED9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7204"/>
          <a:stretch/>
        </p:blipFill>
        <p:spPr bwMode="auto">
          <a:xfrm flipH="1">
            <a:off x="1" y="-61161"/>
            <a:ext cx="12239145"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Content Placeholder 38" descr="A person sitting at a table using a computer&#10;&#10;Description automatically generated">
            <a:extLst>
              <a:ext uri="{FF2B5EF4-FFF2-40B4-BE49-F238E27FC236}">
                <a16:creationId xmlns:a16="http://schemas.microsoft.com/office/drawing/2014/main" id="{226CAAE4-4EB8-4769-B01C-460DA1F7AAB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flipH="1">
            <a:off x="9631678" y="-61161"/>
            <a:ext cx="2565450"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615A9E37-867B-4A0B-A4F4-03BA8FCC78A6}"/>
              </a:ext>
            </a:extLst>
          </p:cNvPr>
          <p:cNvSpPr/>
          <p:nvPr userDrawn="1"/>
        </p:nvSpPr>
        <p:spPr bwMode="auto">
          <a:xfrm>
            <a:off x="-50320" y="-71552"/>
            <a:ext cx="12239145" cy="65757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spTree>
    <p:extLst>
      <p:ext uri="{BB962C8B-B14F-4D97-AF65-F5344CB8AC3E}">
        <p14:creationId xmlns:p14="http://schemas.microsoft.com/office/powerpoint/2010/main" val="4291680066"/>
      </p:ext>
    </p:extLst>
  </p:cSld>
  <p:clrMapOvr>
    <a:masterClrMapping/>
  </p:clrMapOvr>
  <p:transition>
    <p:fade/>
  </p:transition>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sp>
        <p:nvSpPr>
          <p:cNvPr id="7" name="Rectangle 6">
            <a:extLst>
              <a:ext uri="{FF2B5EF4-FFF2-40B4-BE49-F238E27FC236}">
                <a16:creationId xmlns:a16="http://schemas.microsoft.com/office/drawing/2014/main" id="{C92912BA-C7F3-47CF-8716-251ABB961FB4}"/>
              </a:ext>
            </a:extLst>
          </p:cNvPr>
          <p:cNvSpPr/>
          <p:nvPr userDrawn="1"/>
        </p:nvSpPr>
        <p:spPr bwMode="auto">
          <a:xfrm>
            <a:off x="1" y="-10993"/>
            <a:ext cx="12281197" cy="6535023"/>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pic>
        <p:nvPicPr>
          <p:cNvPr id="10" name="Picture 9" descr="A picture containing comb&#10;&#10;Description automatically generated">
            <a:extLst>
              <a:ext uri="{FF2B5EF4-FFF2-40B4-BE49-F238E27FC236}">
                <a16:creationId xmlns:a16="http://schemas.microsoft.com/office/drawing/2014/main" id="{F4FE5F97-146D-4CA4-930E-0408ACB38F6D}"/>
              </a:ext>
            </a:extLst>
          </p:cNvPr>
          <p:cNvPicPr>
            <a:picLocks noChangeAspect="1"/>
          </p:cNvPicPr>
          <p:nvPr/>
        </p:nvPicPr>
        <p:blipFill rotWithShape="1">
          <a:blip r:embed="rId2" cstate="screen">
            <a:lum bright="70000" contrast="-70000"/>
            <a:alphaModFix/>
            <a:extLst>
              <a:ext uri="{28A0092B-C50C-407E-A947-70E740481C1C}">
                <a14:useLocalDpi xmlns:a14="http://schemas.microsoft.com/office/drawing/2010/main"/>
              </a:ext>
            </a:extLst>
          </a:blip>
          <a:srcRect/>
          <a:stretch/>
        </p:blipFill>
        <p:spPr>
          <a:xfrm>
            <a:off x="3578996" y="116310"/>
            <a:ext cx="2926443" cy="1372232"/>
          </a:xfrm>
          <a:prstGeom prst="rect">
            <a:avLst/>
          </a:prstGeom>
        </p:spPr>
      </p:pic>
      <p:pic>
        <p:nvPicPr>
          <p:cNvPr id="11" name="Picture 10" descr="A picture containing comb&#10;&#10;Description automatically generated">
            <a:extLst>
              <a:ext uri="{FF2B5EF4-FFF2-40B4-BE49-F238E27FC236}">
                <a16:creationId xmlns:a16="http://schemas.microsoft.com/office/drawing/2014/main" id="{D2C1876E-B148-42B6-BB96-2F90C8680721}"/>
              </a:ext>
            </a:extLst>
          </p:cNvPr>
          <p:cNvPicPr>
            <a:picLocks noChangeAspect="1"/>
          </p:cNvPicPr>
          <p:nvPr userDrawn="1"/>
        </p:nvPicPr>
        <p:blipFill rotWithShape="1">
          <a:blip r:embed="rId3" cstate="screen">
            <a:duotone>
              <a:prstClr val="black"/>
              <a:schemeClr val="tx2">
                <a:tint val="45000"/>
                <a:satMod val="400000"/>
              </a:schemeClr>
            </a:duotone>
            <a:alphaModFix amt="85000"/>
            <a:extLst>
              <a:ext uri="{28A0092B-C50C-407E-A947-70E740481C1C}">
                <a14:useLocalDpi xmlns:a14="http://schemas.microsoft.com/office/drawing/2010/main"/>
              </a:ext>
            </a:extLst>
          </a:blip>
          <a:srcRect/>
          <a:stretch/>
        </p:blipFill>
        <p:spPr>
          <a:xfrm flipH="1">
            <a:off x="0" y="4175777"/>
            <a:ext cx="3269010" cy="1372232"/>
          </a:xfrm>
          <a:prstGeom prst="rect">
            <a:avLst/>
          </a:prstGeom>
        </p:spPr>
      </p:pic>
    </p:spTree>
    <p:extLst>
      <p:ext uri="{BB962C8B-B14F-4D97-AF65-F5344CB8AC3E}">
        <p14:creationId xmlns:p14="http://schemas.microsoft.com/office/powerpoint/2010/main" val="523203360"/>
      </p:ext>
    </p:extLst>
  </p:cSld>
  <p:clrMapOvr>
    <a:masterClrMapping/>
  </p:clrMapOvr>
  <p:transition>
    <p:fade/>
  </p:transition>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pic>
        <p:nvPicPr>
          <p:cNvPr id="7" name="Picture 6" descr="A person sitting in front of a building&#10;&#10;Description automatically generated">
            <a:extLst>
              <a:ext uri="{FF2B5EF4-FFF2-40B4-BE49-F238E27FC236}">
                <a16:creationId xmlns:a16="http://schemas.microsoft.com/office/drawing/2014/main" id="{6AEBA8B7-4955-4263-AB3A-53337A95BE5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30480"/>
            <a:ext cx="12188824" cy="6536175"/>
          </a:xfrm>
          <a:prstGeom prst="rect">
            <a:avLst/>
          </a:prstGeom>
        </p:spPr>
      </p:pic>
      <p:sp>
        <p:nvSpPr>
          <p:cNvPr id="8" name="Rectangle 7">
            <a:extLst>
              <a:ext uri="{FF2B5EF4-FFF2-40B4-BE49-F238E27FC236}">
                <a16:creationId xmlns:a16="http://schemas.microsoft.com/office/drawing/2014/main" id="{E756A239-DC06-46AD-AEA3-550F22C145F5}"/>
              </a:ext>
            </a:extLst>
          </p:cNvPr>
          <p:cNvSpPr/>
          <p:nvPr userDrawn="1"/>
        </p:nvSpPr>
        <p:spPr bwMode="auto">
          <a:xfrm>
            <a:off x="-24201" y="-30480"/>
            <a:ext cx="12222161" cy="6536175"/>
          </a:xfrm>
          <a:prstGeom prst="rect">
            <a:avLst/>
          </a:prstGeom>
          <a:solidFill>
            <a:schemeClr val="accent6">
              <a:alpha val="67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spTree>
    <p:extLst>
      <p:ext uri="{BB962C8B-B14F-4D97-AF65-F5344CB8AC3E}">
        <p14:creationId xmlns:p14="http://schemas.microsoft.com/office/powerpoint/2010/main" val="339745642"/>
      </p:ext>
    </p:extLst>
  </p:cSld>
  <p:clrMapOvr>
    <a:masterClrMapping/>
  </p:clrMapOvr>
  <p:transition>
    <p:fade/>
  </p:transition>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tandard Title and Bullets">
    <p:spTree>
      <p:nvGrpSpPr>
        <p:cNvPr id="1" name=""/>
        <p:cNvGrpSpPr/>
        <p:nvPr/>
      </p:nvGrpSpPr>
      <p:grpSpPr>
        <a:xfrm>
          <a:off x="0" y="0"/>
          <a:ext cx="0" cy="0"/>
          <a:chOff x="0" y="0"/>
          <a:chExt cx="0" cy="0"/>
        </a:xfrm>
      </p:grpSpPr>
      <p:pic>
        <p:nvPicPr>
          <p:cNvPr id="8" name="Picture 7" descr="A picture containing outdoor, person, building, person&#10;&#10;Description automatically generated">
            <a:extLst>
              <a:ext uri="{FF2B5EF4-FFF2-40B4-BE49-F238E27FC236}">
                <a16:creationId xmlns:a16="http://schemas.microsoft.com/office/drawing/2014/main" id="{6183CDA4-0500-4D54-8060-6AE889F934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11575"/>
            <a:ext cx="12188825" cy="6535694"/>
          </a:xfrm>
          <a:prstGeom prst="rect">
            <a:avLst/>
          </a:prstGeom>
        </p:spPr>
      </p:pic>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2" y="481"/>
            <a:ext cx="12188825" cy="6535694"/>
          </a:xfrm>
          <a:prstGeom prst="rect">
            <a:avLst/>
          </a:prstGeom>
          <a:gradFill>
            <a:gsLst>
              <a:gs pos="98000">
                <a:srgbClr val="00153E"/>
              </a:gs>
              <a:gs pos="53000">
                <a:schemeClr val="accent6">
                  <a:alpha val="51000"/>
                </a:schemeClr>
              </a:gs>
            </a:gsLst>
            <a:lin ang="5400000" scaled="1"/>
          </a:gra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spTree>
    <p:extLst>
      <p:ext uri="{BB962C8B-B14F-4D97-AF65-F5344CB8AC3E}">
        <p14:creationId xmlns:p14="http://schemas.microsoft.com/office/powerpoint/2010/main" val="1260883696"/>
      </p:ext>
    </p:extLst>
  </p:cSld>
  <p:clrMapOvr>
    <a:masterClrMapping/>
  </p:clrMapOvr>
  <p:transition>
    <p:fade/>
  </p:transition>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tandard Title and Bullets">
    <p:spTree>
      <p:nvGrpSpPr>
        <p:cNvPr id="1" name=""/>
        <p:cNvGrpSpPr/>
        <p:nvPr/>
      </p:nvGrpSpPr>
      <p:grpSpPr>
        <a:xfrm>
          <a:off x="0" y="0"/>
          <a:ext cx="0" cy="0"/>
          <a:chOff x="0" y="0"/>
          <a:chExt cx="0" cy="0"/>
        </a:xfrm>
      </p:grpSpPr>
      <p:pic>
        <p:nvPicPr>
          <p:cNvPr id="11" name="Picture 10" descr="A person sitting on a bench talking on a cell phone&#10;&#10;Description automatically generated">
            <a:extLst>
              <a:ext uri="{FF2B5EF4-FFF2-40B4-BE49-F238E27FC236}">
                <a16:creationId xmlns:a16="http://schemas.microsoft.com/office/drawing/2014/main" id="{57990645-8350-4F63-BA84-BF625A9DE0D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632"/>
          <a:stretch/>
        </p:blipFill>
        <p:spPr>
          <a:xfrm flipH="1">
            <a:off x="2011680" y="-38101"/>
            <a:ext cx="11816862" cy="6536176"/>
          </a:xfrm>
          <a:prstGeom prst="rect">
            <a:avLst/>
          </a:prstGeom>
        </p:spPr>
      </p:pic>
      <p:pic>
        <p:nvPicPr>
          <p:cNvPr id="10" name="Picture 9" descr="A person sitting on a bench talking on a cell phone&#10;&#10;Description automatically generated">
            <a:extLst>
              <a:ext uri="{FF2B5EF4-FFF2-40B4-BE49-F238E27FC236}">
                <a16:creationId xmlns:a16="http://schemas.microsoft.com/office/drawing/2014/main" id="{0A288011-D1AE-4F1E-A77A-E3436352B32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5318"/>
          <a:stretch/>
        </p:blipFill>
        <p:spPr>
          <a:xfrm flipH="1">
            <a:off x="0" y="-27710"/>
            <a:ext cx="11816862" cy="6536176"/>
          </a:xfrm>
          <a:prstGeom prst="rect">
            <a:avLst/>
          </a:prstGeom>
        </p:spPr>
      </p:pic>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pPr/>
              <a:t>29-Feb-24</a:t>
            </a:fld>
            <a:endParaRPr lang="en-US" dirty="0"/>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1" y="-27710"/>
            <a:ext cx="12188826" cy="65361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sp>
        <p:nvSpPr>
          <p:cNvPr id="6" name="Rectangle 5">
            <a:extLst>
              <a:ext uri="{FF2B5EF4-FFF2-40B4-BE49-F238E27FC236}">
                <a16:creationId xmlns:a16="http://schemas.microsoft.com/office/drawing/2014/main" id="{C0B7BB4A-670A-4FD0-B578-7D3EE4B0F1AE}"/>
              </a:ext>
            </a:extLst>
          </p:cNvPr>
          <p:cNvSpPr/>
          <p:nvPr userDrawn="1"/>
        </p:nvSpPr>
        <p:spPr bwMode="auto">
          <a:xfrm>
            <a:off x="-371962" y="4637944"/>
            <a:ext cx="8906362" cy="1879183"/>
          </a:xfrm>
          <a:prstGeom prst="rect">
            <a:avLst/>
          </a:prstGeom>
          <a:solidFill>
            <a:srgbClr val="111F46">
              <a:alpha val="85000"/>
            </a:srgbClr>
          </a:solidFill>
          <a:ln w="12700" algn="ctr">
            <a:noFill/>
            <a:miter lim="800000"/>
            <a:headEnd/>
            <a:tailEnd/>
          </a:ln>
          <a:effectLst>
            <a:softEdge rad="444500"/>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err="1">
              <a:latin typeface="+mn-lt"/>
              <a:cs typeface="Calibri" panose="020F0502020204030204" pitchFamily="34" charset="0"/>
            </a:endParaRPr>
          </a:p>
        </p:txBody>
      </p:sp>
    </p:spTree>
    <p:extLst>
      <p:ext uri="{BB962C8B-B14F-4D97-AF65-F5344CB8AC3E}">
        <p14:creationId xmlns:p14="http://schemas.microsoft.com/office/powerpoint/2010/main" val="2631128623"/>
      </p:ext>
    </p:extLst>
  </p:cSld>
  <p:clrMapOvr>
    <a:masterClrMapping/>
  </p:clrMapOvr>
  <p:transition>
    <p:fade/>
  </p:transition>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p:txBody>
          <a:bodyPr/>
          <a:lstStyle>
            <a:lvl1pPr>
              <a:defRPr/>
            </a:lvl1pPr>
          </a:lstStyle>
          <a:p>
            <a:fld id="{134CC77D-A670-4E5A-8F8D-887119647D20}" type="datetimeFigureOut">
              <a:rPr lang="en-US" smtClean="0"/>
              <a:pPr/>
              <a:t>29-Feb-24</a:t>
            </a:fld>
            <a:endParaRPr lang="en-US" dirty="0"/>
          </a:p>
        </p:txBody>
      </p:sp>
    </p:spTree>
    <p:extLst>
      <p:ext uri="{BB962C8B-B14F-4D97-AF65-F5344CB8AC3E}">
        <p14:creationId xmlns:p14="http://schemas.microsoft.com/office/powerpoint/2010/main" val="1861535302"/>
      </p:ext>
    </p:extLst>
  </p:cSld>
  <p:clrMapOvr>
    <a:masterClrMapping/>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rpora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endParaRPr lang="en-US" dirty="0"/>
          </a:p>
        </p:txBody>
      </p:sp>
      <p:pic>
        <p:nvPicPr>
          <p:cNvPr id="10" name="Backgrouind image"/>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140" y="-17203"/>
            <a:ext cx="12221815" cy="687477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60"/>
            <a:ext cx="2728800" cy="464477"/>
          </a:xfrm>
          <a:prstGeom prst="rect">
            <a:avLst/>
          </a:prstGeom>
        </p:spPr>
      </p:pic>
      <p:sp>
        <p:nvSpPr>
          <p:cNvPr id="13" name="Speaker name and date"/>
          <p:cNvSpPr>
            <a:spLocks noGrp="1"/>
          </p:cNvSpPr>
          <p:nvPr userDrawn="1">
            <p:ph type="subTitle" idx="1" hasCustomPrompt="1"/>
          </p:nvPr>
        </p:nvSpPr>
        <p:spPr>
          <a:xfrm>
            <a:off x="1053260" y="4870700"/>
            <a:ext cx="5804989" cy="692595"/>
          </a:xfrm>
          <a:prstGeom prst="rect">
            <a:avLst/>
          </a:prstGeom>
        </p:spPr>
        <p:txBody>
          <a:bodyPr lIns="91440" tIns="45720" rIns="91440" bIns="45720" anchor="t" anchorCtr="0">
            <a:noAutofit/>
          </a:bodyPr>
          <a:lstStyle>
            <a:lvl1pPr marL="0" indent="0" algn="l">
              <a:lnSpc>
                <a:spcPts val="2665"/>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9178" indent="0" algn="ctr">
              <a:buNone/>
              <a:defRPr>
                <a:solidFill>
                  <a:schemeClr val="tx1">
                    <a:tint val="75000"/>
                  </a:schemeClr>
                </a:solidFill>
              </a:defRPr>
            </a:lvl2pPr>
            <a:lvl3pPr marL="1218366" indent="0" algn="ctr">
              <a:buNone/>
              <a:defRPr>
                <a:solidFill>
                  <a:schemeClr val="tx1">
                    <a:tint val="75000"/>
                  </a:schemeClr>
                </a:solidFill>
              </a:defRPr>
            </a:lvl3pPr>
            <a:lvl4pPr marL="1827549" indent="0" algn="ctr">
              <a:buNone/>
              <a:defRPr>
                <a:solidFill>
                  <a:schemeClr val="tx1">
                    <a:tint val="75000"/>
                  </a:schemeClr>
                </a:solidFill>
              </a:defRPr>
            </a:lvl4pPr>
            <a:lvl5pPr marL="2436736" indent="0" algn="ctr">
              <a:buNone/>
              <a:defRPr>
                <a:solidFill>
                  <a:schemeClr val="tx1">
                    <a:tint val="75000"/>
                  </a:schemeClr>
                </a:solidFill>
              </a:defRPr>
            </a:lvl5pPr>
            <a:lvl6pPr marL="3045914" indent="0" algn="ctr">
              <a:buNone/>
              <a:defRPr>
                <a:solidFill>
                  <a:schemeClr val="tx1">
                    <a:tint val="75000"/>
                  </a:schemeClr>
                </a:solidFill>
              </a:defRPr>
            </a:lvl6pPr>
            <a:lvl7pPr marL="3655102" indent="0" algn="ctr">
              <a:buNone/>
              <a:defRPr>
                <a:solidFill>
                  <a:schemeClr val="tx1">
                    <a:tint val="75000"/>
                  </a:schemeClr>
                </a:solidFill>
              </a:defRPr>
            </a:lvl7pPr>
            <a:lvl8pPr marL="4264284" indent="0" algn="ctr">
              <a:buNone/>
              <a:defRPr>
                <a:solidFill>
                  <a:schemeClr val="tx1">
                    <a:tint val="75000"/>
                  </a:schemeClr>
                </a:solidFill>
              </a:defRPr>
            </a:lvl8pPr>
            <a:lvl9pPr marL="4873471"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1" y="2358681"/>
            <a:ext cx="5804989" cy="1071215"/>
          </a:xfrm>
          <a:prstGeom prst="rect">
            <a:avLst/>
          </a:prstGeom>
          <a:effectLst/>
        </p:spPr>
        <p:txBody>
          <a:bodyPr>
            <a:noAutofit/>
          </a:bodyPr>
          <a:lstStyle>
            <a:lvl1pPr marL="0" indent="0">
              <a:lnSpc>
                <a:spcPts val="3999"/>
              </a:lnSpc>
              <a:spcBef>
                <a:spcPts val="0"/>
              </a:spcBef>
              <a:buFontTx/>
              <a:buNone/>
              <a:defRPr sz="3399"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1"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399" b="0" baseline="0">
                <a:solidFill>
                  <a:schemeClr val="bg1"/>
                </a:solidFill>
                <a:latin typeface="Calibri" panose="020F0502020204030204" pitchFamily="34" charset="0"/>
                <a:cs typeface="Calibri" panose="020F0502020204030204" pitchFamily="34" charset="0"/>
              </a:defRPr>
            </a:lvl1pPr>
            <a:lvl2pPr marL="541524" indent="0">
              <a:buNone/>
              <a:defRPr/>
            </a:lvl2pPr>
            <a:lvl3pPr marL="759394" indent="0">
              <a:buNone/>
              <a:defRPr/>
            </a:lvl3pPr>
            <a:lvl4pPr marL="918046" indent="0">
              <a:buNone/>
              <a:defRPr/>
            </a:lvl4pPr>
            <a:lvl5pPr marL="1068231"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2"/>
            <a:ext cx="2843213" cy="365125"/>
          </a:xfrm>
        </p:spPr>
        <p:txBody>
          <a:bodyPr/>
          <a:lstStyle>
            <a:lvl1pPr>
              <a:defRPr/>
            </a:lvl1pPr>
          </a:lstStyle>
          <a:p>
            <a:fld id="{603289AC-4C12-4E6D-B39B-A4756814FEEC}" type="datetimeFigureOut">
              <a:rPr lang="en-US" smtClean="0"/>
              <a:pPr/>
              <a:t>29-Feb-24</a:t>
            </a:fld>
            <a:endParaRPr lang="en-US" dirty="0"/>
          </a:p>
        </p:txBody>
      </p:sp>
    </p:spTree>
    <p:extLst>
      <p:ext uri="{BB962C8B-B14F-4D97-AF65-F5344CB8AC3E}">
        <p14:creationId xmlns:p14="http://schemas.microsoft.com/office/powerpoint/2010/main" val="3193212398"/>
      </p:ext>
    </p:extLst>
  </p:cSld>
  <p:clrMapOvr>
    <a:masterClrMapping/>
  </p:clrMapOvr>
  <p:transition>
    <p:fade/>
  </p:transition>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pic>
        <p:nvPicPr>
          <p:cNvPr id="25" name="Picture 24"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2377441" y="-37087"/>
            <a:ext cx="9811385" cy="6548033"/>
          </a:xfrm>
          <a:prstGeom prst="rect">
            <a:avLst/>
          </a:prstGeom>
        </p:spPr>
      </p:pic>
      <p:pic>
        <p:nvPicPr>
          <p:cNvPr id="33" name="Picture 32" descr="A person sitting in front of a building&#10;&#10;Description automatically generated">
            <a:extLst>
              <a:ext uri="{FF2B5EF4-FFF2-40B4-BE49-F238E27FC236}">
                <a16:creationId xmlns:a16="http://schemas.microsoft.com/office/drawing/2014/main" id="{440C44E5-97D4-46EC-8312-058626078A8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0" y="-24473"/>
            <a:ext cx="2377440" cy="6548033"/>
          </a:xfrm>
          <a:prstGeom prst="rect">
            <a:avLst/>
          </a:prstGeom>
        </p:spPr>
      </p:pic>
      <p:sp>
        <p:nvSpPr>
          <p:cNvPr id="2" name="Date Placeholder 1"/>
          <p:cNvSpPr>
            <a:spLocks noGrp="1"/>
          </p:cNvSpPr>
          <p:nvPr>
            <p:ph type="dt" sz="half" idx="12"/>
          </p:nvPr>
        </p:nvSpPr>
        <p:spPr/>
        <p:txBody>
          <a:bodyPr/>
          <a:lstStyle>
            <a:lvl1pPr>
              <a:defRPr/>
            </a:lvl1pPr>
          </a:lstStyle>
          <a:p>
            <a:fld id="{87B03C6D-DCFA-4BFE-846C-133AFE97B5A6}" type="datetimeFigureOut">
              <a:rPr lang="en-US" smtClean="0"/>
              <a:pPr/>
              <a:t>29-Feb-24</a:t>
            </a:fld>
            <a:endParaRPr lang="en-US" dirty="0"/>
          </a:p>
        </p:txBody>
      </p:sp>
    </p:spTree>
    <p:extLst>
      <p:ext uri="{BB962C8B-B14F-4D97-AF65-F5344CB8AC3E}">
        <p14:creationId xmlns:p14="http://schemas.microsoft.com/office/powerpoint/2010/main" val="2347869850"/>
      </p:ext>
    </p:extLst>
  </p:cSld>
  <p:clrMapOvr>
    <a:masterClrMapping/>
  </p:clrMapOvr>
  <p:transition>
    <p:fade/>
  </p:transition>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lide Title"/>
          <p:cNvSpPr>
            <a:spLocks noGrp="1"/>
          </p:cNvSpPr>
          <p:nvPr>
            <p:ph type="title"/>
          </p:nvPr>
        </p:nvSpPr>
        <p:spPr>
          <a:xfrm>
            <a:off x="583843"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531" indent="-228531">
              <a:lnSpc>
                <a:spcPct val="95000"/>
              </a:lnSpc>
              <a:spcBef>
                <a:spcPts val="1000"/>
              </a:spcBef>
              <a:buClr>
                <a:schemeClr val="tx2"/>
              </a:buClr>
              <a:buSzPct val="85000"/>
              <a:buFont typeface="Arial" panose="020B0604020202020204" pitchFamily="34" charset="0"/>
              <a:buChar char="•"/>
              <a:defRPr sz="2399">
                <a:solidFill>
                  <a:schemeClr val="tx1"/>
                </a:solidFill>
              </a:defRPr>
            </a:lvl1pPr>
            <a:lvl2pPr marL="475345" indent="-228531">
              <a:lnSpc>
                <a:spcPct val="95000"/>
              </a:lnSpc>
              <a:spcBef>
                <a:spcPts val="800"/>
              </a:spcBef>
              <a:buClr>
                <a:schemeClr val="tx2"/>
              </a:buClr>
              <a:buFont typeface="Arial" panose="020B0604020202020204" pitchFamily="34" charset="0"/>
              <a:buChar char="•"/>
              <a:defRPr sz="1999">
                <a:solidFill>
                  <a:schemeClr val="tx1"/>
                </a:solidFill>
              </a:defRPr>
            </a:lvl2pPr>
            <a:lvl3pPr marL="703877" indent="-155401">
              <a:lnSpc>
                <a:spcPct val="95000"/>
              </a:lnSpc>
              <a:spcBef>
                <a:spcPts val="800"/>
              </a:spcBef>
              <a:buClr>
                <a:schemeClr val="tx2"/>
              </a:buClr>
              <a:buFont typeface="Arial" panose="020B0604020202020204" pitchFamily="34" charset="0"/>
              <a:buChar char="•"/>
              <a:defRPr sz="1799">
                <a:solidFill>
                  <a:schemeClr val="tx1"/>
                </a:solidFill>
              </a:defRPr>
            </a:lvl3pPr>
            <a:lvl4pPr marL="904984" indent="-155401">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531" indent="-228531">
              <a:lnSpc>
                <a:spcPct val="95000"/>
              </a:lnSpc>
              <a:spcBef>
                <a:spcPts val="1000"/>
              </a:spcBef>
              <a:buClr>
                <a:schemeClr val="tx2"/>
              </a:buClr>
              <a:buSzPct val="85000"/>
              <a:buFont typeface="Arial" panose="020B0604020202020204" pitchFamily="34" charset="0"/>
              <a:buChar char="•"/>
              <a:defRPr sz="2399">
                <a:solidFill>
                  <a:schemeClr val="tx1"/>
                </a:solidFill>
              </a:defRPr>
            </a:lvl1pPr>
            <a:lvl2pPr marL="475345" indent="-228531">
              <a:lnSpc>
                <a:spcPct val="95000"/>
              </a:lnSpc>
              <a:spcBef>
                <a:spcPts val="800"/>
              </a:spcBef>
              <a:buClr>
                <a:schemeClr val="tx2"/>
              </a:buClr>
              <a:buFont typeface="Arial" panose="020B0604020202020204" pitchFamily="34" charset="0"/>
              <a:buChar char="•"/>
              <a:defRPr sz="1999">
                <a:solidFill>
                  <a:schemeClr val="tx1"/>
                </a:solidFill>
              </a:defRPr>
            </a:lvl2pPr>
            <a:lvl3pPr marL="703877" indent="-155401">
              <a:lnSpc>
                <a:spcPct val="95000"/>
              </a:lnSpc>
              <a:spcBef>
                <a:spcPts val="800"/>
              </a:spcBef>
              <a:buClr>
                <a:schemeClr val="tx2"/>
              </a:buClr>
              <a:buFont typeface="Arial" panose="020B0604020202020204" pitchFamily="34" charset="0"/>
              <a:buChar char="•"/>
              <a:defRPr sz="1799">
                <a:solidFill>
                  <a:schemeClr val="tx1"/>
                </a:solidFill>
              </a:defRPr>
            </a:lvl3pPr>
            <a:lvl4pPr marL="904984" indent="-155401">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a:xfrm>
            <a:off x="-2996628" y="6356352"/>
            <a:ext cx="2843213" cy="365125"/>
          </a:xfrm>
        </p:spPr>
        <p:txBody>
          <a:bodyPr/>
          <a:lstStyle>
            <a:lvl1pPr>
              <a:defRPr/>
            </a:lvl1pPr>
          </a:lstStyle>
          <a:p>
            <a:fld id="{8F2A6A3B-A6C9-4C0C-BBE8-3BEF53BED0C3}" type="datetimeFigureOut">
              <a:rPr lang="en-US" smtClean="0"/>
              <a:pPr/>
              <a:t>29-Feb-24</a:t>
            </a:fld>
            <a:endParaRPr lang="en-US" dirty="0"/>
          </a:p>
        </p:txBody>
      </p:sp>
    </p:spTree>
    <p:extLst>
      <p:ext uri="{BB962C8B-B14F-4D97-AF65-F5344CB8AC3E}">
        <p14:creationId xmlns:p14="http://schemas.microsoft.com/office/powerpoint/2010/main" val="2312028744"/>
      </p:ext>
    </p:extLst>
  </p:cSld>
  <p:clrMapOvr>
    <a:masterClrMapping/>
  </p:clrMapOvr>
  <p:transition>
    <p:fade/>
  </p:transition>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ub-title_column 3"/>
          <p:cNvSpPr>
            <a:spLocks noGrp="1"/>
          </p:cNvSpPr>
          <p:nvPr>
            <p:ph type="body" sz="quarter" idx="16"/>
          </p:nvPr>
        </p:nvSpPr>
        <p:spPr>
          <a:xfrm>
            <a:off x="8289003" y="1525707"/>
            <a:ext cx="3345117" cy="776499"/>
          </a:xfrm>
          <a:prstGeom prst="rect">
            <a:avLst/>
          </a:prstGeom>
        </p:spPr>
        <p:txBody>
          <a:bodyPr lIns="91440" tIns="45720" rIns="91440" bIns="45720" anchor="t" anchorCtr="0">
            <a:noAutofit/>
          </a:bodyPr>
          <a:lstStyle>
            <a:lvl1pPr marL="0" indent="0">
              <a:lnSpc>
                <a:spcPct val="85000"/>
              </a:lnSpc>
              <a:buNone/>
              <a:defRPr sz="2799">
                <a:solidFill>
                  <a:srgbClr val="4D4D4F"/>
                </a:solidFill>
              </a:defRPr>
            </a:lvl1pPr>
          </a:lstStyle>
          <a:p>
            <a:pPr lvl="0"/>
            <a:r>
              <a:rPr lang="en-US"/>
              <a:t>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799">
                <a:solidFill>
                  <a:srgbClr val="4D4D4F"/>
                </a:solidFill>
              </a:defRPr>
            </a:lvl1pPr>
          </a:lstStyle>
          <a:p>
            <a:pPr lvl="0"/>
            <a:r>
              <a:rPr lang="en-US"/>
              <a:t>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799">
                <a:solidFill>
                  <a:srgbClr val="4D4D4F"/>
                </a:solidFill>
              </a:defRPr>
            </a:lvl1pPr>
          </a:lstStyle>
          <a:p>
            <a:pPr lvl="0"/>
            <a:r>
              <a:rPr lang="en-US"/>
              <a:t>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4"/>
            <a:ext cx="3337560" cy="3601231"/>
          </a:xfrm>
          <a:prstGeom prst="rect">
            <a:avLst/>
          </a:prstGeom>
        </p:spPr>
        <p:txBody>
          <a:bodyPr lIns="91440" tIns="91440" rIns="91440" bIns="91440">
            <a:noAutofit/>
          </a:bodyPr>
          <a:lstStyle>
            <a:lvl1pPr marL="228531" indent="-228531">
              <a:lnSpc>
                <a:spcPct val="95000"/>
              </a:lnSpc>
              <a:spcBef>
                <a:spcPts val="1000"/>
              </a:spcBef>
              <a:buClr>
                <a:schemeClr val="tx2"/>
              </a:buClr>
              <a:buSzPct val="85000"/>
              <a:buFont typeface="Arial" panose="020B0604020202020204" pitchFamily="34" charset="0"/>
              <a:buChar char="•"/>
              <a:defRPr sz="1999">
                <a:solidFill>
                  <a:srgbClr val="4D4D4F"/>
                </a:solidFill>
              </a:defRPr>
            </a:lvl1pPr>
            <a:lvl2pPr marL="475345" indent="-228531">
              <a:lnSpc>
                <a:spcPct val="95000"/>
              </a:lnSpc>
              <a:spcBef>
                <a:spcPts val="800"/>
              </a:spcBef>
              <a:buClr>
                <a:schemeClr val="tx2"/>
              </a:buClr>
              <a:buFont typeface="Arial" panose="020B0604020202020204" pitchFamily="34" charset="0"/>
              <a:buChar char="•"/>
              <a:defRPr sz="1799">
                <a:solidFill>
                  <a:schemeClr val="tx1"/>
                </a:solidFill>
              </a:defRPr>
            </a:lvl2pPr>
            <a:lvl3pPr marL="685594" indent="-155401">
              <a:lnSpc>
                <a:spcPct val="95000"/>
              </a:lnSpc>
              <a:spcBef>
                <a:spcPts val="800"/>
              </a:spcBef>
              <a:buClr>
                <a:schemeClr val="tx2"/>
              </a:buClr>
              <a:buFont typeface="Arial" panose="020B0604020202020204" pitchFamily="34" charset="0"/>
              <a:buChar char="•"/>
              <a:tabLst>
                <a:tab pos="688768" algn="l"/>
              </a:tabLst>
              <a:defRPr sz="1600">
                <a:solidFill>
                  <a:schemeClr val="tx1"/>
                </a:solidFill>
              </a:defRPr>
            </a:lvl3pPr>
            <a:lvl4pPr marL="886702" indent="-155401">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4"/>
            <a:ext cx="3337560" cy="3601231"/>
          </a:xfrm>
          <a:prstGeom prst="rect">
            <a:avLst/>
          </a:prstGeom>
        </p:spPr>
        <p:txBody>
          <a:bodyPr lIns="91440" tIns="91440" rIns="91440" bIns="91440">
            <a:noAutofit/>
          </a:bodyPr>
          <a:lstStyle>
            <a:lvl1pPr marL="228531" indent="-228531">
              <a:lnSpc>
                <a:spcPct val="95000"/>
              </a:lnSpc>
              <a:spcBef>
                <a:spcPts val="1000"/>
              </a:spcBef>
              <a:buClr>
                <a:schemeClr val="tx2"/>
              </a:buClr>
              <a:buSzPct val="85000"/>
              <a:buFont typeface="Arial" panose="020B0604020202020204" pitchFamily="34" charset="0"/>
              <a:buChar char="•"/>
              <a:defRPr sz="1999">
                <a:solidFill>
                  <a:schemeClr val="tx1"/>
                </a:solidFill>
              </a:defRPr>
            </a:lvl1pPr>
            <a:lvl2pPr marL="475345" indent="-228531">
              <a:lnSpc>
                <a:spcPct val="95000"/>
              </a:lnSpc>
              <a:spcBef>
                <a:spcPts val="800"/>
              </a:spcBef>
              <a:buClr>
                <a:schemeClr val="tx2"/>
              </a:buClr>
              <a:buFont typeface="Arial" panose="020B0604020202020204" pitchFamily="34" charset="0"/>
              <a:buChar char="•"/>
              <a:defRPr sz="1799">
                <a:solidFill>
                  <a:schemeClr val="tx1"/>
                </a:solidFill>
              </a:defRPr>
            </a:lvl2pPr>
            <a:lvl3pPr marL="685594" indent="-155401">
              <a:lnSpc>
                <a:spcPct val="95000"/>
              </a:lnSpc>
              <a:spcBef>
                <a:spcPts val="800"/>
              </a:spcBef>
              <a:buClr>
                <a:schemeClr val="tx2"/>
              </a:buClr>
              <a:buFont typeface="Arial" panose="020B0604020202020204" pitchFamily="34" charset="0"/>
              <a:buChar char="•"/>
              <a:tabLst>
                <a:tab pos="688768" algn="l"/>
              </a:tabLst>
              <a:defRPr sz="1600">
                <a:solidFill>
                  <a:schemeClr val="tx1"/>
                </a:solidFill>
              </a:defRPr>
            </a:lvl3pPr>
            <a:lvl4pPr marL="886702" indent="-155401">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1" y="2560974"/>
            <a:ext cx="3337560" cy="3601231"/>
          </a:xfrm>
          <a:prstGeom prst="rect">
            <a:avLst/>
          </a:prstGeom>
        </p:spPr>
        <p:txBody>
          <a:bodyPr lIns="91440" tIns="91440" rIns="91440" bIns="91440">
            <a:noAutofit/>
          </a:bodyPr>
          <a:lstStyle>
            <a:lvl1pPr marL="228531" indent="-228531">
              <a:lnSpc>
                <a:spcPct val="95000"/>
              </a:lnSpc>
              <a:spcBef>
                <a:spcPts val="1000"/>
              </a:spcBef>
              <a:buClr>
                <a:schemeClr val="tx2"/>
              </a:buClr>
              <a:buSzPct val="85000"/>
              <a:buFont typeface="Arial" panose="020B0604020202020204" pitchFamily="34" charset="0"/>
              <a:buChar char="•"/>
              <a:defRPr sz="1999">
                <a:solidFill>
                  <a:schemeClr val="tx1"/>
                </a:solidFill>
              </a:defRPr>
            </a:lvl1pPr>
            <a:lvl2pPr marL="475345" indent="-228531">
              <a:lnSpc>
                <a:spcPct val="95000"/>
              </a:lnSpc>
              <a:spcBef>
                <a:spcPts val="800"/>
              </a:spcBef>
              <a:buClr>
                <a:schemeClr val="tx2"/>
              </a:buClr>
              <a:buFont typeface="Arial" panose="020B0604020202020204" pitchFamily="34" charset="0"/>
              <a:buChar char="•"/>
              <a:defRPr sz="1799">
                <a:solidFill>
                  <a:schemeClr val="tx1"/>
                </a:solidFill>
              </a:defRPr>
            </a:lvl2pPr>
            <a:lvl3pPr marL="685594" indent="-155401">
              <a:lnSpc>
                <a:spcPct val="95000"/>
              </a:lnSpc>
              <a:spcBef>
                <a:spcPts val="800"/>
              </a:spcBef>
              <a:buClr>
                <a:schemeClr val="tx2"/>
              </a:buClr>
              <a:buFont typeface="Arial" panose="020B0604020202020204" pitchFamily="34" charset="0"/>
              <a:buChar char="•"/>
              <a:tabLst>
                <a:tab pos="688768" algn="l"/>
              </a:tabLst>
              <a:defRPr sz="1600">
                <a:solidFill>
                  <a:schemeClr val="tx1"/>
                </a:solidFill>
              </a:defRPr>
            </a:lvl3pPr>
            <a:lvl4pPr marL="886702" indent="-155401">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a:xfrm>
            <a:off x="-3119918" y="6356352"/>
            <a:ext cx="2843213" cy="365125"/>
          </a:xfrm>
        </p:spPr>
        <p:txBody>
          <a:bodyPr/>
          <a:lstStyle>
            <a:lvl1pPr>
              <a:defRPr/>
            </a:lvl1pPr>
          </a:lstStyle>
          <a:p>
            <a:fld id="{B4E2EE95-4511-40DC-8811-39B6C5014E5F}" type="datetimeFigureOut">
              <a:rPr lang="en-US" smtClean="0"/>
              <a:pPr/>
              <a:t>29-Feb-24</a:t>
            </a:fld>
            <a:endParaRPr lang="en-US" dirty="0"/>
          </a:p>
        </p:txBody>
      </p:sp>
    </p:spTree>
    <p:extLst>
      <p:ext uri="{BB962C8B-B14F-4D97-AF65-F5344CB8AC3E}">
        <p14:creationId xmlns:p14="http://schemas.microsoft.com/office/powerpoint/2010/main" val="1491175456"/>
      </p:ext>
    </p:extLst>
  </p:cSld>
  <p:clrMapOvr>
    <a:masterClrMapping/>
  </p:clrMapOvr>
  <p:transition>
    <p:fade/>
  </p:transition>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endParaRPr lang="en-US" dirty="0"/>
          </a:p>
        </p:txBody>
      </p:sp>
      <p:sp>
        <p:nvSpPr>
          <p:cNvPr id="3" name="Date Placeholder 2"/>
          <p:cNvSpPr>
            <a:spLocks noGrp="1"/>
          </p:cNvSpPr>
          <p:nvPr>
            <p:ph type="dt" sz="half" idx="12"/>
          </p:nvPr>
        </p:nvSpPr>
        <p:spPr>
          <a:xfrm>
            <a:off x="-3068548" y="6356352"/>
            <a:ext cx="2843213" cy="365125"/>
          </a:xfrm>
        </p:spPr>
        <p:txBody>
          <a:bodyPr/>
          <a:lstStyle>
            <a:lvl1pPr>
              <a:defRPr/>
            </a:lvl1pPr>
          </a:lstStyle>
          <a:p>
            <a:fld id="{BA761656-1249-4F38-99F8-ACF2559DA4D2}" type="datetimeFigureOut">
              <a:rPr lang="en-US" smtClean="0"/>
              <a:pPr/>
              <a:t>29-Feb-24</a:t>
            </a:fld>
            <a:endParaRPr lang="en-US" dirty="0"/>
          </a:p>
        </p:txBody>
      </p:sp>
    </p:spTree>
    <p:extLst>
      <p:ext uri="{BB962C8B-B14F-4D97-AF65-F5344CB8AC3E}">
        <p14:creationId xmlns:p14="http://schemas.microsoft.com/office/powerpoint/2010/main" val="773124769"/>
      </p:ext>
    </p:extLst>
  </p:cSld>
  <p:clrMapOvr>
    <a:masterClrMapping/>
  </p:clrMapOvr>
  <p:transition>
    <p:fade/>
  </p:transition>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3017177" y="6356352"/>
            <a:ext cx="2843213" cy="365125"/>
          </a:xfrm>
        </p:spPr>
        <p:txBody>
          <a:bodyPr/>
          <a:lstStyle>
            <a:lvl1pPr>
              <a:defRPr/>
            </a:lvl1pPr>
          </a:lstStyle>
          <a:p>
            <a:fld id="{C21F6912-E12D-42E4-A1B4-78CBD40CB479}" type="datetimeFigureOut">
              <a:rPr lang="en-US" smtClean="0"/>
              <a:pPr/>
              <a:t>29-Feb-24</a:t>
            </a:fld>
            <a:endParaRPr lang="en-US" dirty="0"/>
          </a:p>
        </p:txBody>
      </p:sp>
    </p:spTree>
    <p:extLst>
      <p:ext uri="{BB962C8B-B14F-4D97-AF65-F5344CB8AC3E}">
        <p14:creationId xmlns:p14="http://schemas.microsoft.com/office/powerpoint/2010/main" val="817422975"/>
      </p:ext>
    </p:extLst>
  </p:cSld>
  <p:clrMapOvr>
    <a:masterClrMapping/>
  </p:clrMapOvr>
  <p:transition>
    <p:fade/>
  </p:transition>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grpSp>
        <p:nvGrpSpPr>
          <p:cNvPr id="5" name="Pink Background"/>
          <p:cNvGrpSpPr/>
          <p:nvPr userDrawn="1"/>
        </p:nvGrpSpPr>
        <p:grpSpPr>
          <a:xfrm>
            <a:off x="5929631"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199" dirty="0">
                <a:latin typeface="+mn-lt"/>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199" dirty="0">
                <a:latin typeface="+mn-lt"/>
                <a:cs typeface="Calibri" panose="020F0502020204030204" pitchFamily="34" charset="0"/>
              </a:endParaRPr>
            </a:p>
          </p:txBody>
        </p:sp>
      </p:grpSp>
      <p:sp>
        <p:nvSpPr>
          <p:cNvPr id="8" name="Credit text"/>
          <p:cNvSpPr>
            <a:spLocks noGrp="1"/>
          </p:cNvSpPr>
          <p:nvPr>
            <p:ph type="body" sz="quarter" idx="14" hasCustomPrompt="1"/>
          </p:nvPr>
        </p:nvSpPr>
        <p:spPr bwMode="white">
          <a:xfrm>
            <a:off x="6478070"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4" y="2011682"/>
            <a:ext cx="4563058" cy="2440001"/>
          </a:xfrm>
          <a:prstGeom prst="rect">
            <a:avLst/>
          </a:prstGeom>
        </p:spPr>
        <p:txBody>
          <a:bodyPr lIns="91440" tIns="45720" rIns="91440" bIns="45720" anchor="ctr">
            <a:noAutofit/>
          </a:bodyPr>
          <a:lstStyle>
            <a:lvl1pPr marL="152299" indent="-152299" algn="l" defTabSz="1218366" rtl="0" eaLnBrk="1" latinLnBrk="0" hangingPunct="1">
              <a:lnSpc>
                <a:spcPct val="95000"/>
              </a:lnSpc>
              <a:spcBef>
                <a:spcPts val="0"/>
              </a:spcBef>
              <a:buNone/>
              <a:defRPr lang="en-US" sz="2799" b="1" kern="1200" dirty="0" smtClean="0">
                <a:solidFill>
                  <a:schemeClr val="tx1"/>
                </a:solidFill>
                <a:latin typeface="Calibri" panose="020F0502020204030204" pitchFamily="34" charset="0"/>
                <a:ea typeface="+mn-ea"/>
                <a:cs typeface="Calibri" panose="020F0502020204030204" pitchFamily="34" charset="0"/>
              </a:defRPr>
            </a:lvl1pPr>
            <a:lvl2pPr marL="152299" indent="-152299" algn="l" defTabSz="1218366" rtl="0" eaLnBrk="1" latinLnBrk="0" hangingPunct="1">
              <a:defRPr lang="en-US" sz="2699" kern="1200" dirty="0" smtClean="0">
                <a:solidFill>
                  <a:schemeClr val="accent2"/>
                </a:solidFill>
                <a:latin typeface="Ciscolight" pitchFamily="2" charset="0"/>
                <a:ea typeface="+mn-ea"/>
                <a:cs typeface="+mn-cs"/>
              </a:defRPr>
            </a:lvl2pPr>
            <a:lvl3pPr marL="152299" indent="-152299" algn="l" defTabSz="1218366" rtl="0" eaLnBrk="1" latinLnBrk="0" hangingPunct="1">
              <a:defRPr lang="en-US" sz="2699" kern="1200" dirty="0" smtClean="0">
                <a:solidFill>
                  <a:schemeClr val="accent2"/>
                </a:solidFill>
                <a:latin typeface="Ciscolight" pitchFamily="2" charset="0"/>
                <a:ea typeface="+mn-ea"/>
                <a:cs typeface="+mn-cs"/>
              </a:defRPr>
            </a:lvl3pPr>
            <a:lvl4pPr marL="152299" indent="-152299" algn="l" defTabSz="1218366" rtl="0" eaLnBrk="1" latinLnBrk="0" hangingPunct="1">
              <a:defRPr lang="en-US" sz="2699" kern="1200" dirty="0" smtClean="0">
                <a:solidFill>
                  <a:schemeClr val="accent2"/>
                </a:solidFill>
                <a:latin typeface="Ciscolight" pitchFamily="2" charset="0"/>
                <a:ea typeface="+mn-ea"/>
                <a:cs typeface="+mn-cs"/>
              </a:defRPr>
            </a:lvl4pPr>
            <a:lvl5pPr marL="152299" indent="-152299" algn="l" defTabSz="1218366" rtl="0" eaLnBrk="1" latinLnBrk="0" hangingPunct="1">
              <a:defRPr lang="en-US" sz="2699"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3"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9"/>
            <a:ext cx="5074008" cy="3783163"/>
          </a:xfrm>
          <a:prstGeom prst="rect">
            <a:avLst/>
          </a:prstGeom>
        </p:spPr>
        <p:txBody>
          <a:bodyPr>
            <a:noAutofit/>
          </a:bodyPr>
          <a:lstStyle>
            <a:lvl1pPr marL="224260" indent="-224260">
              <a:lnSpc>
                <a:spcPct val="95000"/>
              </a:lnSpc>
              <a:buSzPct val="85000"/>
              <a:buFont typeface="Calibri" panose="020F0502020204030204" pitchFamily="34" charset="0"/>
              <a:buChar char="•"/>
              <a:defRPr sz="2399">
                <a:solidFill>
                  <a:schemeClr val="tx1"/>
                </a:solidFill>
              </a:defRPr>
            </a:lvl1pPr>
            <a:lvl2pPr marL="458650" indent="-228531">
              <a:lnSpc>
                <a:spcPct val="95000"/>
              </a:lnSpc>
              <a:buFont typeface="Calibri" panose="020F0502020204030204" pitchFamily="34" charset="0"/>
              <a:buChar char="−"/>
              <a:defRPr sz="1999"/>
            </a:lvl2pPr>
            <a:lvl3pPr>
              <a:defRPr sz="2099"/>
            </a:lvl3pPr>
            <a:lvl4pPr>
              <a:defRPr sz="1899"/>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2"/>
            <a:ext cx="2843213" cy="365125"/>
          </a:xfrm>
        </p:spPr>
        <p:txBody>
          <a:bodyPr/>
          <a:lstStyle>
            <a:lvl1pPr>
              <a:defRPr/>
            </a:lvl1pPr>
          </a:lstStyle>
          <a:p>
            <a:fld id="{DEA4E619-B820-4E56-B835-00DD6E9C1F73}" type="datetimeFigureOut">
              <a:rPr lang="en-US" smtClean="0"/>
              <a:pPr/>
              <a:t>29-Feb-24</a:t>
            </a:fld>
            <a:endParaRPr lang="en-US" dirty="0"/>
          </a:p>
        </p:txBody>
      </p:sp>
    </p:spTree>
    <p:extLst>
      <p:ext uri="{BB962C8B-B14F-4D97-AF65-F5344CB8AC3E}">
        <p14:creationId xmlns:p14="http://schemas.microsoft.com/office/powerpoint/2010/main" val="1412522419"/>
      </p:ext>
    </p:extLst>
  </p:cSld>
  <p:clrMapOvr>
    <a:masterClrMapping/>
  </p:clrMapOvr>
  <p:transition>
    <p:fade/>
  </p:transition>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Gray gradient"/>
          <p:cNvSpPr/>
          <p:nvPr userDrawn="1"/>
        </p:nvSpPr>
        <p:spPr bwMode="auto">
          <a:xfrm>
            <a:off x="4241061"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9" dirty="0">
              <a:latin typeface="+mn-lt"/>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1" y="1399032"/>
            <a:ext cx="6730683" cy="4443814"/>
          </a:xfrm>
          <a:prstGeom prst="rect">
            <a:avLst/>
          </a:prstGeom>
        </p:spPr>
        <p:txBody>
          <a:bodyPr lIns="91440" tIns="45720" rIns="91440" bIns="45720" anchor="ctr" anchorCtr="0">
            <a:noAutofit/>
          </a:bodyPr>
          <a:lstStyle>
            <a:lvl1pPr marL="319944" indent="-319944">
              <a:lnSpc>
                <a:spcPct val="95000"/>
              </a:lnSpc>
              <a:buSzPct val="85000"/>
              <a:buFont typeface="Calibri" panose="020F0502020204030204" pitchFamily="34" charset="0"/>
              <a:buChar char="•"/>
              <a:defRPr sz="3199" baseline="0">
                <a:solidFill>
                  <a:schemeClr val="tx1"/>
                </a:solidFill>
                <a:latin typeface="Calibri" panose="020F0502020204030204" pitchFamily="34" charset="0"/>
                <a:cs typeface="Calibri" panose="020F0502020204030204" pitchFamily="34" charset="0"/>
              </a:defRPr>
            </a:lvl1pPr>
            <a:lvl2pPr marL="667312" indent="-237673">
              <a:lnSpc>
                <a:spcPct val="95000"/>
              </a:lnSpc>
              <a:defRPr sz="2699">
                <a:latin typeface="Calibri" panose="020F0502020204030204" pitchFamily="34" charset="0"/>
                <a:cs typeface="Calibri" panose="020F0502020204030204" pitchFamily="34" charset="0"/>
              </a:defRPr>
            </a:lvl2pPr>
            <a:lvl3pPr>
              <a:defRPr sz="2699"/>
            </a:lvl3pPr>
            <a:lvl4pPr>
              <a:defRPr sz="2699"/>
            </a:lvl4pPr>
            <a:lvl5pPr>
              <a:defRPr sz="2699"/>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417" rtl="0" eaLnBrk="1" latinLnBrk="0" hangingPunct="1">
              <a:lnSpc>
                <a:spcPct val="80000"/>
              </a:lnSpc>
              <a:spcBef>
                <a:spcPct val="0"/>
              </a:spcBef>
              <a:buClr>
                <a:schemeClr val="tx1"/>
              </a:buClr>
              <a:buFont typeface="Ciscolight" pitchFamily="2" charset="0"/>
              <a:buNone/>
              <a:defRPr lang="en-US" sz="3999"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2"/>
            <a:ext cx="2843213" cy="365125"/>
          </a:xfrm>
        </p:spPr>
        <p:txBody>
          <a:bodyPr/>
          <a:lstStyle>
            <a:lvl1pPr>
              <a:defRPr/>
            </a:lvl1pPr>
          </a:lstStyle>
          <a:p>
            <a:fld id="{25B14EA0-D077-4AF7-BC7C-65CF8C1E39C3}" type="datetimeFigureOut">
              <a:rPr lang="en-US" smtClean="0"/>
              <a:pPr/>
              <a:t>29-Feb-24</a:t>
            </a:fld>
            <a:endParaRPr lang="en-US" dirty="0"/>
          </a:p>
        </p:txBody>
      </p:sp>
    </p:spTree>
    <p:extLst>
      <p:ext uri="{BB962C8B-B14F-4D97-AF65-F5344CB8AC3E}">
        <p14:creationId xmlns:p14="http://schemas.microsoft.com/office/powerpoint/2010/main" val="1017939473"/>
      </p:ext>
    </p:extLst>
  </p:cSld>
  <p:clrMapOvr>
    <a:masterClrMapping/>
  </p:clrMapOvr>
  <p:transition>
    <p:fade/>
  </p:transition>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3"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2"/>
            <a:ext cx="4114800" cy="365125"/>
          </a:xfrm>
          <a:prstGeom prst="rect">
            <a:avLst/>
          </a:prstGeom>
        </p:spPr>
        <p:txBody>
          <a:bodyPr/>
          <a:lstStyle>
            <a:lvl1pPr>
              <a:defRPr/>
            </a:lvl1pPr>
          </a:lstStyle>
          <a:p>
            <a:endParaRPr lang="en-US" dirty="0"/>
          </a:p>
        </p:txBody>
      </p:sp>
      <p:sp>
        <p:nvSpPr>
          <p:cNvPr id="2" name="Date Placeholder 1"/>
          <p:cNvSpPr>
            <a:spLocks noGrp="1"/>
          </p:cNvSpPr>
          <p:nvPr>
            <p:ph type="dt" sz="half" idx="14"/>
          </p:nvPr>
        </p:nvSpPr>
        <p:spPr/>
        <p:txBody>
          <a:bodyPr/>
          <a:lstStyle>
            <a:lvl1pPr>
              <a:defRPr/>
            </a:lvl1pPr>
          </a:lstStyle>
          <a:p>
            <a:fld id="{0D2C66B6-F570-4D48-9AB5-501EA47F26DC}" type="datetimeFigureOut">
              <a:rPr lang="en-US" smtClean="0"/>
              <a:pPr/>
              <a:t>29-Feb-24</a:t>
            </a:fld>
            <a:endParaRPr lang="en-US" dirty="0"/>
          </a:p>
        </p:txBody>
      </p:sp>
    </p:spTree>
    <p:extLst>
      <p:ext uri="{BB962C8B-B14F-4D97-AF65-F5344CB8AC3E}">
        <p14:creationId xmlns:p14="http://schemas.microsoft.com/office/powerpoint/2010/main" val="3875368550"/>
      </p:ext>
    </p:extLst>
  </p:cSld>
  <p:clrMapOvr>
    <a:masterClrMapping/>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sp>
        <p:nvSpPr>
          <p:cNvPr id="4" name="Date" hidden="1"/>
          <p:cNvSpPr>
            <a:spLocks noGrp="1"/>
          </p:cNvSpPr>
          <p:nvPr>
            <p:ph type="dt" sz="half" idx="11"/>
          </p:nvPr>
        </p:nvSpPr>
        <p:spPr/>
        <p:txBody>
          <a:bodyPr/>
          <a:lstStyle>
            <a:lvl1pPr>
              <a:defRPr/>
            </a:lvl1pPr>
          </a:lstStyle>
          <a:p>
            <a:fld id="{2C41E328-24BD-4562-8643-D93CAFFDA48E}" type="datetime1">
              <a:rPr lang="en-US" smtClean="0"/>
              <a:pPr/>
              <a:t>29-Feb-24</a:t>
            </a:fld>
            <a:endParaRPr lang="en-US" dirty="0"/>
          </a:p>
        </p:txBody>
      </p:sp>
      <p:sp>
        <p:nvSpPr>
          <p:cNvPr id="10" name="Footer Placeholder 1" hidden="1">
            <a:extLst>
              <a:ext uri="{FF2B5EF4-FFF2-40B4-BE49-F238E27FC236}">
                <a16:creationId xmlns:a16="http://schemas.microsoft.com/office/drawing/2014/main" id="{D062A658-67D1-9849-BFB0-FEAD87AA04FC}"/>
              </a:ext>
            </a:extLst>
          </p:cNvPr>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defRPr>
            </a:lvl1pPr>
          </a:lstStyle>
          <a:p>
            <a:endParaRPr lang="en-US" dirty="0"/>
          </a:p>
        </p:txBody>
      </p:sp>
    </p:spTree>
    <p:extLst>
      <p:ext uri="{BB962C8B-B14F-4D97-AF65-F5344CB8AC3E}">
        <p14:creationId xmlns:p14="http://schemas.microsoft.com/office/powerpoint/2010/main" val="3411878596"/>
      </p:ext>
    </p:extLst>
  </p:cSld>
  <p:clrMapOvr>
    <a:masterClrMapping/>
  </p:clrMapOvr>
  <p:transition>
    <p:fade/>
  </p:transition>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5" name="Slide Title"/>
          <p:cNvSpPr>
            <a:spLocks noGrp="1"/>
          </p:cNvSpPr>
          <p:nvPr>
            <p:ph type="title"/>
          </p:nvPr>
        </p:nvSpPr>
        <p:spPr>
          <a:xfrm>
            <a:off x="583844"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4"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4"/>
            <a:ext cx="2843213" cy="365125"/>
          </a:xfrm>
        </p:spPr>
        <p:txBody>
          <a:bodyPr/>
          <a:lstStyle>
            <a:lvl1pPr>
              <a:defRPr/>
            </a:lvl1pPr>
          </a:lstStyle>
          <a:p>
            <a:fld id="{CF0E1690-FFBA-4DAF-B44A-36E39ACA0346}"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152187106"/>
      </p:ext>
    </p:extLst>
  </p:cSld>
  <p:clrMapOvr>
    <a:masterClrMapping/>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0"/>
            <a:ext cx="2843213" cy="365125"/>
          </a:xfrm>
        </p:spPr>
        <p:txBody>
          <a:bodyPr/>
          <a:lstStyle>
            <a:lvl1pPr>
              <a:defRPr/>
            </a:lvl1pPr>
          </a:lstStyle>
          <a:p>
            <a:fld id="{CF0E1690-FFBA-4DAF-B44A-36E39ACA0346}" type="datetimeFigureOut">
              <a:rPr lang="en-US" smtClean="0"/>
              <a:pPr/>
              <a:t>29-Feb-24</a:t>
            </a:fld>
            <a:endParaRPr lang="en-US" dirty="0"/>
          </a:p>
        </p:txBody>
      </p:sp>
      <p:pic>
        <p:nvPicPr>
          <p:cNvPr id="7" name="Picture 6" descr="A person sitting in front of a building&#10;&#10;Description automatically generated">
            <a:extLst>
              <a:ext uri="{FF2B5EF4-FFF2-40B4-BE49-F238E27FC236}">
                <a16:creationId xmlns:a16="http://schemas.microsoft.com/office/drawing/2014/main" id="{6AEBA8B7-4955-4263-AB3A-53337A95BE5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30480"/>
            <a:ext cx="12188824" cy="6536175"/>
          </a:xfrm>
          <a:prstGeom prst="rect">
            <a:avLst/>
          </a:prstGeom>
        </p:spPr>
      </p:pic>
      <p:sp>
        <p:nvSpPr>
          <p:cNvPr id="8" name="Rectangle 7">
            <a:extLst>
              <a:ext uri="{FF2B5EF4-FFF2-40B4-BE49-F238E27FC236}">
                <a16:creationId xmlns:a16="http://schemas.microsoft.com/office/drawing/2014/main" id="{E756A239-DC06-46AD-AEA3-550F22C145F5}"/>
              </a:ext>
            </a:extLst>
          </p:cNvPr>
          <p:cNvSpPr/>
          <p:nvPr userDrawn="1"/>
        </p:nvSpPr>
        <p:spPr bwMode="auto">
          <a:xfrm>
            <a:off x="-24202" y="-30480"/>
            <a:ext cx="12222161" cy="6536175"/>
          </a:xfrm>
          <a:prstGeom prst="rect">
            <a:avLst/>
          </a:prstGeom>
          <a:solidFill>
            <a:schemeClr val="accent6">
              <a:alpha val="67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Tree>
    <p:extLst>
      <p:ext uri="{BB962C8B-B14F-4D97-AF65-F5344CB8AC3E}">
        <p14:creationId xmlns:p14="http://schemas.microsoft.com/office/powerpoint/2010/main" val="3217738219"/>
      </p:ext>
    </p:extLst>
  </p:cSld>
  <p:clrMapOvr>
    <a:masterClrMapping/>
  </p:clrMapOvr>
  <p:transition>
    <p:fade/>
  </p:transition>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3" name="Date Placeholder 2"/>
          <p:cNvSpPr>
            <a:spLocks noGrp="1"/>
          </p:cNvSpPr>
          <p:nvPr>
            <p:ph type="dt" sz="half" idx="12"/>
          </p:nvPr>
        </p:nvSpPr>
        <p:spPr>
          <a:xfrm>
            <a:off x="-3068547" y="6356354"/>
            <a:ext cx="2843213" cy="365125"/>
          </a:xfrm>
        </p:spPr>
        <p:txBody>
          <a:bodyPr/>
          <a:lstStyle>
            <a:lvl1pPr>
              <a:defRPr/>
            </a:lvl1pPr>
          </a:lstStyle>
          <a:p>
            <a:fld id="{BA761656-1249-4F38-99F8-ACF2559DA4D2}"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2033440245"/>
      </p:ext>
    </p:extLst>
  </p:cSld>
  <p:clrMapOvr>
    <a:masterClrMapping/>
  </p:clrMapOvr>
  <p:transition>
    <p:fade/>
  </p:transition>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rpora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endParaRPr lang="en-US" dirty="0">
              <a:solidFill>
                <a:srgbClr val="FFFFFF">
                  <a:lumMod val="75000"/>
                </a:srgbClr>
              </a:solidFill>
            </a:endParaRPr>
          </a:p>
        </p:txBody>
      </p:sp>
      <p:pic>
        <p:nvPicPr>
          <p:cNvPr id="10" name="Backgrouind image"/>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139" y="-17203"/>
            <a:ext cx="12221815" cy="687477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60"/>
            <a:ext cx="2728800" cy="464477"/>
          </a:xfrm>
          <a:prstGeom prst="rect">
            <a:avLst/>
          </a:prstGeom>
        </p:spPr>
      </p:pic>
      <p:sp>
        <p:nvSpPr>
          <p:cNvPr id="13" name="Speaker name and date"/>
          <p:cNvSpPr>
            <a:spLocks noGrp="1"/>
          </p:cNvSpPr>
          <p:nvPr userDrawn="1">
            <p:ph type="subTitle" idx="1" hasCustomPrompt="1"/>
          </p:nvPr>
        </p:nvSpPr>
        <p:spPr>
          <a:xfrm>
            <a:off x="1053261" y="4870702"/>
            <a:ext cx="5804989" cy="692595"/>
          </a:xfrm>
          <a:prstGeom prst="rect">
            <a:avLst/>
          </a:prstGeom>
        </p:spPr>
        <p:txBody>
          <a:bodyPr lIns="91440" tIns="45720" rIns="91440" bIns="45720" anchor="t" anchorCtr="0">
            <a:noAutofit/>
          </a:bodyPr>
          <a:lstStyle>
            <a:lvl1pPr marL="0" indent="0" algn="l">
              <a:lnSpc>
                <a:spcPts val="2664"/>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8995" indent="0" algn="ctr">
              <a:buNone/>
              <a:defRPr>
                <a:solidFill>
                  <a:schemeClr val="tx1">
                    <a:tint val="75000"/>
                  </a:schemeClr>
                </a:solidFill>
              </a:defRPr>
            </a:lvl2pPr>
            <a:lvl3pPr marL="1218000" indent="0" algn="ctr">
              <a:buNone/>
              <a:defRPr>
                <a:solidFill>
                  <a:schemeClr val="tx1">
                    <a:tint val="75000"/>
                  </a:schemeClr>
                </a:solidFill>
              </a:defRPr>
            </a:lvl3pPr>
            <a:lvl4pPr marL="1827001" indent="0" algn="ctr">
              <a:buNone/>
              <a:defRPr>
                <a:solidFill>
                  <a:schemeClr val="tx1">
                    <a:tint val="75000"/>
                  </a:schemeClr>
                </a:solidFill>
              </a:defRPr>
            </a:lvl4pPr>
            <a:lvl5pPr marL="2436005" indent="0" algn="ctr">
              <a:buNone/>
              <a:defRPr>
                <a:solidFill>
                  <a:schemeClr val="tx1">
                    <a:tint val="75000"/>
                  </a:schemeClr>
                </a:solidFill>
              </a:defRPr>
            </a:lvl5pPr>
            <a:lvl6pPr marL="3045000" indent="0" algn="ctr">
              <a:buNone/>
              <a:defRPr>
                <a:solidFill>
                  <a:schemeClr val="tx1">
                    <a:tint val="75000"/>
                  </a:schemeClr>
                </a:solidFill>
              </a:defRPr>
            </a:lvl6pPr>
            <a:lvl7pPr marL="3654005" indent="0" algn="ctr">
              <a:buNone/>
              <a:defRPr>
                <a:solidFill>
                  <a:schemeClr val="tx1">
                    <a:tint val="75000"/>
                  </a:schemeClr>
                </a:solidFill>
              </a:defRPr>
            </a:lvl7pPr>
            <a:lvl8pPr marL="4263005" indent="0" algn="ctr">
              <a:buNone/>
              <a:defRPr>
                <a:solidFill>
                  <a:schemeClr val="tx1">
                    <a:tint val="75000"/>
                  </a:schemeClr>
                </a:solidFill>
              </a:defRPr>
            </a:lvl8pPr>
            <a:lvl9pPr marL="4872009"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2" y="2358683"/>
            <a:ext cx="5804989" cy="1071215"/>
          </a:xfrm>
          <a:prstGeom prst="rect">
            <a:avLst/>
          </a:prstGeom>
          <a:effectLst/>
        </p:spPr>
        <p:txBody>
          <a:bodyPr>
            <a:noAutofit/>
          </a:bodyPr>
          <a:lstStyle>
            <a:lvl1pPr marL="0" indent="0">
              <a:lnSpc>
                <a:spcPts val="3998"/>
              </a:lnSpc>
              <a:spcBef>
                <a:spcPts val="0"/>
              </a:spcBef>
              <a:buFontTx/>
              <a:buNone/>
              <a:defRPr sz="3398"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2"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398" b="0" baseline="0">
                <a:solidFill>
                  <a:schemeClr val="bg1"/>
                </a:solidFill>
                <a:latin typeface="Calibri" panose="020F0502020204030204" pitchFamily="34" charset="0"/>
                <a:cs typeface="Calibri" panose="020F0502020204030204" pitchFamily="34" charset="0"/>
              </a:defRPr>
            </a:lvl1pPr>
            <a:lvl2pPr marL="541362" indent="0">
              <a:buNone/>
              <a:defRPr/>
            </a:lvl2pPr>
            <a:lvl3pPr marL="759166" indent="0">
              <a:buNone/>
              <a:defRPr/>
            </a:lvl3pPr>
            <a:lvl4pPr marL="917771" indent="0">
              <a:buNone/>
              <a:defRPr/>
            </a:lvl4pPr>
            <a:lvl5pPr marL="1067911"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4"/>
            <a:ext cx="2843213" cy="365125"/>
          </a:xfrm>
        </p:spPr>
        <p:txBody>
          <a:bodyPr/>
          <a:lstStyle>
            <a:lvl1pPr>
              <a:defRPr/>
            </a:lvl1pPr>
          </a:lstStyle>
          <a:p>
            <a:fld id="{603289AC-4C12-4E6D-B39B-A4756814FEEC}"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210074028"/>
      </p:ext>
    </p:extLst>
  </p:cSld>
  <p:clrMapOvr>
    <a:masterClrMapping/>
  </p:clrMapOvr>
  <p:transition>
    <p:fade/>
  </p:transition>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Keyno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endParaRPr lang="en-US" dirty="0">
              <a:solidFill>
                <a:srgbClr val="FFFFFF">
                  <a:lumMod val="75000"/>
                </a:srgbClr>
              </a:solidFill>
            </a:endParaRPr>
          </a:p>
        </p:txBody>
      </p:sp>
      <p:pic>
        <p:nvPicPr>
          <p:cNvPr id="10" name="Backgrouind imag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03" y="-17632"/>
            <a:ext cx="12223343" cy="687563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60"/>
            <a:ext cx="2728800" cy="464477"/>
          </a:xfrm>
          <a:prstGeom prst="rect">
            <a:avLst/>
          </a:prstGeom>
        </p:spPr>
      </p:pic>
      <p:sp>
        <p:nvSpPr>
          <p:cNvPr id="13" name="Speaker name and date"/>
          <p:cNvSpPr>
            <a:spLocks noGrp="1"/>
          </p:cNvSpPr>
          <p:nvPr userDrawn="1">
            <p:ph type="subTitle" idx="1" hasCustomPrompt="1"/>
          </p:nvPr>
        </p:nvSpPr>
        <p:spPr>
          <a:xfrm>
            <a:off x="1053261" y="4870702"/>
            <a:ext cx="5804989" cy="692595"/>
          </a:xfrm>
          <a:prstGeom prst="rect">
            <a:avLst/>
          </a:prstGeom>
        </p:spPr>
        <p:txBody>
          <a:bodyPr lIns="91440" tIns="45720" rIns="91440" bIns="45720" anchor="t" anchorCtr="0">
            <a:noAutofit/>
          </a:bodyPr>
          <a:lstStyle>
            <a:lvl1pPr marL="0" indent="0" algn="l">
              <a:lnSpc>
                <a:spcPts val="2664"/>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8995" indent="0" algn="ctr">
              <a:buNone/>
              <a:defRPr>
                <a:solidFill>
                  <a:schemeClr val="tx1">
                    <a:tint val="75000"/>
                  </a:schemeClr>
                </a:solidFill>
              </a:defRPr>
            </a:lvl2pPr>
            <a:lvl3pPr marL="1218000" indent="0" algn="ctr">
              <a:buNone/>
              <a:defRPr>
                <a:solidFill>
                  <a:schemeClr val="tx1">
                    <a:tint val="75000"/>
                  </a:schemeClr>
                </a:solidFill>
              </a:defRPr>
            </a:lvl3pPr>
            <a:lvl4pPr marL="1827001" indent="0" algn="ctr">
              <a:buNone/>
              <a:defRPr>
                <a:solidFill>
                  <a:schemeClr val="tx1">
                    <a:tint val="75000"/>
                  </a:schemeClr>
                </a:solidFill>
              </a:defRPr>
            </a:lvl4pPr>
            <a:lvl5pPr marL="2436005" indent="0" algn="ctr">
              <a:buNone/>
              <a:defRPr>
                <a:solidFill>
                  <a:schemeClr val="tx1">
                    <a:tint val="75000"/>
                  </a:schemeClr>
                </a:solidFill>
              </a:defRPr>
            </a:lvl5pPr>
            <a:lvl6pPr marL="3045000" indent="0" algn="ctr">
              <a:buNone/>
              <a:defRPr>
                <a:solidFill>
                  <a:schemeClr val="tx1">
                    <a:tint val="75000"/>
                  </a:schemeClr>
                </a:solidFill>
              </a:defRPr>
            </a:lvl6pPr>
            <a:lvl7pPr marL="3654005" indent="0" algn="ctr">
              <a:buNone/>
              <a:defRPr>
                <a:solidFill>
                  <a:schemeClr val="tx1">
                    <a:tint val="75000"/>
                  </a:schemeClr>
                </a:solidFill>
              </a:defRPr>
            </a:lvl7pPr>
            <a:lvl8pPr marL="4263005" indent="0" algn="ctr">
              <a:buNone/>
              <a:defRPr>
                <a:solidFill>
                  <a:schemeClr val="tx1">
                    <a:tint val="75000"/>
                  </a:schemeClr>
                </a:solidFill>
              </a:defRPr>
            </a:lvl8pPr>
            <a:lvl9pPr marL="4872009"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2" y="2358683"/>
            <a:ext cx="5804989" cy="1071215"/>
          </a:xfrm>
          <a:prstGeom prst="rect">
            <a:avLst/>
          </a:prstGeom>
          <a:effectLst/>
        </p:spPr>
        <p:txBody>
          <a:bodyPr>
            <a:noAutofit/>
          </a:bodyPr>
          <a:lstStyle>
            <a:lvl1pPr marL="0" indent="0">
              <a:lnSpc>
                <a:spcPts val="3998"/>
              </a:lnSpc>
              <a:spcBef>
                <a:spcPts val="0"/>
              </a:spcBef>
              <a:buFontTx/>
              <a:buNone/>
              <a:defRPr sz="3398"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2"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398" b="0" baseline="0">
                <a:solidFill>
                  <a:schemeClr val="bg1"/>
                </a:solidFill>
                <a:latin typeface="Calibri" panose="020F0502020204030204" pitchFamily="34" charset="0"/>
                <a:cs typeface="Calibri" panose="020F0502020204030204" pitchFamily="34" charset="0"/>
              </a:defRPr>
            </a:lvl1pPr>
            <a:lvl2pPr marL="541362" indent="0">
              <a:buNone/>
              <a:defRPr/>
            </a:lvl2pPr>
            <a:lvl3pPr marL="759166" indent="0">
              <a:buNone/>
              <a:defRPr/>
            </a:lvl3pPr>
            <a:lvl4pPr marL="917771" indent="0">
              <a:buNone/>
              <a:defRPr/>
            </a:lvl4pPr>
            <a:lvl5pPr marL="1067911"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4"/>
            <a:ext cx="2843213" cy="365125"/>
          </a:xfrm>
        </p:spPr>
        <p:txBody>
          <a:bodyPr/>
          <a:lstStyle>
            <a:lvl1pPr>
              <a:defRPr/>
            </a:lvl1pPr>
          </a:lstStyle>
          <a:p>
            <a:fld id="{603289AC-4C12-4E6D-B39B-A4756814FEEC}" type="datetimeFigureOut">
              <a:rPr lang="en-US" smtClean="0">
                <a:solidFill>
                  <a:srgbClr val="4D4D4F">
                    <a:tint val="75000"/>
                  </a:srgbClr>
                </a:solidFill>
              </a:rPr>
              <a:pPr/>
              <a:t>29-Feb-24</a:t>
            </a:fld>
            <a:endParaRPr lang="en-US" dirty="0">
              <a:solidFill>
                <a:srgbClr val="4D4D4F">
                  <a:tint val="75000"/>
                </a:srgbClr>
              </a:solidFill>
            </a:endParaRPr>
          </a:p>
        </p:txBody>
      </p:sp>
      <p:grpSp>
        <p:nvGrpSpPr>
          <p:cNvPr id="8" name="SKO Wordmark"/>
          <p:cNvGrpSpPr/>
          <p:nvPr userDrawn="1"/>
        </p:nvGrpSpPr>
        <p:grpSpPr>
          <a:xfrm>
            <a:off x="9286129" y="1911637"/>
            <a:ext cx="1892808" cy="1892808"/>
            <a:chOff x="9256951" y="1841025"/>
            <a:chExt cx="1892808" cy="1892808"/>
          </a:xfrm>
        </p:grpSpPr>
        <p:pic>
          <p:nvPicPr>
            <p:cNvPr id="6" name="gradient circle behind"/>
            <p:cNvPicPr>
              <a:picLocks noChangeAspect="1"/>
            </p:cNvPicPr>
            <p:nvPr userDrawn="1"/>
          </p:nvPicPr>
          <p:blipFill>
            <a:blip r:embed="rId4"/>
            <a:stretch>
              <a:fillRect/>
            </a:stretch>
          </p:blipFill>
          <p:spPr>
            <a:xfrm>
              <a:off x="9333659" y="1917733"/>
              <a:ext cx="1739392" cy="1739392"/>
            </a:xfrm>
            <a:prstGeom prst="rect">
              <a:avLst/>
            </a:prstGeom>
          </p:spPr>
        </p:pic>
        <p:pic>
          <p:nvPicPr>
            <p:cNvPr id="7" name="SKO wordmark"/>
            <p:cNvPicPr>
              <a:picLocks noChangeAspect="1"/>
            </p:cNvPicPr>
            <p:nvPr userDrawn="1"/>
          </p:nvPicPr>
          <p:blipFill>
            <a:blip r:embed="rId5"/>
            <a:stretch>
              <a:fillRect/>
            </a:stretch>
          </p:blipFill>
          <p:spPr>
            <a:xfrm>
              <a:off x="9256951" y="1841025"/>
              <a:ext cx="1892808" cy="1892808"/>
            </a:xfrm>
            <a:prstGeom prst="rect">
              <a:avLst/>
            </a:prstGeom>
            <a:effectLst>
              <a:outerShdw blurRad="50800" dist="38100" dir="2700000" algn="tl" rotWithShape="0">
                <a:prstClr val="black">
                  <a:alpha val="40000"/>
                </a:prstClr>
              </a:outerShdw>
            </a:effectLst>
          </p:spPr>
        </p:pic>
      </p:grpSp>
      <p:grpSp>
        <p:nvGrpSpPr>
          <p:cNvPr id="16" name="Group 4"/>
          <p:cNvGrpSpPr>
            <a:grpSpLocks noChangeAspect="1"/>
          </p:cNvGrpSpPr>
          <p:nvPr userDrawn="1"/>
        </p:nvGrpSpPr>
        <p:grpSpPr bwMode="auto">
          <a:xfrm>
            <a:off x="7721600" y="5908679"/>
            <a:ext cx="3746500" cy="307975"/>
            <a:chOff x="4864" y="3722"/>
            <a:chExt cx="2360" cy="194"/>
          </a:xfrm>
        </p:grpSpPr>
        <p:sp>
          <p:nvSpPr>
            <p:cNvPr id="17" name="AutoShape 3"/>
            <p:cNvSpPr>
              <a:spLocks noChangeAspect="1" noChangeArrowheads="1" noTextEdit="1"/>
            </p:cNvSpPr>
            <p:nvPr userDrawn="1"/>
          </p:nvSpPr>
          <p:spPr bwMode="auto">
            <a:xfrm>
              <a:off x="4864" y="3722"/>
              <a:ext cx="236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18" name="Freeform 5"/>
            <p:cNvSpPr>
              <a:spLocks noEditPoints="1"/>
            </p:cNvSpPr>
            <p:nvPr userDrawn="1"/>
          </p:nvSpPr>
          <p:spPr bwMode="auto">
            <a:xfrm>
              <a:off x="4865" y="3721"/>
              <a:ext cx="101"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19" name="Freeform 6"/>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0" name="Freeform 7"/>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1" name="Freeform 8"/>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2" name="Freeform 9"/>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3" name="Freeform 10"/>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4" name="Freeform 11"/>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5" name="Freeform 12"/>
            <p:cNvSpPr>
              <a:spLocks noEditPoints="1"/>
            </p:cNvSpPr>
            <p:nvPr userDrawn="1"/>
          </p:nvSpPr>
          <p:spPr bwMode="auto">
            <a:xfrm>
              <a:off x="5661" y="3721"/>
              <a:ext cx="102"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6" name="Freeform 13"/>
            <p:cNvSpPr>
              <a:spLocks/>
            </p:cNvSpPr>
            <p:nvPr userDrawn="1"/>
          </p:nvSpPr>
          <p:spPr bwMode="auto">
            <a:xfrm>
              <a:off x="5827" y="3723"/>
              <a:ext cx="97" cy="194"/>
            </a:xfrm>
            <a:custGeom>
              <a:avLst/>
              <a:gdLst>
                <a:gd name="T0" fmla="*/ 136 w 136"/>
                <a:gd name="T1" fmla="*/ 0 h 269"/>
                <a:gd name="T2" fmla="*/ 94 w 136"/>
                <a:gd name="T3" fmla="*/ 0 h 269"/>
                <a:gd name="T4" fmla="*/ 94 w 136"/>
                <a:gd name="T5" fmla="*/ 199 h 269"/>
                <a:gd name="T6" fmla="*/ 87 w 136"/>
                <a:gd name="T7" fmla="*/ 223 h 269"/>
                <a:gd name="T8" fmla="*/ 68 w 136"/>
                <a:gd name="T9" fmla="*/ 231 h 269"/>
                <a:gd name="T10" fmla="*/ 49 w 136"/>
                <a:gd name="T11" fmla="*/ 223 h 269"/>
                <a:gd name="T12" fmla="*/ 42 w 136"/>
                <a:gd name="T13" fmla="*/ 199 h 269"/>
                <a:gd name="T14" fmla="*/ 42 w 136"/>
                <a:gd name="T15" fmla="*/ 0 h 269"/>
                <a:gd name="T16" fmla="*/ 0 w 136"/>
                <a:gd name="T17" fmla="*/ 0 h 269"/>
                <a:gd name="T18" fmla="*/ 0 w 136"/>
                <a:gd name="T19" fmla="*/ 200 h 269"/>
                <a:gd name="T20" fmla="*/ 19 w 136"/>
                <a:gd name="T21" fmla="*/ 249 h 269"/>
                <a:gd name="T22" fmla="*/ 68 w 136"/>
                <a:gd name="T23" fmla="*/ 269 h 269"/>
                <a:gd name="T24" fmla="*/ 118 w 136"/>
                <a:gd name="T25" fmla="*/ 249 h 269"/>
                <a:gd name="T26" fmla="*/ 136 w 136"/>
                <a:gd name="T27" fmla="*/ 200 h 269"/>
                <a:gd name="T28" fmla="*/ 136 w 136"/>
                <a:gd name="T29"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269">
                  <a:moveTo>
                    <a:pt x="136" y="0"/>
                  </a:moveTo>
                  <a:cubicBezTo>
                    <a:pt x="94" y="0"/>
                    <a:pt x="94" y="0"/>
                    <a:pt x="94" y="0"/>
                  </a:cubicBezTo>
                  <a:cubicBezTo>
                    <a:pt x="94" y="199"/>
                    <a:pt x="94" y="199"/>
                    <a:pt x="94" y="199"/>
                  </a:cubicBezTo>
                  <a:cubicBezTo>
                    <a:pt x="94" y="210"/>
                    <a:pt x="92" y="218"/>
                    <a:pt x="87" y="223"/>
                  </a:cubicBezTo>
                  <a:cubicBezTo>
                    <a:pt x="83" y="229"/>
                    <a:pt x="77" y="231"/>
                    <a:pt x="68" y="231"/>
                  </a:cubicBezTo>
                  <a:cubicBezTo>
                    <a:pt x="60" y="231"/>
                    <a:pt x="53" y="229"/>
                    <a:pt x="49" y="223"/>
                  </a:cubicBezTo>
                  <a:cubicBezTo>
                    <a:pt x="44" y="218"/>
                    <a:pt x="42" y="210"/>
                    <a:pt x="42" y="199"/>
                  </a:cubicBezTo>
                  <a:cubicBezTo>
                    <a:pt x="42" y="0"/>
                    <a:pt x="42" y="0"/>
                    <a:pt x="42" y="0"/>
                  </a:cubicBezTo>
                  <a:cubicBezTo>
                    <a:pt x="0" y="0"/>
                    <a:pt x="0" y="0"/>
                    <a:pt x="0" y="0"/>
                  </a:cubicBezTo>
                  <a:cubicBezTo>
                    <a:pt x="0" y="200"/>
                    <a:pt x="0" y="200"/>
                    <a:pt x="0" y="200"/>
                  </a:cubicBezTo>
                  <a:cubicBezTo>
                    <a:pt x="0" y="221"/>
                    <a:pt x="6" y="237"/>
                    <a:pt x="19" y="249"/>
                  </a:cubicBezTo>
                  <a:cubicBezTo>
                    <a:pt x="31" y="262"/>
                    <a:pt x="48" y="269"/>
                    <a:pt x="68" y="269"/>
                  </a:cubicBezTo>
                  <a:cubicBezTo>
                    <a:pt x="89" y="269"/>
                    <a:pt x="105" y="262"/>
                    <a:pt x="118" y="249"/>
                  </a:cubicBezTo>
                  <a:cubicBezTo>
                    <a:pt x="130" y="237"/>
                    <a:pt x="136" y="221"/>
                    <a:pt x="136" y="200"/>
                  </a:cubicBezTo>
                  <a:cubicBezTo>
                    <a:pt x="136" y="0"/>
                    <a:pt x="136" y="0"/>
                    <a:pt x="136"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7" name="Freeform 14"/>
            <p:cNvSpPr>
              <a:spLocks noEditPoints="1"/>
            </p:cNvSpPr>
            <p:nvPr userDrawn="1"/>
          </p:nvSpPr>
          <p:spPr bwMode="auto">
            <a:xfrm>
              <a:off x="5995" y="3723"/>
              <a:ext cx="102" cy="192"/>
            </a:xfrm>
            <a:custGeom>
              <a:avLst/>
              <a:gdLst>
                <a:gd name="T0" fmla="*/ 41 w 143"/>
                <a:gd name="T1" fmla="*/ 119 h 266"/>
                <a:gd name="T2" fmla="*/ 41 w 143"/>
                <a:gd name="T3" fmla="*/ 38 h 266"/>
                <a:gd name="T4" fmla="*/ 67 w 143"/>
                <a:gd name="T5" fmla="*/ 38 h 266"/>
                <a:gd name="T6" fmla="*/ 81 w 143"/>
                <a:gd name="T7" fmla="*/ 41 h 266"/>
                <a:gd name="T8" fmla="*/ 89 w 143"/>
                <a:gd name="T9" fmla="*/ 50 h 266"/>
                <a:gd name="T10" fmla="*/ 92 w 143"/>
                <a:gd name="T11" fmla="*/ 63 h 266"/>
                <a:gd name="T12" fmla="*/ 93 w 143"/>
                <a:gd name="T13" fmla="*/ 78 h 266"/>
                <a:gd name="T14" fmla="*/ 92 w 143"/>
                <a:gd name="T15" fmla="*/ 94 h 266"/>
                <a:gd name="T16" fmla="*/ 89 w 143"/>
                <a:gd name="T17" fmla="*/ 107 h 266"/>
                <a:gd name="T18" fmla="*/ 81 w 143"/>
                <a:gd name="T19" fmla="*/ 116 h 266"/>
                <a:gd name="T20" fmla="*/ 67 w 143"/>
                <a:gd name="T21" fmla="*/ 119 h 266"/>
                <a:gd name="T22" fmla="*/ 41 w 143"/>
                <a:gd name="T23" fmla="*/ 119 h 266"/>
                <a:gd name="T24" fmla="*/ 67 w 143"/>
                <a:gd name="T25" fmla="*/ 0 h 266"/>
                <a:gd name="T26" fmla="*/ 0 w 143"/>
                <a:gd name="T27" fmla="*/ 0 h 266"/>
                <a:gd name="T28" fmla="*/ 0 w 143"/>
                <a:gd name="T29" fmla="*/ 266 h 266"/>
                <a:gd name="T30" fmla="*/ 41 w 143"/>
                <a:gd name="T31" fmla="*/ 266 h 266"/>
                <a:gd name="T32" fmla="*/ 41 w 143"/>
                <a:gd name="T33" fmla="*/ 157 h 266"/>
                <a:gd name="T34" fmla="*/ 65 w 143"/>
                <a:gd name="T35" fmla="*/ 157 h 266"/>
                <a:gd name="T36" fmla="*/ 100 w 143"/>
                <a:gd name="T37" fmla="*/ 266 h 266"/>
                <a:gd name="T38" fmla="*/ 143 w 143"/>
                <a:gd name="T39" fmla="*/ 266 h 266"/>
                <a:gd name="T40" fmla="*/ 104 w 143"/>
                <a:gd name="T41" fmla="*/ 148 h 266"/>
                <a:gd name="T42" fmla="*/ 129 w 143"/>
                <a:gd name="T43" fmla="*/ 121 h 266"/>
                <a:gd name="T44" fmla="*/ 135 w 143"/>
                <a:gd name="T45" fmla="*/ 78 h 266"/>
                <a:gd name="T46" fmla="*/ 119 w 143"/>
                <a:gd name="T47" fmla="*/ 18 h 266"/>
                <a:gd name="T48" fmla="*/ 67 w 143"/>
                <a:gd name="T4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3" h="266">
                  <a:moveTo>
                    <a:pt x="41" y="119"/>
                  </a:moveTo>
                  <a:cubicBezTo>
                    <a:pt x="41" y="38"/>
                    <a:pt x="41" y="38"/>
                    <a:pt x="41" y="38"/>
                  </a:cubicBezTo>
                  <a:cubicBezTo>
                    <a:pt x="67" y="38"/>
                    <a:pt x="67" y="38"/>
                    <a:pt x="67" y="38"/>
                  </a:cubicBezTo>
                  <a:cubicBezTo>
                    <a:pt x="73" y="38"/>
                    <a:pt x="77" y="39"/>
                    <a:pt x="81" y="41"/>
                  </a:cubicBezTo>
                  <a:cubicBezTo>
                    <a:pt x="84" y="43"/>
                    <a:pt x="87" y="46"/>
                    <a:pt x="89" y="50"/>
                  </a:cubicBezTo>
                  <a:cubicBezTo>
                    <a:pt x="90" y="53"/>
                    <a:pt x="91" y="58"/>
                    <a:pt x="92" y="63"/>
                  </a:cubicBezTo>
                  <a:cubicBezTo>
                    <a:pt x="93" y="68"/>
                    <a:pt x="93" y="73"/>
                    <a:pt x="93" y="78"/>
                  </a:cubicBezTo>
                  <a:cubicBezTo>
                    <a:pt x="93" y="84"/>
                    <a:pt x="93" y="89"/>
                    <a:pt x="92" y="94"/>
                  </a:cubicBezTo>
                  <a:cubicBezTo>
                    <a:pt x="91" y="99"/>
                    <a:pt x="90" y="104"/>
                    <a:pt x="89" y="107"/>
                  </a:cubicBezTo>
                  <a:cubicBezTo>
                    <a:pt x="87" y="111"/>
                    <a:pt x="84" y="114"/>
                    <a:pt x="81" y="116"/>
                  </a:cubicBezTo>
                  <a:cubicBezTo>
                    <a:pt x="77" y="118"/>
                    <a:pt x="73" y="119"/>
                    <a:pt x="67" y="119"/>
                  </a:cubicBezTo>
                  <a:cubicBezTo>
                    <a:pt x="41" y="119"/>
                    <a:pt x="41" y="119"/>
                    <a:pt x="41" y="119"/>
                  </a:cubicBezTo>
                  <a:moveTo>
                    <a:pt x="67" y="0"/>
                  </a:moveTo>
                  <a:cubicBezTo>
                    <a:pt x="0" y="0"/>
                    <a:pt x="0" y="0"/>
                    <a:pt x="0" y="0"/>
                  </a:cubicBezTo>
                  <a:cubicBezTo>
                    <a:pt x="0" y="266"/>
                    <a:pt x="0" y="266"/>
                    <a:pt x="0" y="266"/>
                  </a:cubicBezTo>
                  <a:cubicBezTo>
                    <a:pt x="41" y="266"/>
                    <a:pt x="41" y="266"/>
                    <a:pt x="41" y="266"/>
                  </a:cubicBezTo>
                  <a:cubicBezTo>
                    <a:pt x="41" y="157"/>
                    <a:pt x="41" y="157"/>
                    <a:pt x="41" y="157"/>
                  </a:cubicBezTo>
                  <a:cubicBezTo>
                    <a:pt x="65" y="157"/>
                    <a:pt x="65" y="157"/>
                    <a:pt x="65" y="157"/>
                  </a:cubicBezTo>
                  <a:cubicBezTo>
                    <a:pt x="100" y="266"/>
                    <a:pt x="100" y="266"/>
                    <a:pt x="100" y="266"/>
                  </a:cubicBezTo>
                  <a:cubicBezTo>
                    <a:pt x="143" y="266"/>
                    <a:pt x="143" y="266"/>
                    <a:pt x="143" y="266"/>
                  </a:cubicBezTo>
                  <a:cubicBezTo>
                    <a:pt x="104" y="148"/>
                    <a:pt x="104" y="148"/>
                    <a:pt x="104" y="148"/>
                  </a:cubicBezTo>
                  <a:cubicBezTo>
                    <a:pt x="116" y="141"/>
                    <a:pt x="124" y="132"/>
                    <a:pt x="129" y="121"/>
                  </a:cubicBezTo>
                  <a:cubicBezTo>
                    <a:pt x="133" y="109"/>
                    <a:pt x="135" y="95"/>
                    <a:pt x="135" y="78"/>
                  </a:cubicBezTo>
                  <a:cubicBezTo>
                    <a:pt x="135" y="51"/>
                    <a:pt x="130" y="31"/>
                    <a:pt x="119" y="18"/>
                  </a:cubicBezTo>
                  <a:cubicBezTo>
                    <a:pt x="109" y="6"/>
                    <a:pt x="91" y="0"/>
                    <a:pt x="67"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8" name="Freeform 15"/>
            <p:cNvSpPr>
              <a:spLocks noEditPoints="1"/>
            </p:cNvSpPr>
            <p:nvPr userDrawn="1"/>
          </p:nvSpPr>
          <p:spPr bwMode="auto">
            <a:xfrm>
              <a:off x="6249" y="3723"/>
              <a:ext cx="99" cy="192"/>
            </a:xfrm>
            <a:custGeom>
              <a:avLst/>
              <a:gdLst>
                <a:gd name="T0" fmla="*/ 42 w 139"/>
                <a:gd name="T1" fmla="*/ 228 h 266"/>
                <a:gd name="T2" fmla="*/ 42 w 139"/>
                <a:gd name="T3" fmla="*/ 38 h 266"/>
                <a:gd name="T4" fmla="*/ 67 w 139"/>
                <a:gd name="T5" fmla="*/ 38 h 266"/>
                <a:gd name="T6" fmla="*/ 80 w 139"/>
                <a:gd name="T7" fmla="*/ 41 h 266"/>
                <a:gd name="T8" fmla="*/ 88 w 139"/>
                <a:gd name="T9" fmla="*/ 49 h 266"/>
                <a:gd name="T10" fmla="*/ 96 w 139"/>
                <a:gd name="T11" fmla="*/ 78 h 266"/>
                <a:gd name="T12" fmla="*/ 97 w 139"/>
                <a:gd name="T13" fmla="*/ 133 h 266"/>
                <a:gd name="T14" fmla="*/ 96 w 139"/>
                <a:gd name="T15" fmla="*/ 188 h 266"/>
                <a:gd name="T16" fmla="*/ 88 w 139"/>
                <a:gd name="T17" fmla="*/ 217 h 266"/>
                <a:gd name="T18" fmla="*/ 80 w 139"/>
                <a:gd name="T19" fmla="*/ 225 h 266"/>
                <a:gd name="T20" fmla="*/ 67 w 139"/>
                <a:gd name="T21" fmla="*/ 228 h 266"/>
                <a:gd name="T22" fmla="*/ 42 w 139"/>
                <a:gd name="T23" fmla="*/ 228 h 266"/>
                <a:gd name="T24" fmla="*/ 68 w 139"/>
                <a:gd name="T25" fmla="*/ 0 h 266"/>
                <a:gd name="T26" fmla="*/ 0 w 139"/>
                <a:gd name="T27" fmla="*/ 0 h 266"/>
                <a:gd name="T28" fmla="*/ 0 w 139"/>
                <a:gd name="T29" fmla="*/ 266 h 266"/>
                <a:gd name="T30" fmla="*/ 68 w 139"/>
                <a:gd name="T31" fmla="*/ 266 h 266"/>
                <a:gd name="T32" fmla="*/ 99 w 139"/>
                <a:gd name="T33" fmla="*/ 260 h 266"/>
                <a:gd name="T34" fmla="*/ 119 w 139"/>
                <a:gd name="T35" fmla="*/ 244 h 266"/>
                <a:gd name="T36" fmla="*/ 130 w 139"/>
                <a:gd name="T37" fmla="*/ 227 h 266"/>
                <a:gd name="T38" fmla="*/ 136 w 139"/>
                <a:gd name="T39" fmla="*/ 204 h 266"/>
                <a:gd name="T40" fmla="*/ 138 w 139"/>
                <a:gd name="T41" fmla="*/ 173 h 266"/>
                <a:gd name="T42" fmla="*/ 139 w 139"/>
                <a:gd name="T43" fmla="*/ 133 h 266"/>
                <a:gd name="T44" fmla="*/ 138 w 139"/>
                <a:gd name="T45" fmla="*/ 92 h 266"/>
                <a:gd name="T46" fmla="*/ 136 w 139"/>
                <a:gd name="T47" fmla="*/ 62 h 266"/>
                <a:gd name="T48" fmla="*/ 130 w 139"/>
                <a:gd name="T49" fmla="*/ 39 h 266"/>
                <a:gd name="T50" fmla="*/ 119 w 139"/>
                <a:gd name="T51" fmla="*/ 22 h 266"/>
                <a:gd name="T52" fmla="*/ 99 w 139"/>
                <a:gd name="T53" fmla="*/ 6 h 266"/>
                <a:gd name="T54" fmla="*/ 68 w 139"/>
                <a:gd name="T5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66">
                  <a:moveTo>
                    <a:pt x="42" y="228"/>
                  </a:moveTo>
                  <a:cubicBezTo>
                    <a:pt x="42" y="38"/>
                    <a:pt x="42" y="38"/>
                    <a:pt x="42" y="38"/>
                  </a:cubicBezTo>
                  <a:cubicBezTo>
                    <a:pt x="67" y="38"/>
                    <a:pt x="67" y="38"/>
                    <a:pt x="67" y="38"/>
                  </a:cubicBezTo>
                  <a:cubicBezTo>
                    <a:pt x="72" y="38"/>
                    <a:pt x="76" y="39"/>
                    <a:pt x="80" y="41"/>
                  </a:cubicBezTo>
                  <a:cubicBezTo>
                    <a:pt x="83" y="43"/>
                    <a:pt x="86" y="45"/>
                    <a:pt x="88" y="49"/>
                  </a:cubicBezTo>
                  <a:cubicBezTo>
                    <a:pt x="92" y="55"/>
                    <a:pt x="95" y="65"/>
                    <a:pt x="96" y="78"/>
                  </a:cubicBezTo>
                  <a:cubicBezTo>
                    <a:pt x="97" y="91"/>
                    <a:pt x="97" y="109"/>
                    <a:pt x="97" y="133"/>
                  </a:cubicBezTo>
                  <a:cubicBezTo>
                    <a:pt x="97" y="156"/>
                    <a:pt x="97" y="174"/>
                    <a:pt x="96" y="188"/>
                  </a:cubicBezTo>
                  <a:cubicBezTo>
                    <a:pt x="95" y="201"/>
                    <a:pt x="92" y="211"/>
                    <a:pt x="88" y="217"/>
                  </a:cubicBezTo>
                  <a:cubicBezTo>
                    <a:pt x="86" y="221"/>
                    <a:pt x="83" y="223"/>
                    <a:pt x="80" y="225"/>
                  </a:cubicBezTo>
                  <a:cubicBezTo>
                    <a:pt x="76" y="227"/>
                    <a:pt x="72" y="228"/>
                    <a:pt x="67" y="228"/>
                  </a:cubicBezTo>
                  <a:cubicBezTo>
                    <a:pt x="42" y="228"/>
                    <a:pt x="42" y="228"/>
                    <a:pt x="42" y="228"/>
                  </a:cubicBezTo>
                  <a:moveTo>
                    <a:pt x="68" y="0"/>
                  </a:moveTo>
                  <a:cubicBezTo>
                    <a:pt x="0" y="0"/>
                    <a:pt x="0" y="0"/>
                    <a:pt x="0" y="0"/>
                  </a:cubicBezTo>
                  <a:cubicBezTo>
                    <a:pt x="0" y="266"/>
                    <a:pt x="0" y="266"/>
                    <a:pt x="0" y="266"/>
                  </a:cubicBezTo>
                  <a:cubicBezTo>
                    <a:pt x="68" y="266"/>
                    <a:pt x="68" y="266"/>
                    <a:pt x="68" y="266"/>
                  </a:cubicBezTo>
                  <a:cubicBezTo>
                    <a:pt x="81" y="266"/>
                    <a:pt x="91" y="264"/>
                    <a:pt x="99" y="260"/>
                  </a:cubicBezTo>
                  <a:cubicBezTo>
                    <a:pt x="107" y="255"/>
                    <a:pt x="114" y="250"/>
                    <a:pt x="119" y="244"/>
                  </a:cubicBezTo>
                  <a:cubicBezTo>
                    <a:pt x="124" y="239"/>
                    <a:pt x="127" y="233"/>
                    <a:pt x="130" y="227"/>
                  </a:cubicBezTo>
                  <a:cubicBezTo>
                    <a:pt x="133" y="220"/>
                    <a:pt x="135" y="213"/>
                    <a:pt x="136" y="204"/>
                  </a:cubicBezTo>
                  <a:cubicBezTo>
                    <a:pt x="137" y="195"/>
                    <a:pt x="138" y="185"/>
                    <a:pt x="138" y="173"/>
                  </a:cubicBezTo>
                  <a:cubicBezTo>
                    <a:pt x="139" y="162"/>
                    <a:pt x="139" y="148"/>
                    <a:pt x="139" y="133"/>
                  </a:cubicBezTo>
                  <a:cubicBezTo>
                    <a:pt x="139" y="117"/>
                    <a:pt x="139" y="104"/>
                    <a:pt x="138" y="92"/>
                  </a:cubicBezTo>
                  <a:cubicBezTo>
                    <a:pt x="138" y="81"/>
                    <a:pt x="137" y="71"/>
                    <a:pt x="136" y="62"/>
                  </a:cubicBezTo>
                  <a:cubicBezTo>
                    <a:pt x="135" y="53"/>
                    <a:pt x="133" y="45"/>
                    <a:pt x="130" y="39"/>
                  </a:cubicBezTo>
                  <a:cubicBezTo>
                    <a:pt x="127" y="33"/>
                    <a:pt x="124" y="27"/>
                    <a:pt x="119" y="22"/>
                  </a:cubicBezTo>
                  <a:cubicBezTo>
                    <a:pt x="114" y="16"/>
                    <a:pt x="107" y="11"/>
                    <a:pt x="99" y="6"/>
                  </a:cubicBezTo>
                  <a:cubicBezTo>
                    <a:pt x="91" y="2"/>
                    <a:pt x="81" y="0"/>
                    <a:pt x="68"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29" name="Freeform 16"/>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0" name="Freeform 17"/>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1" name="Freeform 18"/>
            <p:cNvSpPr>
              <a:spLocks/>
            </p:cNvSpPr>
            <p:nvPr userDrawn="1"/>
          </p:nvSpPr>
          <p:spPr bwMode="auto">
            <a:xfrm>
              <a:off x="6554" y="3722"/>
              <a:ext cx="98" cy="195"/>
            </a:xfrm>
            <a:custGeom>
              <a:avLst/>
              <a:gdLst>
                <a:gd name="T0" fmla="*/ 70 w 138"/>
                <a:gd name="T1" fmla="*/ 0 h 271"/>
                <a:gd name="T2" fmla="*/ 44 w 138"/>
                <a:gd name="T3" fmla="*/ 4 h 271"/>
                <a:gd name="T4" fmla="*/ 24 w 138"/>
                <a:gd name="T5" fmla="*/ 16 h 271"/>
                <a:gd name="T6" fmla="*/ 8 w 138"/>
                <a:gd name="T7" fmla="*/ 40 h 271"/>
                <a:gd name="T8" fmla="*/ 3 w 138"/>
                <a:gd name="T9" fmla="*/ 72 h 271"/>
                <a:gd name="T10" fmla="*/ 5 w 138"/>
                <a:gd name="T11" fmla="*/ 98 h 271"/>
                <a:gd name="T12" fmla="*/ 11 w 138"/>
                <a:gd name="T13" fmla="*/ 117 h 271"/>
                <a:gd name="T14" fmla="*/ 22 w 138"/>
                <a:gd name="T15" fmla="*/ 130 h 271"/>
                <a:gd name="T16" fmla="*/ 40 w 138"/>
                <a:gd name="T17" fmla="*/ 139 h 271"/>
                <a:gd name="T18" fmla="*/ 71 w 138"/>
                <a:gd name="T19" fmla="*/ 152 h 271"/>
                <a:gd name="T20" fmla="*/ 84 w 138"/>
                <a:gd name="T21" fmla="*/ 159 h 271"/>
                <a:gd name="T22" fmla="*/ 92 w 138"/>
                <a:gd name="T23" fmla="*/ 167 h 271"/>
                <a:gd name="T24" fmla="*/ 95 w 138"/>
                <a:gd name="T25" fmla="*/ 178 h 271"/>
                <a:gd name="T26" fmla="*/ 96 w 138"/>
                <a:gd name="T27" fmla="*/ 196 h 271"/>
                <a:gd name="T28" fmla="*/ 95 w 138"/>
                <a:gd name="T29" fmla="*/ 214 h 271"/>
                <a:gd name="T30" fmla="*/ 89 w 138"/>
                <a:gd name="T31" fmla="*/ 225 h 271"/>
                <a:gd name="T32" fmla="*/ 69 w 138"/>
                <a:gd name="T33" fmla="*/ 233 h 271"/>
                <a:gd name="T34" fmla="*/ 57 w 138"/>
                <a:gd name="T35" fmla="*/ 231 h 271"/>
                <a:gd name="T36" fmla="*/ 50 w 138"/>
                <a:gd name="T37" fmla="*/ 226 h 271"/>
                <a:gd name="T38" fmla="*/ 44 w 138"/>
                <a:gd name="T39" fmla="*/ 214 h 271"/>
                <a:gd name="T40" fmla="*/ 42 w 138"/>
                <a:gd name="T41" fmla="*/ 196 h 271"/>
                <a:gd name="T42" fmla="*/ 0 w 138"/>
                <a:gd name="T43" fmla="*/ 196 h 271"/>
                <a:gd name="T44" fmla="*/ 4 w 138"/>
                <a:gd name="T45" fmla="*/ 230 h 271"/>
                <a:gd name="T46" fmla="*/ 17 w 138"/>
                <a:gd name="T47" fmla="*/ 253 h 271"/>
                <a:gd name="T48" fmla="*/ 69 w 138"/>
                <a:gd name="T49" fmla="*/ 271 h 271"/>
                <a:gd name="T50" fmla="*/ 100 w 138"/>
                <a:gd name="T51" fmla="*/ 266 h 271"/>
                <a:gd name="T52" fmla="*/ 121 w 138"/>
                <a:gd name="T53" fmla="*/ 253 h 271"/>
                <a:gd name="T54" fmla="*/ 135 w 138"/>
                <a:gd name="T55" fmla="*/ 229 h 271"/>
                <a:gd name="T56" fmla="*/ 138 w 138"/>
                <a:gd name="T57" fmla="*/ 194 h 271"/>
                <a:gd name="T58" fmla="*/ 136 w 138"/>
                <a:gd name="T59" fmla="*/ 166 h 271"/>
                <a:gd name="T60" fmla="*/ 130 w 138"/>
                <a:gd name="T61" fmla="*/ 145 h 271"/>
                <a:gd name="T62" fmla="*/ 118 w 138"/>
                <a:gd name="T63" fmla="*/ 131 h 271"/>
                <a:gd name="T64" fmla="*/ 98 w 138"/>
                <a:gd name="T65" fmla="*/ 120 h 271"/>
                <a:gd name="T66" fmla="*/ 66 w 138"/>
                <a:gd name="T67" fmla="*/ 107 h 271"/>
                <a:gd name="T68" fmla="*/ 55 w 138"/>
                <a:gd name="T69" fmla="*/ 101 h 271"/>
                <a:gd name="T70" fmla="*/ 48 w 138"/>
                <a:gd name="T71" fmla="*/ 94 h 271"/>
                <a:gd name="T72" fmla="*/ 45 w 138"/>
                <a:gd name="T73" fmla="*/ 85 h 271"/>
                <a:gd name="T74" fmla="*/ 44 w 138"/>
                <a:gd name="T75" fmla="*/ 71 h 271"/>
                <a:gd name="T76" fmla="*/ 52 w 138"/>
                <a:gd name="T77" fmla="*/ 45 h 271"/>
                <a:gd name="T78" fmla="*/ 59 w 138"/>
                <a:gd name="T79" fmla="*/ 40 h 271"/>
                <a:gd name="T80" fmla="*/ 69 w 138"/>
                <a:gd name="T81" fmla="*/ 37 h 271"/>
                <a:gd name="T82" fmla="*/ 88 w 138"/>
                <a:gd name="T83" fmla="*/ 45 h 271"/>
                <a:gd name="T84" fmla="*/ 93 w 138"/>
                <a:gd name="T85" fmla="*/ 58 h 271"/>
                <a:gd name="T86" fmla="*/ 94 w 138"/>
                <a:gd name="T87" fmla="*/ 74 h 271"/>
                <a:gd name="T88" fmla="*/ 136 w 138"/>
                <a:gd name="T89" fmla="*/ 74 h 271"/>
                <a:gd name="T90" fmla="*/ 132 w 138"/>
                <a:gd name="T91" fmla="*/ 40 h 271"/>
                <a:gd name="T92" fmla="*/ 118 w 138"/>
                <a:gd name="T93" fmla="*/ 16 h 271"/>
                <a:gd name="T94" fmla="*/ 70 w 138"/>
                <a:gd name="T95"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271">
                  <a:moveTo>
                    <a:pt x="70" y="0"/>
                  </a:moveTo>
                  <a:cubicBezTo>
                    <a:pt x="60" y="0"/>
                    <a:pt x="52" y="1"/>
                    <a:pt x="44" y="4"/>
                  </a:cubicBezTo>
                  <a:cubicBezTo>
                    <a:pt x="37" y="7"/>
                    <a:pt x="30" y="11"/>
                    <a:pt x="24" y="16"/>
                  </a:cubicBezTo>
                  <a:cubicBezTo>
                    <a:pt x="17" y="22"/>
                    <a:pt x="12" y="30"/>
                    <a:pt x="8" y="40"/>
                  </a:cubicBezTo>
                  <a:cubicBezTo>
                    <a:pt x="4" y="50"/>
                    <a:pt x="3" y="60"/>
                    <a:pt x="3" y="72"/>
                  </a:cubicBezTo>
                  <a:cubicBezTo>
                    <a:pt x="3" y="82"/>
                    <a:pt x="3" y="91"/>
                    <a:pt x="5" y="98"/>
                  </a:cubicBezTo>
                  <a:cubicBezTo>
                    <a:pt x="6" y="106"/>
                    <a:pt x="8" y="112"/>
                    <a:pt x="11" y="117"/>
                  </a:cubicBezTo>
                  <a:cubicBezTo>
                    <a:pt x="14" y="122"/>
                    <a:pt x="18" y="126"/>
                    <a:pt x="22" y="130"/>
                  </a:cubicBezTo>
                  <a:cubicBezTo>
                    <a:pt x="27" y="133"/>
                    <a:pt x="33" y="136"/>
                    <a:pt x="40" y="139"/>
                  </a:cubicBezTo>
                  <a:cubicBezTo>
                    <a:pt x="71" y="152"/>
                    <a:pt x="71" y="152"/>
                    <a:pt x="71" y="152"/>
                  </a:cubicBezTo>
                  <a:cubicBezTo>
                    <a:pt x="77" y="154"/>
                    <a:pt x="81" y="156"/>
                    <a:pt x="84" y="159"/>
                  </a:cubicBezTo>
                  <a:cubicBezTo>
                    <a:pt x="87" y="161"/>
                    <a:pt x="90" y="163"/>
                    <a:pt x="92" y="167"/>
                  </a:cubicBezTo>
                  <a:cubicBezTo>
                    <a:pt x="94" y="170"/>
                    <a:pt x="95" y="174"/>
                    <a:pt x="95" y="178"/>
                  </a:cubicBezTo>
                  <a:cubicBezTo>
                    <a:pt x="96" y="183"/>
                    <a:pt x="96" y="189"/>
                    <a:pt x="96" y="196"/>
                  </a:cubicBezTo>
                  <a:cubicBezTo>
                    <a:pt x="96" y="203"/>
                    <a:pt x="96" y="209"/>
                    <a:pt x="95" y="214"/>
                  </a:cubicBezTo>
                  <a:cubicBezTo>
                    <a:pt x="94" y="218"/>
                    <a:pt x="92" y="222"/>
                    <a:pt x="89" y="225"/>
                  </a:cubicBezTo>
                  <a:cubicBezTo>
                    <a:pt x="85" y="230"/>
                    <a:pt x="78" y="233"/>
                    <a:pt x="69" y="233"/>
                  </a:cubicBezTo>
                  <a:cubicBezTo>
                    <a:pt x="64" y="233"/>
                    <a:pt x="60" y="232"/>
                    <a:pt x="57" y="231"/>
                  </a:cubicBezTo>
                  <a:cubicBezTo>
                    <a:pt x="54" y="229"/>
                    <a:pt x="52" y="228"/>
                    <a:pt x="50" y="226"/>
                  </a:cubicBezTo>
                  <a:cubicBezTo>
                    <a:pt x="47" y="222"/>
                    <a:pt x="45" y="218"/>
                    <a:pt x="44" y="214"/>
                  </a:cubicBezTo>
                  <a:cubicBezTo>
                    <a:pt x="43" y="209"/>
                    <a:pt x="42" y="203"/>
                    <a:pt x="42" y="196"/>
                  </a:cubicBezTo>
                  <a:cubicBezTo>
                    <a:pt x="0" y="196"/>
                    <a:pt x="0" y="196"/>
                    <a:pt x="0" y="196"/>
                  </a:cubicBezTo>
                  <a:cubicBezTo>
                    <a:pt x="0" y="210"/>
                    <a:pt x="2" y="222"/>
                    <a:pt x="4" y="230"/>
                  </a:cubicBezTo>
                  <a:cubicBezTo>
                    <a:pt x="7" y="239"/>
                    <a:pt x="11" y="247"/>
                    <a:pt x="17" y="253"/>
                  </a:cubicBezTo>
                  <a:cubicBezTo>
                    <a:pt x="29" y="265"/>
                    <a:pt x="46" y="271"/>
                    <a:pt x="69" y="271"/>
                  </a:cubicBezTo>
                  <a:cubicBezTo>
                    <a:pt x="81" y="271"/>
                    <a:pt x="91" y="269"/>
                    <a:pt x="100" y="266"/>
                  </a:cubicBezTo>
                  <a:cubicBezTo>
                    <a:pt x="108" y="263"/>
                    <a:pt x="116" y="258"/>
                    <a:pt x="121" y="253"/>
                  </a:cubicBezTo>
                  <a:cubicBezTo>
                    <a:pt x="128" y="247"/>
                    <a:pt x="132" y="239"/>
                    <a:pt x="135" y="229"/>
                  </a:cubicBezTo>
                  <a:cubicBezTo>
                    <a:pt x="137" y="220"/>
                    <a:pt x="138" y="208"/>
                    <a:pt x="138" y="194"/>
                  </a:cubicBezTo>
                  <a:cubicBezTo>
                    <a:pt x="138" y="183"/>
                    <a:pt x="138" y="174"/>
                    <a:pt x="136" y="166"/>
                  </a:cubicBezTo>
                  <a:cubicBezTo>
                    <a:pt x="135" y="158"/>
                    <a:pt x="133" y="151"/>
                    <a:pt x="130" y="145"/>
                  </a:cubicBezTo>
                  <a:cubicBezTo>
                    <a:pt x="127" y="139"/>
                    <a:pt x="123" y="135"/>
                    <a:pt x="118" y="131"/>
                  </a:cubicBezTo>
                  <a:cubicBezTo>
                    <a:pt x="112" y="127"/>
                    <a:pt x="106" y="123"/>
                    <a:pt x="98" y="120"/>
                  </a:cubicBezTo>
                  <a:cubicBezTo>
                    <a:pt x="66" y="107"/>
                    <a:pt x="66" y="107"/>
                    <a:pt x="66" y="107"/>
                  </a:cubicBezTo>
                  <a:cubicBezTo>
                    <a:pt x="62" y="105"/>
                    <a:pt x="58" y="103"/>
                    <a:pt x="55" y="101"/>
                  </a:cubicBezTo>
                  <a:cubicBezTo>
                    <a:pt x="52" y="99"/>
                    <a:pt x="50" y="97"/>
                    <a:pt x="48" y="94"/>
                  </a:cubicBezTo>
                  <a:cubicBezTo>
                    <a:pt x="47" y="92"/>
                    <a:pt x="46" y="89"/>
                    <a:pt x="45" y="85"/>
                  </a:cubicBezTo>
                  <a:cubicBezTo>
                    <a:pt x="45" y="81"/>
                    <a:pt x="44" y="77"/>
                    <a:pt x="44" y="71"/>
                  </a:cubicBezTo>
                  <a:cubicBezTo>
                    <a:pt x="44" y="59"/>
                    <a:pt x="47" y="50"/>
                    <a:pt x="52" y="45"/>
                  </a:cubicBezTo>
                  <a:cubicBezTo>
                    <a:pt x="53" y="43"/>
                    <a:pt x="56" y="41"/>
                    <a:pt x="59" y="40"/>
                  </a:cubicBezTo>
                  <a:cubicBezTo>
                    <a:pt x="62" y="38"/>
                    <a:pt x="65" y="37"/>
                    <a:pt x="69" y="37"/>
                  </a:cubicBezTo>
                  <a:cubicBezTo>
                    <a:pt x="78" y="37"/>
                    <a:pt x="84" y="40"/>
                    <a:pt x="88" y="45"/>
                  </a:cubicBezTo>
                  <a:cubicBezTo>
                    <a:pt x="91" y="49"/>
                    <a:pt x="93" y="53"/>
                    <a:pt x="93" y="58"/>
                  </a:cubicBezTo>
                  <a:cubicBezTo>
                    <a:pt x="94" y="62"/>
                    <a:pt x="94" y="68"/>
                    <a:pt x="94" y="74"/>
                  </a:cubicBezTo>
                  <a:cubicBezTo>
                    <a:pt x="136" y="74"/>
                    <a:pt x="136" y="74"/>
                    <a:pt x="136" y="74"/>
                  </a:cubicBezTo>
                  <a:cubicBezTo>
                    <a:pt x="136" y="61"/>
                    <a:pt x="135" y="50"/>
                    <a:pt x="132" y="40"/>
                  </a:cubicBezTo>
                  <a:cubicBezTo>
                    <a:pt x="129" y="31"/>
                    <a:pt x="125" y="23"/>
                    <a:pt x="118" y="16"/>
                  </a:cubicBezTo>
                  <a:cubicBezTo>
                    <a:pt x="106" y="5"/>
                    <a:pt x="90" y="0"/>
                    <a:pt x="70"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2" name="Freeform 19"/>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3" name="Freeform 20"/>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4" name="Rectangle 21"/>
            <p:cNvSpPr>
              <a:spLocks noChangeArrowheads="1"/>
            </p:cNvSpPr>
            <p:nvPr userDrawn="1"/>
          </p:nvSpPr>
          <p:spPr bwMode="auto">
            <a:xfrm>
              <a:off x="6861" y="3723"/>
              <a:ext cx="30" cy="192"/>
            </a:xfrm>
            <a:prstGeom prst="rect">
              <a:avLst/>
            </a:prstGeom>
            <a:solidFill>
              <a:srgbClr val="08B1F0">
                <a:alpha val="8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5" name="Rectangle 22"/>
            <p:cNvSpPr>
              <a:spLocks noChangeArrowheads="1"/>
            </p:cNvSpPr>
            <p:nvPr userDrawn="1"/>
          </p:nvSpPr>
          <p:spPr bwMode="auto">
            <a:xfrm>
              <a:off x="6861" y="3723"/>
              <a:ext cx="3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6" name="Freeform 23"/>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7" name="Freeform 24"/>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8" name="Freeform 25"/>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sp>
          <p:nvSpPr>
            <p:cNvPr id="39" name="Freeform 26"/>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798" kern="0" dirty="0">
                <a:solidFill>
                  <a:srgbClr val="000000"/>
                </a:solidFill>
                <a:latin typeface="Calibri" panose="020F0502020204030204" pitchFamily="34" charset="0"/>
                <a:cs typeface="Calibri" panose="020F0502020204030204" pitchFamily="34" charset="0"/>
                <a:sym typeface="Arial"/>
              </a:endParaRPr>
            </a:p>
          </p:txBody>
        </p:sp>
      </p:grpSp>
    </p:spTree>
    <p:extLst>
      <p:ext uri="{BB962C8B-B14F-4D97-AF65-F5344CB8AC3E}">
        <p14:creationId xmlns:p14="http://schemas.microsoft.com/office/powerpoint/2010/main" val="978898371"/>
      </p:ext>
    </p:extLst>
  </p:cSld>
  <p:clrMapOvr>
    <a:masterClrMapping/>
  </p:clrMapOvr>
  <p:transition>
    <p:fade/>
  </p:transition>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defTabSz="913852" fontAlgn="base">
              <a:spcBef>
                <a:spcPct val="20000"/>
              </a:spcBef>
              <a:spcAft>
                <a:spcPct val="0"/>
              </a:spcAft>
              <a:buClr>
                <a:srgbClr val="FF0000"/>
              </a:buClr>
              <a:buSzPct val="65000"/>
              <a:defRP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4"/>
            <a:ext cx="2843213" cy="365125"/>
          </a:xfrm>
          <a:prstGeom prst="rect">
            <a:avLst/>
          </a:prstGeom>
        </p:spPr>
        <p:txBody>
          <a:bodyPr/>
          <a:lstStyle>
            <a:lvl1pPr>
              <a:defRPr/>
            </a:lvl1pPr>
          </a:lstStyle>
          <a:p>
            <a:pPr defTabSz="913852" fontAlgn="base">
              <a:spcBef>
                <a:spcPct val="20000"/>
              </a:spcBef>
              <a:spcAft>
                <a:spcPct val="0"/>
              </a:spcAft>
              <a:buClr>
                <a:srgbClr val="FF0000"/>
              </a:buClr>
              <a:buSzPct val="65000"/>
              <a:defRPr/>
            </a:pPr>
            <a:fld id="{1C396E99-728E-4BC1-9827-5FA2D157E6FB}" type="datetimeFigureOut">
              <a:rPr lang="en-US" smtClean="0">
                <a:solidFill>
                  <a:srgbClr val="4D4D4F">
                    <a:tint val="75000"/>
                  </a:srgbClr>
                </a:solidFill>
                <a:latin typeface="Helvetica" pitchFamily="34" charset="0"/>
              </a:rPr>
              <a:pPr defTabSz="913852" fontAlgn="base">
                <a:spcBef>
                  <a:spcPct val="20000"/>
                </a:spcBef>
                <a:spcAft>
                  <a:spcPct val="0"/>
                </a:spcAft>
                <a:buClr>
                  <a:srgbClr val="FF0000"/>
                </a:buClr>
                <a:buSzPct val="65000"/>
                <a:defRPr/>
              </a:pPr>
              <a:t>29-Feb-24</a:t>
            </a:fld>
            <a:endParaRPr lang="en-US" dirty="0">
              <a:solidFill>
                <a:srgbClr val="4D4D4F">
                  <a:tint val="75000"/>
                </a:srgbClr>
              </a:solidFill>
              <a:latin typeface="Helvetica" pitchFamily="34" charset="0"/>
            </a:endParaRPr>
          </a:p>
        </p:txBody>
      </p:sp>
      <p:sp>
        <p:nvSpPr>
          <p:cNvPr id="13" name="Bullet text"/>
          <p:cNvSpPr>
            <a:spLocks noGrp="1"/>
          </p:cNvSpPr>
          <p:nvPr>
            <p:ph sz="quarter" idx="11"/>
          </p:nvPr>
        </p:nvSpPr>
        <p:spPr>
          <a:xfrm>
            <a:off x="583074" y="1457960"/>
            <a:ext cx="11000914" cy="4676140"/>
          </a:xfrm>
        </p:spPr>
        <p:txBody>
          <a:bodyPr/>
          <a:lstStyle/>
          <a:p>
            <a:pPr lvl="0"/>
            <a:r>
              <a:rPr lang="en-US"/>
              <a:t>Edit Master text styles</a:t>
            </a:r>
          </a:p>
          <a:p>
            <a:pPr lvl="1"/>
            <a:r>
              <a:rPr lang="en-US"/>
              <a:t>Second level</a:t>
            </a:r>
          </a:p>
          <a:p>
            <a:pPr lvl="2"/>
            <a:r>
              <a:rPr lang="en-US"/>
              <a:t>Third level</a:t>
            </a:r>
          </a:p>
        </p:txBody>
      </p:sp>
      <p:sp>
        <p:nvSpPr>
          <p:cNvPr id="2" name="Slide Title"/>
          <p:cNvSpPr>
            <a:spLocks noGrp="1"/>
          </p:cNvSpPr>
          <p:nvPr>
            <p:ph type="title"/>
          </p:nvPr>
        </p:nvSpPr>
        <p:spPr>
          <a:xfrm>
            <a:off x="583844" y="460552"/>
            <a:ext cx="9857339" cy="923748"/>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877985"/>
      </p:ext>
    </p:extLst>
  </p:cSld>
  <p:clrMapOvr>
    <a:masterClrMapping/>
  </p:clrMapOvr>
  <p:transition>
    <p:fade/>
  </p:transition>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2"/>
            <a:ext cx="2843213" cy="365125"/>
          </a:xfrm>
        </p:spPr>
        <p:txBody>
          <a:bodyPr/>
          <a:lstStyle>
            <a:lvl1pPr>
              <a:defRPr/>
            </a:lvl1pPr>
          </a:lstStyle>
          <a:p>
            <a:fld id="{CF0E1690-FFBA-4DAF-B44A-36E39ACA0346}" type="datetimeFigureOut">
              <a:rPr lang="en-US" smtClean="0">
                <a:solidFill>
                  <a:srgbClr val="4D4D4F">
                    <a:tint val="75000"/>
                  </a:srgbClr>
                </a:solidFill>
              </a:rPr>
              <a:pPr/>
              <a:t>29-Feb-24</a:t>
            </a:fld>
            <a:endParaRPr lang="en-US" dirty="0">
              <a:solidFill>
                <a:srgbClr val="4D4D4F">
                  <a:tint val="75000"/>
                </a:srgbClr>
              </a:solidFill>
            </a:endParaRPr>
          </a:p>
        </p:txBody>
      </p:sp>
      <p:pic>
        <p:nvPicPr>
          <p:cNvPr id="7" name="Picture 6" descr="A person sitting in front of a building&#10;&#10;Description automatically generated">
            <a:extLst>
              <a:ext uri="{FF2B5EF4-FFF2-40B4-BE49-F238E27FC236}">
                <a16:creationId xmlns:a16="http://schemas.microsoft.com/office/drawing/2014/main" id="{6AEBA8B7-4955-4263-AB3A-53337A95BE5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30480"/>
            <a:ext cx="12188824" cy="6536175"/>
          </a:xfrm>
          <a:prstGeom prst="rect">
            <a:avLst/>
          </a:prstGeom>
        </p:spPr>
      </p:pic>
      <p:sp>
        <p:nvSpPr>
          <p:cNvPr id="8" name="Rectangle 7">
            <a:extLst>
              <a:ext uri="{FF2B5EF4-FFF2-40B4-BE49-F238E27FC236}">
                <a16:creationId xmlns:a16="http://schemas.microsoft.com/office/drawing/2014/main" id="{E756A239-DC06-46AD-AEA3-550F22C145F5}"/>
              </a:ext>
            </a:extLst>
          </p:cNvPr>
          <p:cNvSpPr/>
          <p:nvPr userDrawn="1"/>
        </p:nvSpPr>
        <p:spPr bwMode="auto">
          <a:xfrm>
            <a:off x="-24201" y="-30480"/>
            <a:ext cx="12222161" cy="6536175"/>
          </a:xfrm>
          <a:prstGeom prst="rect">
            <a:avLst/>
          </a:prstGeom>
          <a:solidFill>
            <a:schemeClr val="accent6">
              <a:alpha val="67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buClr>
                <a:srgbClr val="000000"/>
              </a:buClr>
              <a:buSzPct val="115000"/>
              <a:buFont typeface="Arial"/>
              <a:buNone/>
            </a:pPr>
            <a:endParaRPr lang="en-US" sz="2399" kern="0" dirty="0" err="1">
              <a:solidFill>
                <a:srgbClr val="000000"/>
              </a:solidFill>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1269570607"/>
      </p:ext>
    </p:extLst>
  </p:cSld>
  <p:clrMapOvr>
    <a:masterClrMapping/>
  </p:clrMapOvr>
  <p:transition>
    <p:fade/>
  </p:transition>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p:cSld name="5_Title Only">
    <p:spTree>
      <p:nvGrpSpPr>
        <p:cNvPr id="1" name="Shape 52"/>
        <p:cNvGrpSpPr/>
        <p:nvPr/>
      </p:nvGrpSpPr>
      <p:grpSpPr>
        <a:xfrm>
          <a:off x="0" y="0"/>
          <a:ext cx="0" cy="0"/>
          <a:chOff x="0" y="0"/>
          <a:chExt cx="0" cy="0"/>
        </a:xfrm>
      </p:grpSpPr>
      <p:sp>
        <p:nvSpPr>
          <p:cNvPr id="53" name="Google Shape;53;p64"/>
          <p:cNvSpPr txBox="1">
            <a:spLocks noGrp="1"/>
          </p:cNvSpPr>
          <p:nvPr>
            <p:ph type="title"/>
          </p:nvPr>
        </p:nvSpPr>
        <p:spPr>
          <a:xfrm>
            <a:off x="583843"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54" name="Google Shape;54;p64" hidden="1"/>
          <p:cNvSpPr txBox="1">
            <a:spLocks noGrp="1"/>
          </p:cNvSpPr>
          <p:nvPr>
            <p:ph type="dt" idx="10"/>
          </p:nvPr>
        </p:nvSpPr>
        <p:spPr>
          <a:xfrm>
            <a:off x="-3068548"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1891978695"/>
      </p:ext>
    </p:extLst>
  </p:cSld>
  <p:clrMapOvr>
    <a:masterClrMapping/>
  </p:clrMapOvr>
  <p:transition>
    <p:fade/>
  </p:transition>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3_Standard Title and Bullets" preserve="1">
  <p:cSld name="3_Standard Title and Bullets">
    <p:spTree>
      <p:nvGrpSpPr>
        <p:cNvPr id="1" name="Shape 66"/>
        <p:cNvGrpSpPr/>
        <p:nvPr/>
      </p:nvGrpSpPr>
      <p:grpSpPr>
        <a:xfrm>
          <a:off x="0" y="0"/>
          <a:ext cx="0" cy="0"/>
          <a:chOff x="0" y="0"/>
          <a:chExt cx="0" cy="0"/>
        </a:xfrm>
      </p:grpSpPr>
      <p:pic>
        <p:nvPicPr>
          <p:cNvPr id="67" name="Google Shape;67;p68" descr="A picture containing outdoor, person, building, person&#10;&#10;Description automatically generated"/>
          <p:cNvPicPr preferRelativeResize="0"/>
          <p:nvPr/>
        </p:nvPicPr>
        <p:blipFill rotWithShape="1">
          <a:blip r:embed="rId2">
            <a:alphaModFix/>
          </a:blip>
          <a:srcRect/>
          <a:stretch/>
        </p:blipFill>
        <p:spPr>
          <a:xfrm flipH="1">
            <a:off x="-2" y="-11575"/>
            <a:ext cx="12188825" cy="6535694"/>
          </a:xfrm>
          <a:prstGeom prst="rect">
            <a:avLst/>
          </a:prstGeom>
          <a:noFill/>
          <a:ln>
            <a:noFill/>
          </a:ln>
        </p:spPr>
      </p:pic>
      <p:sp>
        <p:nvSpPr>
          <p:cNvPr id="68" name="Google Shape;68;p68" hidden="1"/>
          <p:cNvSpPr txBox="1">
            <a:spLocks noGrp="1"/>
          </p:cNvSpPr>
          <p:nvPr>
            <p:ph type="dt" idx="10"/>
          </p:nvPr>
        </p:nvSpPr>
        <p:spPr>
          <a:xfrm>
            <a:off x="-2991244"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69" name="Google Shape;69;p68"/>
          <p:cNvSpPr/>
          <p:nvPr/>
        </p:nvSpPr>
        <p:spPr>
          <a:xfrm>
            <a:off x="-2" y="481"/>
            <a:ext cx="12188825" cy="6535694"/>
          </a:xfrm>
          <a:prstGeom prst="rect">
            <a:avLst/>
          </a:prstGeom>
          <a:gradFill>
            <a:gsLst>
              <a:gs pos="0">
                <a:srgbClr val="002060">
                  <a:alpha val="50980"/>
                </a:srgbClr>
              </a:gs>
              <a:gs pos="52999">
                <a:srgbClr val="002060">
                  <a:alpha val="50980"/>
                </a:srgbClr>
              </a:gs>
              <a:gs pos="98000">
                <a:srgbClr val="00153E"/>
              </a:gs>
              <a:gs pos="100000">
                <a:srgbClr val="00153E"/>
              </a:gs>
            </a:gsLst>
            <a:lin ang="5400000" scaled="0"/>
          </a:gradFill>
          <a:ln>
            <a:noFill/>
          </a:ln>
        </p:spPr>
        <p:txBody>
          <a:bodyPr spcFirstLastPara="1" wrap="square" lIns="91401" tIns="45688" rIns="91401" bIns="45688" anchor="ctr" anchorCtr="0">
            <a:noAutofit/>
          </a:bodyPr>
          <a:lstStyle/>
          <a:p>
            <a:pPr algn="ctr">
              <a:lnSpc>
                <a:spcPct val="80000"/>
              </a:lnSpc>
              <a:buClr>
                <a:srgbClr val="000000"/>
              </a:buClr>
              <a:buFont typeface="Arial"/>
              <a:buNone/>
            </a:pPr>
            <a:endParaRPr sz="2399" kern="0" dirty="0">
              <a:solidFill>
                <a:srgbClr val="4D4D4F"/>
              </a:solidFill>
              <a:latin typeface="Calibri" panose="020F0502020204030204" pitchFamily="34" charset="0"/>
              <a:ea typeface="Calibri"/>
              <a:cs typeface="Calibri"/>
              <a:sym typeface="Calibri"/>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160399649"/>
      </p:ext>
    </p:extLst>
  </p:cSld>
  <p:clrMapOvr>
    <a:masterClrMapping/>
  </p:clrMapOvr>
  <p:transition>
    <p:fade/>
  </p:transition>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2_Standard Title and Bullets">
  <p:cSld name="2_Standard Title and Bullets">
    <p:spTree>
      <p:nvGrpSpPr>
        <p:cNvPr id="1" name="Shape 55"/>
        <p:cNvGrpSpPr/>
        <p:nvPr/>
      </p:nvGrpSpPr>
      <p:grpSpPr>
        <a:xfrm>
          <a:off x="0" y="0"/>
          <a:ext cx="0" cy="0"/>
          <a:chOff x="0" y="0"/>
          <a:chExt cx="0" cy="0"/>
        </a:xfrm>
      </p:grpSpPr>
      <p:sp>
        <p:nvSpPr>
          <p:cNvPr id="56" name="Google Shape;56;p65"/>
          <p:cNvSpPr txBox="1">
            <a:spLocks noGrp="1"/>
          </p:cNvSpPr>
          <p:nvPr>
            <p:ph type="title"/>
          </p:nvPr>
        </p:nvSpPr>
        <p:spPr>
          <a:xfrm>
            <a:off x="583843"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solidFill>
                  <a:schemeClr val="dk2"/>
                </a:solidFill>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57" name="Google Shape;57;p65"/>
          <p:cNvSpPr txBox="1">
            <a:spLocks noGrp="1"/>
          </p:cNvSpPr>
          <p:nvPr>
            <p:ph type="body" idx="1"/>
          </p:nvPr>
        </p:nvSpPr>
        <p:spPr>
          <a:xfrm>
            <a:off x="583843" y="1534475"/>
            <a:ext cx="11022371" cy="4767267"/>
          </a:xfrm>
          <a:prstGeom prst="rect">
            <a:avLst/>
          </a:prstGeom>
          <a:noFill/>
          <a:ln>
            <a:noFill/>
          </a:ln>
        </p:spPr>
        <p:txBody>
          <a:bodyPr spcFirstLastPara="1" wrap="square" lIns="91425" tIns="45700" rIns="91425" bIns="45700" anchor="t" anchorCtr="0">
            <a:noAutofit/>
          </a:bodyPr>
          <a:lstStyle>
            <a:lvl1pPr marL="457063" lvl="0" indent="-325657" algn="l">
              <a:lnSpc>
                <a:spcPct val="95000"/>
              </a:lnSpc>
              <a:spcBef>
                <a:spcPts val="1000"/>
              </a:spcBef>
              <a:spcAft>
                <a:spcPts val="0"/>
              </a:spcAft>
              <a:buSzPts val="1530"/>
              <a:buChar char="•"/>
              <a:defRPr/>
            </a:lvl1pPr>
            <a:lvl2pPr marL="914126" lvl="1" indent="-342797" algn="l">
              <a:lnSpc>
                <a:spcPct val="95000"/>
              </a:lnSpc>
              <a:spcBef>
                <a:spcPts val="800"/>
              </a:spcBef>
              <a:spcAft>
                <a:spcPts val="0"/>
              </a:spcAft>
              <a:buSzPts val="1800"/>
              <a:buChar char="•"/>
              <a:defRPr/>
            </a:lvl2pPr>
            <a:lvl3pPr marL="1371189" lvl="2" indent="-342797" algn="l">
              <a:lnSpc>
                <a:spcPct val="95000"/>
              </a:lnSpc>
              <a:spcBef>
                <a:spcPts val="800"/>
              </a:spcBef>
              <a:spcAft>
                <a:spcPts val="0"/>
              </a:spcAft>
              <a:buSzPts val="1800"/>
              <a:buChar char="•"/>
              <a:defRPr/>
            </a:lvl3pPr>
            <a:lvl4pPr marL="1828251" lvl="3" indent="-342797" algn="l">
              <a:lnSpc>
                <a:spcPct val="90000"/>
              </a:lnSpc>
              <a:spcBef>
                <a:spcPts val="800"/>
              </a:spcBef>
              <a:spcAft>
                <a:spcPts val="0"/>
              </a:spcAft>
              <a:buSzPts val="1800"/>
              <a:buChar char="̶"/>
              <a:defRPr/>
            </a:lvl4pPr>
            <a:lvl5pPr marL="2285314" lvl="4" indent="-342797" algn="l">
              <a:lnSpc>
                <a:spcPct val="90000"/>
              </a:lnSpc>
              <a:spcBef>
                <a:spcPts val="800"/>
              </a:spcBef>
              <a:spcAft>
                <a:spcPts val="0"/>
              </a:spcAft>
              <a:buSzPts val="1800"/>
              <a:buChar char="̶"/>
              <a:defRPr/>
            </a:lvl5pPr>
            <a:lvl6pPr marL="2742377" lvl="5" indent="-342797" algn="l">
              <a:spcBef>
                <a:spcPts val="360"/>
              </a:spcBef>
              <a:spcAft>
                <a:spcPts val="0"/>
              </a:spcAft>
              <a:buSzPts val="1800"/>
              <a:buChar char="»"/>
              <a:defRPr/>
            </a:lvl6pPr>
            <a:lvl7pPr marL="3199440" lvl="6" indent="-342797" algn="l">
              <a:spcBef>
                <a:spcPts val="360"/>
              </a:spcBef>
              <a:spcAft>
                <a:spcPts val="0"/>
              </a:spcAft>
              <a:buSzPts val="1800"/>
              <a:buChar char="»"/>
              <a:defRPr/>
            </a:lvl7pPr>
            <a:lvl8pPr marL="3656503" lvl="7" indent="-342797" algn="l">
              <a:spcBef>
                <a:spcPts val="360"/>
              </a:spcBef>
              <a:spcAft>
                <a:spcPts val="0"/>
              </a:spcAft>
              <a:buSzPts val="1800"/>
              <a:buChar char="»"/>
              <a:defRPr/>
            </a:lvl8pPr>
            <a:lvl9pPr marL="4113566" lvl="8" indent="-342797" algn="l">
              <a:spcBef>
                <a:spcPts val="360"/>
              </a:spcBef>
              <a:spcAft>
                <a:spcPts val="0"/>
              </a:spcAft>
              <a:buSzPts val="1800"/>
              <a:buChar char="»"/>
              <a:defRPr/>
            </a:lvl9pPr>
          </a:lstStyle>
          <a:p>
            <a:endParaRPr/>
          </a:p>
        </p:txBody>
      </p:sp>
      <p:sp>
        <p:nvSpPr>
          <p:cNvPr id="58" name="Google Shape;58;p65" hidden="1"/>
          <p:cNvSpPr txBox="1">
            <a:spLocks noGrp="1"/>
          </p:cNvSpPr>
          <p:nvPr>
            <p:ph type="dt" idx="10"/>
          </p:nvPr>
        </p:nvSpPr>
        <p:spPr>
          <a:xfrm>
            <a:off x="609600"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3172270145"/>
      </p:ext>
    </p:extLst>
  </p:cSld>
  <p:clrMapOvr>
    <a:masterClrMapping/>
  </p:clrMapOvr>
  <p:transition>
    <p:fade/>
  </p:transition>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gue-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5" y="-3685"/>
            <a:ext cx="12356105" cy="6949440"/>
          </a:xfrm>
          <a:prstGeom prst="rect">
            <a:avLst/>
          </a:prstGeom>
        </p:spPr>
      </p:pic>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6" name="Section title"/>
          <p:cNvSpPr>
            <a:spLocks noGrp="1"/>
          </p:cNvSpPr>
          <p:nvPr>
            <p:ph type="body" sz="quarter" idx="13" hasCustomPrompt="1"/>
          </p:nvPr>
        </p:nvSpPr>
        <p:spPr bwMode="white">
          <a:xfrm>
            <a:off x="637180" y="2171237"/>
            <a:ext cx="6454501" cy="3027783"/>
          </a:xfrm>
          <a:prstGeom prst="rect">
            <a:avLst/>
          </a:prstGeom>
        </p:spPr>
        <p:txBody>
          <a:bodyPr wrap="square" anchor="t" anchorCtr="0">
            <a:noAutofit/>
          </a:bodyPr>
          <a:lstStyle>
            <a:lvl1pPr marL="0" indent="0" algn="l">
              <a:lnSpc>
                <a:spcPct val="100000"/>
              </a:lnSpc>
              <a:spcBef>
                <a:spcPts val="0"/>
              </a:spcBef>
              <a:buNone/>
              <a:defRPr sz="3399" b="0" cap="all" baseline="0">
                <a:solidFill>
                  <a:schemeClr val="bg1"/>
                </a:solidFill>
              </a:defRPr>
            </a:lvl1pPr>
            <a:lvl5pPr marL="1370949"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20" y="963870"/>
            <a:ext cx="4649659" cy="891075"/>
          </a:xfrm>
          <a:prstGeom prst="rect">
            <a:avLst/>
          </a:prstGeom>
        </p:spPr>
        <p:txBody>
          <a:bodyPr anchor="t" anchorCtr="0">
            <a:noAutofit/>
          </a:bodyPr>
          <a:lstStyle>
            <a:lvl1pPr marL="0" indent="0" algn="l">
              <a:lnSpc>
                <a:spcPct val="100000"/>
              </a:lnSpc>
              <a:spcBef>
                <a:spcPts val="0"/>
              </a:spcBef>
              <a:buNone/>
              <a:defRPr sz="3599" b="1" baseline="0">
                <a:solidFill>
                  <a:schemeClr val="bg2"/>
                </a:solidFill>
              </a:defRPr>
            </a:lvl1pPr>
            <a:lvl5pPr marL="1370949" indent="0">
              <a:buNone/>
              <a:defRPr/>
            </a:lvl5pPr>
          </a:lstStyle>
          <a:p>
            <a:pPr lvl="0"/>
            <a:r>
              <a:rPr lang="en-US" dirty="0"/>
              <a:t>Click to Edit</a:t>
            </a:r>
          </a:p>
        </p:txBody>
      </p:sp>
      <p:sp>
        <p:nvSpPr>
          <p:cNvPr id="2" name="Date Placeholder 1"/>
          <p:cNvSpPr>
            <a:spLocks noGrp="1"/>
          </p:cNvSpPr>
          <p:nvPr>
            <p:ph type="dt" sz="half" idx="17"/>
          </p:nvPr>
        </p:nvSpPr>
        <p:spPr>
          <a:xfrm>
            <a:off x="-3156887" y="6356352"/>
            <a:ext cx="2843213" cy="365125"/>
          </a:xfrm>
        </p:spPr>
        <p:txBody>
          <a:bodyPr/>
          <a:lstStyle>
            <a:lvl1pPr>
              <a:defRPr/>
            </a:lvl1pPr>
          </a:lstStyle>
          <a:p>
            <a:fld id="{BFD34698-4CB0-4260-A437-6B0E52C5ABA4}" type="datetimeFigureOut">
              <a:rPr lang="en-US" smtClean="0">
                <a:solidFill>
                  <a:srgbClr val="4D4D4F">
                    <a:tint val="75000"/>
                  </a:srgbClr>
                </a:solidFill>
              </a:rPr>
              <a:pPr/>
              <a:t>29-Feb-24</a:t>
            </a:fld>
            <a:endParaRPr lang="en-US" dirty="0">
              <a:solidFill>
                <a:srgbClr val="4D4D4F">
                  <a:tint val="75000"/>
                </a:srgbClr>
              </a:solidFill>
            </a:endParaRPr>
          </a:p>
        </p:txBody>
      </p:sp>
      <p:grpSp>
        <p:nvGrpSpPr>
          <p:cNvPr id="8" name="Group 4"/>
          <p:cNvGrpSpPr>
            <a:grpSpLocks noChangeAspect="1"/>
          </p:cNvGrpSpPr>
          <p:nvPr userDrawn="1"/>
        </p:nvGrpSpPr>
        <p:grpSpPr bwMode="auto">
          <a:xfrm>
            <a:off x="9592310" y="3357225"/>
            <a:ext cx="1919288" cy="1919288"/>
            <a:chOff x="3690" y="2372"/>
            <a:chExt cx="1209" cy="1209"/>
          </a:xfrm>
        </p:grpSpPr>
        <p:sp>
          <p:nvSpPr>
            <p:cNvPr id="9" name="AutoShape 3"/>
            <p:cNvSpPr>
              <a:spLocks noChangeAspect="1" noChangeArrowheads="1" noTextEdit="1"/>
            </p:cNvSpPr>
            <p:nvPr userDrawn="1"/>
          </p:nvSpPr>
          <p:spPr bwMode="auto">
            <a:xfrm>
              <a:off x="3690" y="2372"/>
              <a:ext cx="1209" cy="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0" name="Freeform 5"/>
            <p:cNvSpPr>
              <a:spLocks noEditPoints="1"/>
            </p:cNvSpPr>
            <p:nvPr userDrawn="1"/>
          </p:nvSpPr>
          <p:spPr bwMode="auto">
            <a:xfrm>
              <a:off x="3690" y="2372"/>
              <a:ext cx="1209" cy="1209"/>
            </a:xfrm>
            <a:custGeom>
              <a:avLst/>
              <a:gdLst>
                <a:gd name="T0" fmla="*/ 1331 w 2662"/>
                <a:gd name="T1" fmla="*/ 2485 h 2661"/>
                <a:gd name="T2" fmla="*/ 177 w 2662"/>
                <a:gd name="T3" fmla="*/ 1330 h 2661"/>
                <a:gd name="T4" fmla="*/ 1331 w 2662"/>
                <a:gd name="T5" fmla="*/ 176 h 2661"/>
                <a:gd name="T6" fmla="*/ 2485 w 2662"/>
                <a:gd name="T7" fmla="*/ 1330 h 2661"/>
                <a:gd name="T8" fmla="*/ 1331 w 2662"/>
                <a:gd name="T9" fmla="*/ 2485 h 2661"/>
                <a:gd name="T10" fmla="*/ 1331 w 2662"/>
                <a:gd name="T11" fmla="*/ 0 h 2661"/>
                <a:gd name="T12" fmla="*/ 0 w 2662"/>
                <a:gd name="T13" fmla="*/ 1330 h 2661"/>
                <a:gd name="T14" fmla="*/ 1331 w 2662"/>
                <a:gd name="T15" fmla="*/ 2661 h 2661"/>
                <a:gd name="T16" fmla="*/ 2662 w 2662"/>
                <a:gd name="T17" fmla="*/ 1330 h 2661"/>
                <a:gd name="T18" fmla="*/ 1331 w 2662"/>
                <a:gd name="T19" fmla="*/ 0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2" h="2661">
                  <a:moveTo>
                    <a:pt x="1331" y="2485"/>
                  </a:moveTo>
                  <a:cubicBezTo>
                    <a:pt x="695" y="2485"/>
                    <a:pt x="177" y="1967"/>
                    <a:pt x="177" y="1330"/>
                  </a:cubicBezTo>
                  <a:cubicBezTo>
                    <a:pt x="177" y="694"/>
                    <a:pt x="695" y="176"/>
                    <a:pt x="1331" y="176"/>
                  </a:cubicBezTo>
                  <a:cubicBezTo>
                    <a:pt x="1968" y="176"/>
                    <a:pt x="2485" y="694"/>
                    <a:pt x="2485" y="1330"/>
                  </a:cubicBezTo>
                  <a:cubicBezTo>
                    <a:pt x="2485" y="1967"/>
                    <a:pt x="1968" y="2485"/>
                    <a:pt x="1331" y="2485"/>
                  </a:cubicBezTo>
                  <a:moveTo>
                    <a:pt x="1331" y="0"/>
                  </a:moveTo>
                  <a:cubicBezTo>
                    <a:pt x="597" y="0"/>
                    <a:pt x="0" y="597"/>
                    <a:pt x="0" y="1330"/>
                  </a:cubicBezTo>
                  <a:cubicBezTo>
                    <a:pt x="0" y="2064"/>
                    <a:pt x="597" y="2661"/>
                    <a:pt x="1331" y="2661"/>
                  </a:cubicBezTo>
                  <a:cubicBezTo>
                    <a:pt x="2065" y="2661"/>
                    <a:pt x="2662" y="2064"/>
                    <a:pt x="2662" y="1330"/>
                  </a:cubicBezTo>
                  <a:cubicBezTo>
                    <a:pt x="2662" y="597"/>
                    <a:pt x="2065" y="0"/>
                    <a:pt x="1331"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1" name="Freeform 6"/>
            <p:cNvSpPr>
              <a:spLocks noEditPoints="1"/>
            </p:cNvSpPr>
            <p:nvPr userDrawn="1"/>
          </p:nvSpPr>
          <p:spPr bwMode="auto">
            <a:xfrm>
              <a:off x="3921" y="3124"/>
              <a:ext cx="760" cy="133"/>
            </a:xfrm>
            <a:custGeom>
              <a:avLst/>
              <a:gdLst>
                <a:gd name="T0" fmla="*/ 61 w 1673"/>
                <a:gd name="T1" fmla="*/ 58 h 292"/>
                <a:gd name="T2" fmla="*/ 185 w 1673"/>
                <a:gd name="T3" fmla="*/ 150 h 292"/>
                <a:gd name="T4" fmla="*/ 61 w 1673"/>
                <a:gd name="T5" fmla="*/ 234 h 292"/>
                <a:gd name="T6" fmla="*/ 0 w 1673"/>
                <a:gd name="T7" fmla="*/ 7 h 292"/>
                <a:gd name="T8" fmla="*/ 120 w 1673"/>
                <a:gd name="T9" fmla="*/ 285 h 292"/>
                <a:gd name="T10" fmla="*/ 120 w 1673"/>
                <a:gd name="T11" fmla="*/ 7 h 292"/>
                <a:gd name="T12" fmla="*/ 289 w 1673"/>
                <a:gd name="T13" fmla="*/ 7 h 292"/>
                <a:gd name="T14" fmla="*/ 500 w 1673"/>
                <a:gd name="T15" fmla="*/ 285 h 292"/>
                <a:gd name="T16" fmla="*/ 350 w 1673"/>
                <a:gd name="T17" fmla="*/ 234 h 292"/>
                <a:gd name="T18" fmla="*/ 485 w 1673"/>
                <a:gd name="T19" fmla="*/ 166 h 292"/>
                <a:gd name="T20" fmla="*/ 350 w 1673"/>
                <a:gd name="T21" fmla="*/ 118 h 292"/>
                <a:gd name="T22" fmla="*/ 497 w 1673"/>
                <a:gd name="T23" fmla="*/ 58 h 292"/>
                <a:gd name="T24" fmla="*/ 1000 w 1673"/>
                <a:gd name="T25" fmla="*/ 7 h 292"/>
                <a:gd name="T26" fmla="*/ 772 w 1673"/>
                <a:gd name="T27" fmla="*/ 58 h 292"/>
                <a:gd name="T28" fmla="*/ 856 w 1673"/>
                <a:gd name="T29" fmla="*/ 285 h 292"/>
                <a:gd name="T30" fmla="*/ 917 w 1673"/>
                <a:gd name="T31" fmla="*/ 58 h 292"/>
                <a:gd name="T32" fmla="*/ 1000 w 1673"/>
                <a:gd name="T33" fmla="*/ 7 h 292"/>
                <a:gd name="T34" fmla="*/ 1032 w 1673"/>
                <a:gd name="T35" fmla="*/ 7 h 292"/>
                <a:gd name="T36" fmla="*/ 1094 w 1673"/>
                <a:gd name="T37" fmla="*/ 285 h 292"/>
                <a:gd name="T38" fmla="*/ 1382 w 1673"/>
                <a:gd name="T39" fmla="*/ 7 h 292"/>
                <a:gd name="T40" fmla="*/ 1325 w 1673"/>
                <a:gd name="T41" fmla="*/ 194 h 292"/>
                <a:gd name="T42" fmla="*/ 1208 w 1673"/>
                <a:gd name="T43" fmla="*/ 7 h 292"/>
                <a:gd name="T44" fmla="*/ 1147 w 1673"/>
                <a:gd name="T45" fmla="*/ 285 h 292"/>
                <a:gd name="T46" fmla="*/ 1205 w 1673"/>
                <a:gd name="T47" fmla="*/ 99 h 292"/>
                <a:gd name="T48" fmla="*/ 1321 w 1673"/>
                <a:gd name="T49" fmla="*/ 285 h 292"/>
                <a:gd name="T50" fmla="*/ 1382 w 1673"/>
                <a:gd name="T51" fmla="*/ 7 h 292"/>
                <a:gd name="T52" fmla="*/ 1605 w 1673"/>
                <a:gd name="T53" fmla="*/ 7 h 292"/>
                <a:gd name="T54" fmla="*/ 1475 w 1673"/>
                <a:gd name="T55" fmla="*/ 7 h 292"/>
                <a:gd name="T56" fmla="*/ 1508 w 1673"/>
                <a:gd name="T57" fmla="*/ 177 h 292"/>
                <a:gd name="T58" fmla="*/ 1570 w 1673"/>
                <a:gd name="T59" fmla="*/ 285 h 292"/>
                <a:gd name="T60" fmla="*/ 1673 w 1673"/>
                <a:gd name="T61" fmla="*/ 7 h 292"/>
                <a:gd name="T62" fmla="*/ 533 w 1673"/>
                <a:gd name="T63" fmla="*/ 84 h 292"/>
                <a:gd name="T64" fmla="*/ 699 w 1673"/>
                <a:gd name="T65" fmla="*/ 210 h 292"/>
                <a:gd name="T66" fmla="*/ 583 w 1673"/>
                <a:gd name="T67" fmla="*/ 193 h 292"/>
                <a:gd name="T68" fmla="*/ 642 w 1673"/>
                <a:gd name="T69" fmla="*/ 292 h 292"/>
                <a:gd name="T70" fmla="*/ 675 w 1673"/>
                <a:gd name="T71" fmla="*/ 122 h 292"/>
                <a:gd name="T72" fmla="*/ 634 w 1673"/>
                <a:gd name="T73" fmla="*/ 48 h 292"/>
                <a:gd name="T74" fmla="*/ 749 w 1673"/>
                <a:gd name="T75"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3" h="292">
                  <a:moveTo>
                    <a:pt x="61" y="234"/>
                  </a:moveTo>
                  <a:cubicBezTo>
                    <a:pt x="61" y="58"/>
                    <a:pt x="61" y="58"/>
                    <a:pt x="61" y="58"/>
                  </a:cubicBezTo>
                  <a:cubicBezTo>
                    <a:pt x="105" y="58"/>
                    <a:pt x="105" y="58"/>
                    <a:pt x="105" y="58"/>
                  </a:cubicBezTo>
                  <a:cubicBezTo>
                    <a:pt x="166" y="58"/>
                    <a:pt x="185" y="94"/>
                    <a:pt x="185" y="150"/>
                  </a:cubicBezTo>
                  <a:cubicBezTo>
                    <a:pt x="185" y="212"/>
                    <a:pt x="151" y="234"/>
                    <a:pt x="116" y="234"/>
                  </a:cubicBezTo>
                  <a:cubicBezTo>
                    <a:pt x="61" y="234"/>
                    <a:pt x="61" y="234"/>
                    <a:pt x="61" y="234"/>
                  </a:cubicBezTo>
                  <a:moveTo>
                    <a:pt x="120" y="7"/>
                  </a:moveTo>
                  <a:cubicBezTo>
                    <a:pt x="0" y="7"/>
                    <a:pt x="0" y="7"/>
                    <a:pt x="0" y="7"/>
                  </a:cubicBezTo>
                  <a:cubicBezTo>
                    <a:pt x="0" y="285"/>
                    <a:pt x="0" y="285"/>
                    <a:pt x="0" y="285"/>
                  </a:cubicBezTo>
                  <a:cubicBezTo>
                    <a:pt x="120" y="285"/>
                    <a:pt x="120" y="285"/>
                    <a:pt x="120" y="285"/>
                  </a:cubicBezTo>
                  <a:cubicBezTo>
                    <a:pt x="205" y="285"/>
                    <a:pt x="246" y="225"/>
                    <a:pt x="246" y="145"/>
                  </a:cubicBezTo>
                  <a:cubicBezTo>
                    <a:pt x="246" y="52"/>
                    <a:pt x="192" y="7"/>
                    <a:pt x="120" y="7"/>
                  </a:cubicBezTo>
                  <a:moveTo>
                    <a:pt x="497" y="7"/>
                  </a:moveTo>
                  <a:cubicBezTo>
                    <a:pt x="289" y="7"/>
                    <a:pt x="289" y="7"/>
                    <a:pt x="289" y="7"/>
                  </a:cubicBezTo>
                  <a:cubicBezTo>
                    <a:pt x="289" y="285"/>
                    <a:pt x="289" y="285"/>
                    <a:pt x="289" y="285"/>
                  </a:cubicBezTo>
                  <a:cubicBezTo>
                    <a:pt x="500" y="285"/>
                    <a:pt x="500" y="285"/>
                    <a:pt x="500" y="285"/>
                  </a:cubicBezTo>
                  <a:cubicBezTo>
                    <a:pt x="500" y="234"/>
                    <a:pt x="500" y="234"/>
                    <a:pt x="500" y="234"/>
                  </a:cubicBezTo>
                  <a:cubicBezTo>
                    <a:pt x="350" y="234"/>
                    <a:pt x="350" y="234"/>
                    <a:pt x="350" y="234"/>
                  </a:cubicBezTo>
                  <a:cubicBezTo>
                    <a:pt x="350" y="166"/>
                    <a:pt x="350" y="166"/>
                    <a:pt x="350" y="166"/>
                  </a:cubicBezTo>
                  <a:cubicBezTo>
                    <a:pt x="485" y="166"/>
                    <a:pt x="485" y="166"/>
                    <a:pt x="485" y="166"/>
                  </a:cubicBezTo>
                  <a:cubicBezTo>
                    <a:pt x="485" y="118"/>
                    <a:pt x="485" y="118"/>
                    <a:pt x="485" y="118"/>
                  </a:cubicBezTo>
                  <a:cubicBezTo>
                    <a:pt x="350" y="118"/>
                    <a:pt x="350" y="118"/>
                    <a:pt x="350" y="118"/>
                  </a:cubicBezTo>
                  <a:cubicBezTo>
                    <a:pt x="350" y="58"/>
                    <a:pt x="350" y="58"/>
                    <a:pt x="350" y="58"/>
                  </a:cubicBezTo>
                  <a:cubicBezTo>
                    <a:pt x="497" y="58"/>
                    <a:pt x="497" y="58"/>
                    <a:pt x="497" y="58"/>
                  </a:cubicBezTo>
                  <a:cubicBezTo>
                    <a:pt x="497" y="7"/>
                    <a:pt x="497" y="7"/>
                    <a:pt x="497" y="7"/>
                  </a:cubicBezTo>
                  <a:moveTo>
                    <a:pt x="1000" y="7"/>
                  </a:moveTo>
                  <a:cubicBezTo>
                    <a:pt x="772" y="7"/>
                    <a:pt x="772" y="7"/>
                    <a:pt x="772" y="7"/>
                  </a:cubicBezTo>
                  <a:cubicBezTo>
                    <a:pt x="772" y="58"/>
                    <a:pt x="772" y="58"/>
                    <a:pt x="772" y="58"/>
                  </a:cubicBezTo>
                  <a:cubicBezTo>
                    <a:pt x="856" y="58"/>
                    <a:pt x="856" y="58"/>
                    <a:pt x="856" y="58"/>
                  </a:cubicBezTo>
                  <a:cubicBezTo>
                    <a:pt x="856" y="285"/>
                    <a:pt x="856" y="285"/>
                    <a:pt x="856" y="285"/>
                  </a:cubicBezTo>
                  <a:cubicBezTo>
                    <a:pt x="917" y="285"/>
                    <a:pt x="917" y="285"/>
                    <a:pt x="917" y="285"/>
                  </a:cubicBezTo>
                  <a:cubicBezTo>
                    <a:pt x="917" y="58"/>
                    <a:pt x="917" y="58"/>
                    <a:pt x="917" y="58"/>
                  </a:cubicBezTo>
                  <a:cubicBezTo>
                    <a:pt x="1000" y="58"/>
                    <a:pt x="1000" y="58"/>
                    <a:pt x="1000" y="58"/>
                  </a:cubicBezTo>
                  <a:cubicBezTo>
                    <a:pt x="1000" y="7"/>
                    <a:pt x="1000" y="7"/>
                    <a:pt x="1000" y="7"/>
                  </a:cubicBezTo>
                  <a:moveTo>
                    <a:pt x="1094" y="7"/>
                  </a:moveTo>
                  <a:cubicBezTo>
                    <a:pt x="1032" y="7"/>
                    <a:pt x="1032" y="7"/>
                    <a:pt x="1032" y="7"/>
                  </a:cubicBezTo>
                  <a:cubicBezTo>
                    <a:pt x="1032" y="285"/>
                    <a:pt x="1032" y="285"/>
                    <a:pt x="1032" y="285"/>
                  </a:cubicBezTo>
                  <a:cubicBezTo>
                    <a:pt x="1094" y="285"/>
                    <a:pt x="1094" y="285"/>
                    <a:pt x="1094" y="285"/>
                  </a:cubicBezTo>
                  <a:cubicBezTo>
                    <a:pt x="1094" y="7"/>
                    <a:pt x="1094" y="7"/>
                    <a:pt x="1094" y="7"/>
                  </a:cubicBezTo>
                  <a:moveTo>
                    <a:pt x="1382" y="7"/>
                  </a:moveTo>
                  <a:cubicBezTo>
                    <a:pt x="1325" y="7"/>
                    <a:pt x="1325" y="7"/>
                    <a:pt x="1325" y="7"/>
                  </a:cubicBezTo>
                  <a:cubicBezTo>
                    <a:pt x="1325" y="194"/>
                    <a:pt x="1325" y="194"/>
                    <a:pt x="1325" y="194"/>
                  </a:cubicBezTo>
                  <a:cubicBezTo>
                    <a:pt x="1324" y="194"/>
                    <a:pt x="1324" y="194"/>
                    <a:pt x="1324" y="194"/>
                  </a:cubicBezTo>
                  <a:cubicBezTo>
                    <a:pt x="1208" y="7"/>
                    <a:pt x="1208" y="7"/>
                    <a:pt x="1208" y="7"/>
                  </a:cubicBezTo>
                  <a:cubicBezTo>
                    <a:pt x="1147" y="7"/>
                    <a:pt x="1147" y="7"/>
                    <a:pt x="1147" y="7"/>
                  </a:cubicBezTo>
                  <a:cubicBezTo>
                    <a:pt x="1147" y="285"/>
                    <a:pt x="1147" y="285"/>
                    <a:pt x="1147" y="285"/>
                  </a:cubicBezTo>
                  <a:cubicBezTo>
                    <a:pt x="1205" y="285"/>
                    <a:pt x="1205" y="285"/>
                    <a:pt x="1205" y="285"/>
                  </a:cubicBezTo>
                  <a:cubicBezTo>
                    <a:pt x="1205" y="99"/>
                    <a:pt x="1205" y="99"/>
                    <a:pt x="1205" y="99"/>
                  </a:cubicBezTo>
                  <a:cubicBezTo>
                    <a:pt x="1205" y="99"/>
                    <a:pt x="1205" y="99"/>
                    <a:pt x="1205" y="99"/>
                  </a:cubicBezTo>
                  <a:cubicBezTo>
                    <a:pt x="1321" y="285"/>
                    <a:pt x="1321" y="285"/>
                    <a:pt x="1321" y="285"/>
                  </a:cubicBezTo>
                  <a:cubicBezTo>
                    <a:pt x="1382" y="285"/>
                    <a:pt x="1382" y="285"/>
                    <a:pt x="1382" y="285"/>
                  </a:cubicBezTo>
                  <a:cubicBezTo>
                    <a:pt x="1382" y="7"/>
                    <a:pt x="1382" y="7"/>
                    <a:pt x="1382" y="7"/>
                  </a:cubicBezTo>
                  <a:moveTo>
                    <a:pt x="1673" y="7"/>
                  </a:moveTo>
                  <a:cubicBezTo>
                    <a:pt x="1605" y="7"/>
                    <a:pt x="1605" y="7"/>
                    <a:pt x="1605" y="7"/>
                  </a:cubicBezTo>
                  <a:cubicBezTo>
                    <a:pt x="1540" y="117"/>
                    <a:pt x="1540" y="117"/>
                    <a:pt x="1540" y="117"/>
                  </a:cubicBezTo>
                  <a:cubicBezTo>
                    <a:pt x="1475" y="7"/>
                    <a:pt x="1475" y="7"/>
                    <a:pt x="1475" y="7"/>
                  </a:cubicBezTo>
                  <a:cubicBezTo>
                    <a:pt x="1406" y="7"/>
                    <a:pt x="1406" y="7"/>
                    <a:pt x="1406" y="7"/>
                  </a:cubicBezTo>
                  <a:cubicBezTo>
                    <a:pt x="1508" y="177"/>
                    <a:pt x="1508" y="177"/>
                    <a:pt x="1508" y="177"/>
                  </a:cubicBezTo>
                  <a:cubicBezTo>
                    <a:pt x="1508" y="285"/>
                    <a:pt x="1508" y="285"/>
                    <a:pt x="1508" y="285"/>
                  </a:cubicBezTo>
                  <a:cubicBezTo>
                    <a:pt x="1570" y="285"/>
                    <a:pt x="1570" y="285"/>
                    <a:pt x="1570" y="285"/>
                  </a:cubicBezTo>
                  <a:cubicBezTo>
                    <a:pt x="1570" y="178"/>
                    <a:pt x="1570" y="178"/>
                    <a:pt x="1570" y="178"/>
                  </a:cubicBezTo>
                  <a:cubicBezTo>
                    <a:pt x="1673" y="7"/>
                    <a:pt x="1673" y="7"/>
                    <a:pt x="1673" y="7"/>
                  </a:cubicBezTo>
                  <a:moveTo>
                    <a:pt x="637" y="0"/>
                  </a:moveTo>
                  <a:cubicBezTo>
                    <a:pt x="587" y="0"/>
                    <a:pt x="533" y="28"/>
                    <a:pt x="533" y="84"/>
                  </a:cubicBezTo>
                  <a:cubicBezTo>
                    <a:pt x="533" y="137"/>
                    <a:pt x="575" y="153"/>
                    <a:pt x="616" y="164"/>
                  </a:cubicBezTo>
                  <a:cubicBezTo>
                    <a:pt x="657" y="175"/>
                    <a:pt x="699" y="180"/>
                    <a:pt x="699" y="210"/>
                  </a:cubicBezTo>
                  <a:cubicBezTo>
                    <a:pt x="699" y="238"/>
                    <a:pt x="666" y="244"/>
                    <a:pt x="645" y="244"/>
                  </a:cubicBezTo>
                  <a:cubicBezTo>
                    <a:pt x="612" y="244"/>
                    <a:pt x="583" y="230"/>
                    <a:pt x="583" y="193"/>
                  </a:cubicBezTo>
                  <a:cubicBezTo>
                    <a:pt x="524" y="193"/>
                    <a:pt x="524" y="193"/>
                    <a:pt x="524" y="193"/>
                  </a:cubicBezTo>
                  <a:cubicBezTo>
                    <a:pt x="523" y="261"/>
                    <a:pt x="581" y="292"/>
                    <a:pt x="642" y="292"/>
                  </a:cubicBezTo>
                  <a:cubicBezTo>
                    <a:pt x="718" y="292"/>
                    <a:pt x="758" y="254"/>
                    <a:pt x="758" y="203"/>
                  </a:cubicBezTo>
                  <a:cubicBezTo>
                    <a:pt x="758" y="139"/>
                    <a:pt x="696" y="127"/>
                    <a:pt x="675" y="122"/>
                  </a:cubicBezTo>
                  <a:cubicBezTo>
                    <a:pt x="606" y="104"/>
                    <a:pt x="592" y="101"/>
                    <a:pt x="592" y="79"/>
                  </a:cubicBezTo>
                  <a:cubicBezTo>
                    <a:pt x="592" y="56"/>
                    <a:pt x="615" y="48"/>
                    <a:pt x="634" y="48"/>
                  </a:cubicBezTo>
                  <a:cubicBezTo>
                    <a:pt x="664" y="48"/>
                    <a:pt x="687" y="56"/>
                    <a:pt x="689" y="90"/>
                  </a:cubicBezTo>
                  <a:cubicBezTo>
                    <a:pt x="749" y="90"/>
                    <a:pt x="749" y="90"/>
                    <a:pt x="749" y="90"/>
                  </a:cubicBezTo>
                  <a:cubicBezTo>
                    <a:pt x="749" y="26"/>
                    <a:pt x="695" y="0"/>
                    <a:pt x="637"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2" name="Freeform 7"/>
            <p:cNvSpPr>
              <a:spLocks noEditPoints="1"/>
            </p:cNvSpPr>
            <p:nvPr userDrawn="1"/>
          </p:nvSpPr>
          <p:spPr bwMode="auto">
            <a:xfrm>
              <a:off x="4074" y="2683"/>
              <a:ext cx="435" cy="132"/>
            </a:xfrm>
            <a:custGeom>
              <a:avLst/>
              <a:gdLst>
                <a:gd name="T0" fmla="*/ 675 w 958"/>
                <a:gd name="T1" fmla="*/ 6 h 291"/>
                <a:gd name="T2" fmla="*/ 615 w 958"/>
                <a:gd name="T3" fmla="*/ 6 h 291"/>
                <a:gd name="T4" fmla="*/ 570 w 958"/>
                <a:gd name="T5" fmla="*/ 198 h 291"/>
                <a:gd name="T6" fmla="*/ 569 w 958"/>
                <a:gd name="T7" fmla="*/ 198 h 291"/>
                <a:gd name="T8" fmla="*/ 521 w 958"/>
                <a:gd name="T9" fmla="*/ 6 h 291"/>
                <a:gd name="T10" fmla="*/ 464 w 958"/>
                <a:gd name="T11" fmla="*/ 6 h 291"/>
                <a:gd name="T12" fmla="*/ 416 w 958"/>
                <a:gd name="T13" fmla="*/ 196 h 291"/>
                <a:gd name="T14" fmla="*/ 415 w 958"/>
                <a:gd name="T15" fmla="*/ 196 h 291"/>
                <a:gd name="T16" fmla="*/ 371 w 958"/>
                <a:gd name="T17" fmla="*/ 6 h 291"/>
                <a:gd name="T18" fmla="*/ 310 w 958"/>
                <a:gd name="T19" fmla="*/ 6 h 291"/>
                <a:gd name="T20" fmla="*/ 383 w 958"/>
                <a:gd name="T21" fmla="*/ 285 h 291"/>
                <a:gd name="T22" fmla="*/ 445 w 958"/>
                <a:gd name="T23" fmla="*/ 285 h 291"/>
                <a:gd name="T24" fmla="*/ 492 w 958"/>
                <a:gd name="T25" fmla="*/ 95 h 291"/>
                <a:gd name="T26" fmla="*/ 492 w 958"/>
                <a:gd name="T27" fmla="*/ 95 h 291"/>
                <a:gd name="T28" fmla="*/ 540 w 958"/>
                <a:gd name="T29" fmla="*/ 285 h 291"/>
                <a:gd name="T30" fmla="*/ 600 w 958"/>
                <a:gd name="T31" fmla="*/ 285 h 291"/>
                <a:gd name="T32" fmla="*/ 675 w 958"/>
                <a:gd name="T33" fmla="*/ 6 h 291"/>
                <a:gd name="T34" fmla="*/ 958 w 958"/>
                <a:gd name="T35" fmla="*/ 6 h 291"/>
                <a:gd name="T36" fmla="*/ 900 w 958"/>
                <a:gd name="T37" fmla="*/ 6 h 291"/>
                <a:gd name="T38" fmla="*/ 900 w 958"/>
                <a:gd name="T39" fmla="*/ 193 h 291"/>
                <a:gd name="T40" fmla="*/ 900 w 958"/>
                <a:gd name="T41" fmla="*/ 193 h 291"/>
                <a:gd name="T42" fmla="*/ 784 w 958"/>
                <a:gd name="T43" fmla="*/ 6 h 291"/>
                <a:gd name="T44" fmla="*/ 723 w 958"/>
                <a:gd name="T45" fmla="*/ 6 h 291"/>
                <a:gd name="T46" fmla="*/ 723 w 958"/>
                <a:gd name="T47" fmla="*/ 285 h 291"/>
                <a:gd name="T48" fmla="*/ 780 w 958"/>
                <a:gd name="T49" fmla="*/ 285 h 291"/>
                <a:gd name="T50" fmla="*/ 780 w 958"/>
                <a:gd name="T51" fmla="*/ 98 h 291"/>
                <a:gd name="T52" fmla="*/ 781 w 958"/>
                <a:gd name="T53" fmla="*/ 98 h 291"/>
                <a:gd name="T54" fmla="*/ 897 w 958"/>
                <a:gd name="T55" fmla="*/ 285 h 291"/>
                <a:gd name="T56" fmla="*/ 958 w 958"/>
                <a:gd name="T57" fmla="*/ 285 h 291"/>
                <a:gd name="T58" fmla="*/ 958 w 958"/>
                <a:gd name="T59" fmla="*/ 6 h 291"/>
                <a:gd name="T60" fmla="*/ 137 w 958"/>
                <a:gd name="T61" fmla="*/ 240 h 291"/>
                <a:gd name="T62" fmla="*/ 62 w 958"/>
                <a:gd name="T63" fmla="*/ 147 h 291"/>
                <a:gd name="T64" fmla="*/ 137 w 958"/>
                <a:gd name="T65" fmla="*/ 51 h 291"/>
                <a:gd name="T66" fmla="*/ 213 w 958"/>
                <a:gd name="T67" fmla="*/ 147 h 291"/>
                <a:gd name="T68" fmla="*/ 137 w 958"/>
                <a:gd name="T69" fmla="*/ 240 h 291"/>
                <a:gd name="T70" fmla="*/ 137 w 958"/>
                <a:gd name="T71" fmla="*/ 0 h 291"/>
                <a:gd name="T72" fmla="*/ 0 w 958"/>
                <a:gd name="T73" fmla="*/ 147 h 291"/>
                <a:gd name="T74" fmla="*/ 137 w 958"/>
                <a:gd name="T75" fmla="*/ 291 h 291"/>
                <a:gd name="T76" fmla="*/ 274 w 958"/>
                <a:gd name="T77" fmla="*/ 147 h 291"/>
                <a:gd name="T78" fmla="*/ 137 w 958"/>
                <a:gd name="T7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8" h="291">
                  <a:moveTo>
                    <a:pt x="675" y="6"/>
                  </a:moveTo>
                  <a:cubicBezTo>
                    <a:pt x="615" y="6"/>
                    <a:pt x="615" y="6"/>
                    <a:pt x="615" y="6"/>
                  </a:cubicBezTo>
                  <a:cubicBezTo>
                    <a:pt x="570" y="198"/>
                    <a:pt x="570" y="198"/>
                    <a:pt x="570" y="198"/>
                  </a:cubicBezTo>
                  <a:cubicBezTo>
                    <a:pt x="569" y="198"/>
                    <a:pt x="569" y="198"/>
                    <a:pt x="569" y="198"/>
                  </a:cubicBezTo>
                  <a:cubicBezTo>
                    <a:pt x="521" y="6"/>
                    <a:pt x="521" y="6"/>
                    <a:pt x="521" y="6"/>
                  </a:cubicBezTo>
                  <a:cubicBezTo>
                    <a:pt x="464" y="6"/>
                    <a:pt x="464" y="6"/>
                    <a:pt x="464" y="6"/>
                  </a:cubicBezTo>
                  <a:cubicBezTo>
                    <a:pt x="416" y="196"/>
                    <a:pt x="416" y="196"/>
                    <a:pt x="416" y="196"/>
                  </a:cubicBezTo>
                  <a:cubicBezTo>
                    <a:pt x="415" y="196"/>
                    <a:pt x="415" y="196"/>
                    <a:pt x="415" y="196"/>
                  </a:cubicBezTo>
                  <a:cubicBezTo>
                    <a:pt x="371" y="6"/>
                    <a:pt x="371" y="6"/>
                    <a:pt x="371" y="6"/>
                  </a:cubicBezTo>
                  <a:cubicBezTo>
                    <a:pt x="310" y="6"/>
                    <a:pt x="310" y="6"/>
                    <a:pt x="310" y="6"/>
                  </a:cubicBezTo>
                  <a:cubicBezTo>
                    <a:pt x="383" y="285"/>
                    <a:pt x="383" y="285"/>
                    <a:pt x="383" y="285"/>
                  </a:cubicBezTo>
                  <a:cubicBezTo>
                    <a:pt x="445" y="285"/>
                    <a:pt x="445" y="285"/>
                    <a:pt x="445" y="285"/>
                  </a:cubicBezTo>
                  <a:cubicBezTo>
                    <a:pt x="492" y="95"/>
                    <a:pt x="492" y="95"/>
                    <a:pt x="492" y="95"/>
                  </a:cubicBezTo>
                  <a:cubicBezTo>
                    <a:pt x="492" y="95"/>
                    <a:pt x="492" y="95"/>
                    <a:pt x="492" y="95"/>
                  </a:cubicBezTo>
                  <a:cubicBezTo>
                    <a:pt x="540" y="285"/>
                    <a:pt x="540" y="285"/>
                    <a:pt x="540" y="285"/>
                  </a:cubicBezTo>
                  <a:cubicBezTo>
                    <a:pt x="600" y="285"/>
                    <a:pt x="600" y="285"/>
                    <a:pt x="600" y="285"/>
                  </a:cubicBezTo>
                  <a:cubicBezTo>
                    <a:pt x="675" y="6"/>
                    <a:pt x="675" y="6"/>
                    <a:pt x="675" y="6"/>
                  </a:cubicBezTo>
                  <a:moveTo>
                    <a:pt x="958" y="6"/>
                  </a:moveTo>
                  <a:cubicBezTo>
                    <a:pt x="900" y="6"/>
                    <a:pt x="900" y="6"/>
                    <a:pt x="900" y="6"/>
                  </a:cubicBezTo>
                  <a:cubicBezTo>
                    <a:pt x="900" y="193"/>
                    <a:pt x="900" y="193"/>
                    <a:pt x="900" y="193"/>
                  </a:cubicBezTo>
                  <a:cubicBezTo>
                    <a:pt x="900" y="193"/>
                    <a:pt x="900" y="193"/>
                    <a:pt x="900" y="193"/>
                  </a:cubicBezTo>
                  <a:cubicBezTo>
                    <a:pt x="784" y="6"/>
                    <a:pt x="784" y="6"/>
                    <a:pt x="784" y="6"/>
                  </a:cubicBezTo>
                  <a:cubicBezTo>
                    <a:pt x="723" y="6"/>
                    <a:pt x="723" y="6"/>
                    <a:pt x="723" y="6"/>
                  </a:cubicBezTo>
                  <a:cubicBezTo>
                    <a:pt x="723" y="285"/>
                    <a:pt x="723" y="285"/>
                    <a:pt x="723" y="285"/>
                  </a:cubicBezTo>
                  <a:cubicBezTo>
                    <a:pt x="780" y="285"/>
                    <a:pt x="780" y="285"/>
                    <a:pt x="780" y="285"/>
                  </a:cubicBezTo>
                  <a:cubicBezTo>
                    <a:pt x="780" y="98"/>
                    <a:pt x="780" y="98"/>
                    <a:pt x="780" y="98"/>
                  </a:cubicBezTo>
                  <a:cubicBezTo>
                    <a:pt x="781" y="98"/>
                    <a:pt x="781" y="98"/>
                    <a:pt x="781" y="98"/>
                  </a:cubicBezTo>
                  <a:cubicBezTo>
                    <a:pt x="897" y="285"/>
                    <a:pt x="897" y="285"/>
                    <a:pt x="897" y="285"/>
                  </a:cubicBezTo>
                  <a:cubicBezTo>
                    <a:pt x="958" y="285"/>
                    <a:pt x="958" y="285"/>
                    <a:pt x="958" y="285"/>
                  </a:cubicBezTo>
                  <a:cubicBezTo>
                    <a:pt x="958" y="6"/>
                    <a:pt x="958" y="6"/>
                    <a:pt x="958" y="6"/>
                  </a:cubicBezTo>
                  <a:moveTo>
                    <a:pt x="137" y="240"/>
                  </a:moveTo>
                  <a:cubicBezTo>
                    <a:pt x="82" y="240"/>
                    <a:pt x="62" y="193"/>
                    <a:pt x="62" y="147"/>
                  </a:cubicBezTo>
                  <a:cubicBezTo>
                    <a:pt x="62" y="98"/>
                    <a:pt x="82" y="51"/>
                    <a:pt x="137" y="51"/>
                  </a:cubicBezTo>
                  <a:cubicBezTo>
                    <a:pt x="192" y="51"/>
                    <a:pt x="213" y="98"/>
                    <a:pt x="213" y="147"/>
                  </a:cubicBezTo>
                  <a:cubicBezTo>
                    <a:pt x="213" y="193"/>
                    <a:pt x="192" y="240"/>
                    <a:pt x="137" y="240"/>
                  </a:cubicBezTo>
                  <a:moveTo>
                    <a:pt x="137" y="0"/>
                  </a:moveTo>
                  <a:cubicBezTo>
                    <a:pt x="51" y="0"/>
                    <a:pt x="0" y="64"/>
                    <a:pt x="0" y="147"/>
                  </a:cubicBezTo>
                  <a:cubicBezTo>
                    <a:pt x="0" y="227"/>
                    <a:pt x="51" y="291"/>
                    <a:pt x="137" y="291"/>
                  </a:cubicBezTo>
                  <a:cubicBezTo>
                    <a:pt x="223" y="291"/>
                    <a:pt x="274" y="227"/>
                    <a:pt x="274" y="147"/>
                  </a:cubicBezTo>
                  <a:cubicBezTo>
                    <a:pt x="274" y="64"/>
                    <a:pt x="223" y="0"/>
                    <a:pt x="137"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3" name="Freeform 8"/>
            <p:cNvSpPr>
              <a:spLocks noEditPoints="1"/>
            </p:cNvSpPr>
            <p:nvPr userDrawn="1"/>
          </p:nvSpPr>
          <p:spPr bwMode="auto">
            <a:xfrm>
              <a:off x="3879" y="2862"/>
              <a:ext cx="802" cy="208"/>
            </a:xfrm>
            <a:custGeom>
              <a:avLst/>
              <a:gdLst>
                <a:gd name="T0" fmla="*/ 420 w 1764"/>
                <a:gd name="T1" fmla="*/ 10 h 458"/>
                <a:gd name="T2" fmla="*/ 313 w 1764"/>
                <a:gd name="T3" fmla="*/ 10 h 458"/>
                <a:gd name="T4" fmla="*/ 211 w 1764"/>
                <a:gd name="T5" fmla="*/ 183 h 458"/>
                <a:gd name="T6" fmla="*/ 109 w 1764"/>
                <a:gd name="T7" fmla="*/ 10 h 458"/>
                <a:gd name="T8" fmla="*/ 0 w 1764"/>
                <a:gd name="T9" fmla="*/ 10 h 458"/>
                <a:gd name="T10" fmla="*/ 161 w 1764"/>
                <a:gd name="T11" fmla="*/ 277 h 458"/>
                <a:gd name="T12" fmla="*/ 161 w 1764"/>
                <a:gd name="T13" fmla="*/ 448 h 458"/>
                <a:gd name="T14" fmla="*/ 257 w 1764"/>
                <a:gd name="T15" fmla="*/ 448 h 458"/>
                <a:gd name="T16" fmla="*/ 257 w 1764"/>
                <a:gd name="T17" fmla="*/ 280 h 458"/>
                <a:gd name="T18" fmla="*/ 420 w 1764"/>
                <a:gd name="T19" fmla="*/ 10 h 458"/>
                <a:gd name="T20" fmla="*/ 1304 w 1764"/>
                <a:gd name="T21" fmla="*/ 10 h 458"/>
                <a:gd name="T22" fmla="*/ 1208 w 1764"/>
                <a:gd name="T23" fmla="*/ 10 h 458"/>
                <a:gd name="T24" fmla="*/ 1208 w 1764"/>
                <a:gd name="T25" fmla="*/ 282 h 458"/>
                <a:gd name="T26" fmla="*/ 1117 w 1764"/>
                <a:gd name="T27" fmla="*/ 377 h 458"/>
                <a:gd name="T28" fmla="*/ 1027 w 1764"/>
                <a:gd name="T29" fmla="*/ 282 h 458"/>
                <a:gd name="T30" fmla="*/ 1027 w 1764"/>
                <a:gd name="T31" fmla="*/ 10 h 458"/>
                <a:gd name="T32" fmla="*/ 931 w 1764"/>
                <a:gd name="T33" fmla="*/ 10 h 458"/>
                <a:gd name="T34" fmla="*/ 931 w 1764"/>
                <a:gd name="T35" fmla="*/ 282 h 458"/>
                <a:gd name="T36" fmla="*/ 1117 w 1764"/>
                <a:gd name="T37" fmla="*/ 458 h 458"/>
                <a:gd name="T38" fmla="*/ 1304 w 1764"/>
                <a:gd name="T39" fmla="*/ 282 h 458"/>
                <a:gd name="T40" fmla="*/ 1304 w 1764"/>
                <a:gd name="T41" fmla="*/ 10 h 458"/>
                <a:gd name="T42" fmla="*/ 1483 w 1764"/>
                <a:gd name="T43" fmla="*/ 208 h 458"/>
                <a:gd name="T44" fmla="*/ 1483 w 1764"/>
                <a:gd name="T45" fmla="*/ 85 h 458"/>
                <a:gd name="T46" fmla="*/ 1589 w 1764"/>
                <a:gd name="T47" fmla="*/ 85 h 458"/>
                <a:gd name="T48" fmla="*/ 1655 w 1764"/>
                <a:gd name="T49" fmla="*/ 146 h 458"/>
                <a:gd name="T50" fmla="*/ 1589 w 1764"/>
                <a:gd name="T51" fmla="*/ 208 h 458"/>
                <a:gd name="T52" fmla="*/ 1483 w 1764"/>
                <a:gd name="T53" fmla="*/ 208 h 458"/>
                <a:gd name="T54" fmla="*/ 1623 w 1764"/>
                <a:gd name="T55" fmla="*/ 10 h 458"/>
                <a:gd name="T56" fmla="*/ 1387 w 1764"/>
                <a:gd name="T57" fmla="*/ 10 h 458"/>
                <a:gd name="T58" fmla="*/ 1387 w 1764"/>
                <a:gd name="T59" fmla="*/ 448 h 458"/>
                <a:gd name="T60" fmla="*/ 1483 w 1764"/>
                <a:gd name="T61" fmla="*/ 448 h 458"/>
                <a:gd name="T62" fmla="*/ 1483 w 1764"/>
                <a:gd name="T63" fmla="*/ 277 h 458"/>
                <a:gd name="T64" fmla="*/ 1579 w 1764"/>
                <a:gd name="T65" fmla="*/ 277 h 458"/>
                <a:gd name="T66" fmla="*/ 1652 w 1764"/>
                <a:gd name="T67" fmla="*/ 343 h 458"/>
                <a:gd name="T68" fmla="*/ 1668 w 1764"/>
                <a:gd name="T69" fmla="*/ 448 h 458"/>
                <a:gd name="T70" fmla="*/ 1764 w 1764"/>
                <a:gd name="T71" fmla="*/ 448 h 458"/>
                <a:gd name="T72" fmla="*/ 1745 w 1764"/>
                <a:gd name="T73" fmla="*/ 344 h 458"/>
                <a:gd name="T74" fmla="*/ 1682 w 1764"/>
                <a:gd name="T75" fmla="*/ 242 h 458"/>
                <a:gd name="T76" fmla="*/ 1682 w 1764"/>
                <a:gd name="T77" fmla="*/ 241 h 458"/>
                <a:gd name="T78" fmla="*/ 1751 w 1764"/>
                <a:gd name="T79" fmla="*/ 131 h 458"/>
                <a:gd name="T80" fmla="*/ 1623 w 1764"/>
                <a:gd name="T81" fmla="*/ 10 h 458"/>
                <a:gd name="T82" fmla="*/ 653 w 1764"/>
                <a:gd name="T83" fmla="*/ 377 h 458"/>
                <a:gd name="T84" fmla="*/ 534 w 1764"/>
                <a:gd name="T85" fmla="*/ 231 h 458"/>
                <a:gd name="T86" fmla="*/ 653 w 1764"/>
                <a:gd name="T87" fmla="*/ 81 h 458"/>
                <a:gd name="T88" fmla="*/ 771 w 1764"/>
                <a:gd name="T89" fmla="*/ 231 h 458"/>
                <a:gd name="T90" fmla="*/ 653 w 1764"/>
                <a:gd name="T91" fmla="*/ 377 h 458"/>
                <a:gd name="T92" fmla="*/ 653 w 1764"/>
                <a:gd name="T93" fmla="*/ 0 h 458"/>
                <a:gd name="T94" fmla="*/ 438 w 1764"/>
                <a:gd name="T95" fmla="*/ 231 h 458"/>
                <a:gd name="T96" fmla="*/ 653 w 1764"/>
                <a:gd name="T97" fmla="*/ 458 h 458"/>
                <a:gd name="T98" fmla="*/ 868 w 1764"/>
                <a:gd name="T99" fmla="*/ 231 h 458"/>
                <a:gd name="T100" fmla="*/ 653 w 1764"/>
                <a:gd name="T101"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4" h="458">
                  <a:moveTo>
                    <a:pt x="420" y="10"/>
                  </a:moveTo>
                  <a:cubicBezTo>
                    <a:pt x="313" y="10"/>
                    <a:pt x="313" y="10"/>
                    <a:pt x="313" y="10"/>
                  </a:cubicBezTo>
                  <a:cubicBezTo>
                    <a:pt x="211" y="183"/>
                    <a:pt x="211" y="183"/>
                    <a:pt x="211" y="183"/>
                  </a:cubicBezTo>
                  <a:cubicBezTo>
                    <a:pt x="109" y="10"/>
                    <a:pt x="109" y="10"/>
                    <a:pt x="109" y="10"/>
                  </a:cubicBezTo>
                  <a:cubicBezTo>
                    <a:pt x="0" y="10"/>
                    <a:pt x="0" y="10"/>
                    <a:pt x="0" y="10"/>
                  </a:cubicBezTo>
                  <a:cubicBezTo>
                    <a:pt x="161" y="277"/>
                    <a:pt x="161" y="277"/>
                    <a:pt x="161" y="277"/>
                  </a:cubicBezTo>
                  <a:cubicBezTo>
                    <a:pt x="161" y="448"/>
                    <a:pt x="161" y="448"/>
                    <a:pt x="161" y="448"/>
                  </a:cubicBezTo>
                  <a:cubicBezTo>
                    <a:pt x="257" y="448"/>
                    <a:pt x="257" y="448"/>
                    <a:pt x="257" y="448"/>
                  </a:cubicBezTo>
                  <a:cubicBezTo>
                    <a:pt x="257" y="280"/>
                    <a:pt x="257" y="280"/>
                    <a:pt x="257" y="280"/>
                  </a:cubicBezTo>
                  <a:cubicBezTo>
                    <a:pt x="420" y="10"/>
                    <a:pt x="420" y="10"/>
                    <a:pt x="420" y="10"/>
                  </a:cubicBezTo>
                  <a:moveTo>
                    <a:pt x="1304" y="10"/>
                  </a:moveTo>
                  <a:cubicBezTo>
                    <a:pt x="1208" y="10"/>
                    <a:pt x="1208" y="10"/>
                    <a:pt x="1208" y="10"/>
                  </a:cubicBezTo>
                  <a:cubicBezTo>
                    <a:pt x="1208" y="282"/>
                    <a:pt x="1208" y="282"/>
                    <a:pt x="1208" y="282"/>
                  </a:cubicBezTo>
                  <a:cubicBezTo>
                    <a:pt x="1208" y="347"/>
                    <a:pt x="1186" y="377"/>
                    <a:pt x="1117" y="377"/>
                  </a:cubicBezTo>
                  <a:cubicBezTo>
                    <a:pt x="1040" y="377"/>
                    <a:pt x="1027" y="330"/>
                    <a:pt x="1027" y="282"/>
                  </a:cubicBezTo>
                  <a:cubicBezTo>
                    <a:pt x="1027" y="10"/>
                    <a:pt x="1027" y="10"/>
                    <a:pt x="1027" y="10"/>
                  </a:cubicBezTo>
                  <a:cubicBezTo>
                    <a:pt x="931" y="10"/>
                    <a:pt x="931" y="10"/>
                    <a:pt x="931" y="10"/>
                  </a:cubicBezTo>
                  <a:cubicBezTo>
                    <a:pt x="931" y="282"/>
                    <a:pt x="931" y="282"/>
                    <a:pt x="931" y="282"/>
                  </a:cubicBezTo>
                  <a:cubicBezTo>
                    <a:pt x="931" y="401"/>
                    <a:pt x="1000" y="458"/>
                    <a:pt x="1117" y="458"/>
                  </a:cubicBezTo>
                  <a:cubicBezTo>
                    <a:pt x="1234" y="458"/>
                    <a:pt x="1304" y="401"/>
                    <a:pt x="1304" y="282"/>
                  </a:cubicBezTo>
                  <a:cubicBezTo>
                    <a:pt x="1304" y="10"/>
                    <a:pt x="1304" y="10"/>
                    <a:pt x="1304" y="10"/>
                  </a:cubicBezTo>
                  <a:moveTo>
                    <a:pt x="1483" y="208"/>
                  </a:moveTo>
                  <a:cubicBezTo>
                    <a:pt x="1483" y="85"/>
                    <a:pt x="1483" y="85"/>
                    <a:pt x="1483" y="85"/>
                  </a:cubicBezTo>
                  <a:cubicBezTo>
                    <a:pt x="1589" y="85"/>
                    <a:pt x="1589" y="85"/>
                    <a:pt x="1589" y="85"/>
                  </a:cubicBezTo>
                  <a:cubicBezTo>
                    <a:pt x="1631" y="85"/>
                    <a:pt x="1655" y="103"/>
                    <a:pt x="1655" y="146"/>
                  </a:cubicBezTo>
                  <a:cubicBezTo>
                    <a:pt x="1655" y="190"/>
                    <a:pt x="1631" y="208"/>
                    <a:pt x="1589" y="208"/>
                  </a:cubicBezTo>
                  <a:cubicBezTo>
                    <a:pt x="1483" y="208"/>
                    <a:pt x="1483" y="208"/>
                    <a:pt x="1483" y="208"/>
                  </a:cubicBezTo>
                  <a:moveTo>
                    <a:pt x="1623" y="10"/>
                  </a:moveTo>
                  <a:cubicBezTo>
                    <a:pt x="1387" y="10"/>
                    <a:pt x="1387" y="10"/>
                    <a:pt x="1387" y="10"/>
                  </a:cubicBezTo>
                  <a:cubicBezTo>
                    <a:pt x="1387" y="448"/>
                    <a:pt x="1387" y="448"/>
                    <a:pt x="1387" y="448"/>
                  </a:cubicBezTo>
                  <a:cubicBezTo>
                    <a:pt x="1483" y="448"/>
                    <a:pt x="1483" y="448"/>
                    <a:pt x="1483" y="448"/>
                  </a:cubicBezTo>
                  <a:cubicBezTo>
                    <a:pt x="1483" y="277"/>
                    <a:pt x="1483" y="277"/>
                    <a:pt x="1483" y="277"/>
                  </a:cubicBezTo>
                  <a:cubicBezTo>
                    <a:pt x="1579" y="277"/>
                    <a:pt x="1579" y="277"/>
                    <a:pt x="1579" y="277"/>
                  </a:cubicBezTo>
                  <a:cubicBezTo>
                    <a:pt x="1628" y="277"/>
                    <a:pt x="1646" y="297"/>
                    <a:pt x="1652" y="343"/>
                  </a:cubicBezTo>
                  <a:cubicBezTo>
                    <a:pt x="1657" y="378"/>
                    <a:pt x="1656" y="420"/>
                    <a:pt x="1668" y="448"/>
                  </a:cubicBezTo>
                  <a:cubicBezTo>
                    <a:pt x="1764" y="448"/>
                    <a:pt x="1764" y="448"/>
                    <a:pt x="1764" y="448"/>
                  </a:cubicBezTo>
                  <a:cubicBezTo>
                    <a:pt x="1747" y="423"/>
                    <a:pt x="1747" y="372"/>
                    <a:pt x="1745" y="344"/>
                  </a:cubicBezTo>
                  <a:cubicBezTo>
                    <a:pt x="1742" y="300"/>
                    <a:pt x="1729" y="254"/>
                    <a:pt x="1682" y="242"/>
                  </a:cubicBezTo>
                  <a:cubicBezTo>
                    <a:pt x="1682" y="241"/>
                    <a:pt x="1682" y="241"/>
                    <a:pt x="1682" y="241"/>
                  </a:cubicBezTo>
                  <a:cubicBezTo>
                    <a:pt x="1730" y="221"/>
                    <a:pt x="1751" y="182"/>
                    <a:pt x="1751" y="131"/>
                  </a:cubicBezTo>
                  <a:cubicBezTo>
                    <a:pt x="1751" y="65"/>
                    <a:pt x="1701" y="10"/>
                    <a:pt x="1623" y="10"/>
                  </a:cubicBezTo>
                  <a:moveTo>
                    <a:pt x="653" y="377"/>
                  </a:moveTo>
                  <a:cubicBezTo>
                    <a:pt x="566" y="377"/>
                    <a:pt x="534" y="304"/>
                    <a:pt x="534" y="231"/>
                  </a:cubicBezTo>
                  <a:cubicBezTo>
                    <a:pt x="534" y="154"/>
                    <a:pt x="566" y="81"/>
                    <a:pt x="653" y="81"/>
                  </a:cubicBezTo>
                  <a:cubicBezTo>
                    <a:pt x="739" y="81"/>
                    <a:pt x="771" y="154"/>
                    <a:pt x="771" y="231"/>
                  </a:cubicBezTo>
                  <a:cubicBezTo>
                    <a:pt x="771" y="304"/>
                    <a:pt x="739" y="377"/>
                    <a:pt x="653" y="377"/>
                  </a:cubicBezTo>
                  <a:moveTo>
                    <a:pt x="653" y="0"/>
                  </a:moveTo>
                  <a:cubicBezTo>
                    <a:pt x="517" y="0"/>
                    <a:pt x="438" y="101"/>
                    <a:pt x="438" y="231"/>
                  </a:cubicBezTo>
                  <a:cubicBezTo>
                    <a:pt x="438" y="357"/>
                    <a:pt x="517" y="458"/>
                    <a:pt x="653" y="458"/>
                  </a:cubicBezTo>
                  <a:cubicBezTo>
                    <a:pt x="788" y="458"/>
                    <a:pt x="868" y="357"/>
                    <a:pt x="868" y="231"/>
                  </a:cubicBezTo>
                  <a:cubicBezTo>
                    <a:pt x="868" y="101"/>
                    <a:pt x="788" y="0"/>
                    <a:pt x="653" y="0"/>
                  </a:cubicBezTo>
                </a:path>
              </a:pathLst>
            </a:custGeom>
            <a:solidFill>
              <a:schemeClr val="bg1">
                <a:alpha val="65098"/>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grpSp>
    </p:spTree>
    <p:extLst>
      <p:ext uri="{BB962C8B-B14F-4D97-AF65-F5344CB8AC3E}">
        <p14:creationId xmlns:p14="http://schemas.microsoft.com/office/powerpoint/2010/main" val="4278575672"/>
      </p:ext>
    </p:extLst>
  </p:cSld>
  <p:clrMapOvr>
    <a:masterClrMapping/>
  </p:clrMapOvr>
  <p:transition>
    <p:fade/>
  </p:transition>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tandard Title and Bullets">
  <p:cSld name="5_Standard Title and Bullets">
    <p:spTree>
      <p:nvGrpSpPr>
        <p:cNvPr id="1" name="Shape 39"/>
        <p:cNvGrpSpPr/>
        <p:nvPr/>
      </p:nvGrpSpPr>
      <p:grpSpPr>
        <a:xfrm>
          <a:off x="0" y="0"/>
          <a:ext cx="0" cy="0"/>
          <a:chOff x="0" y="0"/>
          <a:chExt cx="0" cy="0"/>
        </a:xfrm>
      </p:grpSpPr>
      <p:sp>
        <p:nvSpPr>
          <p:cNvPr id="40" name="Google Shape;40;p61"/>
          <p:cNvSpPr txBox="1">
            <a:spLocks noGrp="1"/>
          </p:cNvSpPr>
          <p:nvPr>
            <p:ph type="title"/>
          </p:nvPr>
        </p:nvSpPr>
        <p:spPr>
          <a:xfrm>
            <a:off x="583843"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solidFill>
                  <a:schemeClr val="lt2"/>
                </a:solidFill>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41" name="Google Shape;41;p61"/>
          <p:cNvSpPr txBox="1">
            <a:spLocks noGrp="1"/>
          </p:cNvSpPr>
          <p:nvPr>
            <p:ph type="body" idx="1"/>
          </p:nvPr>
        </p:nvSpPr>
        <p:spPr>
          <a:xfrm>
            <a:off x="583843" y="1534475"/>
            <a:ext cx="11022371" cy="4767267"/>
          </a:xfrm>
          <a:prstGeom prst="rect">
            <a:avLst/>
          </a:prstGeom>
          <a:noFill/>
          <a:ln>
            <a:noFill/>
          </a:ln>
        </p:spPr>
        <p:txBody>
          <a:bodyPr spcFirstLastPara="1" wrap="square" lIns="91425" tIns="45700" rIns="91425" bIns="45700" anchor="t" anchorCtr="0">
            <a:noAutofit/>
          </a:bodyPr>
          <a:lstStyle>
            <a:lvl1pPr marL="457063" lvl="0" indent="-325657" algn="l">
              <a:lnSpc>
                <a:spcPct val="95000"/>
              </a:lnSpc>
              <a:spcBef>
                <a:spcPts val="1000"/>
              </a:spcBef>
              <a:spcAft>
                <a:spcPts val="0"/>
              </a:spcAft>
              <a:buSzPts val="1530"/>
              <a:buChar char="•"/>
              <a:defRPr/>
            </a:lvl1pPr>
            <a:lvl2pPr marL="914126" lvl="1" indent="-342797" algn="l">
              <a:lnSpc>
                <a:spcPct val="95000"/>
              </a:lnSpc>
              <a:spcBef>
                <a:spcPts val="800"/>
              </a:spcBef>
              <a:spcAft>
                <a:spcPts val="0"/>
              </a:spcAft>
              <a:buSzPts val="1800"/>
              <a:buChar char="•"/>
              <a:defRPr/>
            </a:lvl2pPr>
            <a:lvl3pPr marL="1371189" lvl="2" indent="-342797" algn="l">
              <a:lnSpc>
                <a:spcPct val="95000"/>
              </a:lnSpc>
              <a:spcBef>
                <a:spcPts val="800"/>
              </a:spcBef>
              <a:spcAft>
                <a:spcPts val="0"/>
              </a:spcAft>
              <a:buSzPts val="1800"/>
              <a:buChar char="•"/>
              <a:defRPr/>
            </a:lvl3pPr>
            <a:lvl4pPr marL="1828251" lvl="3" indent="-342797" algn="l">
              <a:lnSpc>
                <a:spcPct val="90000"/>
              </a:lnSpc>
              <a:spcBef>
                <a:spcPts val="800"/>
              </a:spcBef>
              <a:spcAft>
                <a:spcPts val="0"/>
              </a:spcAft>
              <a:buSzPts val="1800"/>
              <a:buChar char="̶"/>
              <a:defRPr/>
            </a:lvl4pPr>
            <a:lvl5pPr marL="2285314" lvl="4" indent="-342797" algn="l">
              <a:lnSpc>
                <a:spcPct val="90000"/>
              </a:lnSpc>
              <a:spcBef>
                <a:spcPts val="800"/>
              </a:spcBef>
              <a:spcAft>
                <a:spcPts val="0"/>
              </a:spcAft>
              <a:buSzPts val="1800"/>
              <a:buChar char="̶"/>
              <a:defRPr/>
            </a:lvl5pPr>
            <a:lvl6pPr marL="2742377" lvl="5" indent="-342797" algn="l">
              <a:spcBef>
                <a:spcPts val="360"/>
              </a:spcBef>
              <a:spcAft>
                <a:spcPts val="0"/>
              </a:spcAft>
              <a:buSzPts val="1800"/>
              <a:buChar char="»"/>
              <a:defRPr/>
            </a:lvl6pPr>
            <a:lvl7pPr marL="3199440" lvl="6" indent="-342797" algn="l">
              <a:spcBef>
                <a:spcPts val="360"/>
              </a:spcBef>
              <a:spcAft>
                <a:spcPts val="0"/>
              </a:spcAft>
              <a:buSzPts val="1800"/>
              <a:buChar char="»"/>
              <a:defRPr/>
            </a:lvl7pPr>
            <a:lvl8pPr marL="3656503" lvl="7" indent="-342797" algn="l">
              <a:spcBef>
                <a:spcPts val="360"/>
              </a:spcBef>
              <a:spcAft>
                <a:spcPts val="0"/>
              </a:spcAft>
              <a:buSzPts val="1800"/>
              <a:buChar char="»"/>
              <a:defRPr/>
            </a:lvl8pPr>
            <a:lvl9pPr marL="4113566" lvl="8" indent="-342797" algn="l">
              <a:spcBef>
                <a:spcPts val="360"/>
              </a:spcBef>
              <a:spcAft>
                <a:spcPts val="0"/>
              </a:spcAft>
              <a:buSzPts val="1800"/>
              <a:buChar char="»"/>
              <a:defRPr/>
            </a:lvl9pPr>
          </a:lstStyle>
          <a:p>
            <a:endParaRPr/>
          </a:p>
        </p:txBody>
      </p:sp>
      <p:sp>
        <p:nvSpPr>
          <p:cNvPr id="42" name="Google Shape;42;p61" hidden="1"/>
          <p:cNvSpPr txBox="1">
            <a:spLocks noGrp="1"/>
          </p:cNvSpPr>
          <p:nvPr>
            <p:ph type="dt" idx="10"/>
          </p:nvPr>
        </p:nvSpPr>
        <p:spPr>
          <a:xfrm>
            <a:off x="-2991244" y="6356352"/>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solidFill>
                <a:srgbClr val="4D4D4F">
                  <a:tint val="75000"/>
                </a:srgbClr>
              </a:solidFill>
            </a:endParaRPr>
          </a:p>
        </p:txBody>
      </p:sp>
      <p:sp>
        <p:nvSpPr>
          <p:cNvPr id="2" name="Footer Placeholder 1" hidden="1"/>
          <p:cNvSpPr>
            <a:spLocks noGrp="1"/>
          </p:cNvSpPr>
          <p:nvPr>
            <p:ph type="ftr" sz="quarter" idx="11"/>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3856999028"/>
      </p:ext>
    </p:extLst>
  </p:cSld>
  <p:clrMapOvr>
    <a:masterClrMapping/>
  </p:clrMapOvr>
  <p:transition>
    <p:fade/>
  </p:transition>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5_Title Only">
    <p:spTree>
      <p:nvGrpSpPr>
        <p:cNvPr id="1" name="Shape 52"/>
        <p:cNvGrpSpPr/>
        <p:nvPr/>
      </p:nvGrpSpPr>
      <p:grpSpPr>
        <a:xfrm>
          <a:off x="0" y="0"/>
          <a:ext cx="0" cy="0"/>
          <a:chOff x="0" y="0"/>
          <a:chExt cx="0" cy="0"/>
        </a:xfrm>
      </p:grpSpPr>
      <p:sp>
        <p:nvSpPr>
          <p:cNvPr id="53" name="Google Shape;53;p64"/>
          <p:cNvSpPr txBox="1">
            <a:spLocks noGrp="1"/>
          </p:cNvSpPr>
          <p:nvPr>
            <p:ph type="title"/>
          </p:nvPr>
        </p:nvSpPr>
        <p:spPr>
          <a:xfrm>
            <a:off x="583842"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54" name="Google Shape;54;p64" hidden="1"/>
          <p:cNvSpPr txBox="1">
            <a:spLocks noGrp="1"/>
          </p:cNvSpPr>
          <p:nvPr>
            <p:ph type="dt" idx="10"/>
          </p:nvPr>
        </p:nvSpPr>
        <p:spPr>
          <a:xfrm>
            <a:off x="-3068549" y="6356350"/>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 name="Footer Placeholder 1" hidden="1"/>
          <p:cNvSpPr>
            <a:spLocks noGrp="1"/>
          </p:cNvSpPr>
          <p:nvPr>
            <p:ph type="ftr" sz="quarter" idx="11"/>
          </p:nvPr>
        </p:nvSpPr>
        <p:spPr>
          <a:xfrm>
            <a:off x="4037013" y="6356350"/>
            <a:ext cx="41148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3693033509"/>
      </p:ext>
    </p:extLst>
  </p:cSld>
  <p:clrMapOvr>
    <a:masterClrMapping/>
  </p:clrMapOvr>
  <p:transition>
    <p:fade/>
  </p:transition>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3"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p:txBody>
          <a:bodyPr/>
          <a:lstStyle>
            <a:lvl1pPr>
              <a:defRPr/>
            </a:lvl1pPr>
          </a:lstStyle>
          <a:p>
            <a:fld id="{2FC49419-D41E-44F5-9A46-D647CCCBF8A3}"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3753375397"/>
      </p:ext>
    </p:extLst>
  </p:cSld>
  <p:clrMapOvr>
    <a:masterClrMapping/>
  </p:clrMapOvr>
  <p:transition>
    <p:fade/>
  </p:transition>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a:buClr>
                <a:srgbClr val="FF0000"/>
              </a:buCl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2"/>
            <a:ext cx="2843213" cy="365125"/>
          </a:xfrm>
          <a:prstGeom prst="rect">
            <a:avLst/>
          </a:prstGeom>
        </p:spPr>
        <p:txBody>
          <a:bodyPr/>
          <a:lstStyle>
            <a:lvl1pPr>
              <a:defRPr/>
            </a:lvl1pPr>
          </a:lstStyle>
          <a:p>
            <a:pPr>
              <a:buClr>
                <a:srgbClr val="FF0000"/>
              </a:buClr>
            </a:pPr>
            <a:fld id="{1C396E99-728E-4BC1-9827-5FA2D157E6FB}"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13" name="Bullet text"/>
          <p:cNvSpPr>
            <a:spLocks noGrp="1"/>
          </p:cNvSpPr>
          <p:nvPr>
            <p:ph sz="quarter" idx="11"/>
          </p:nvPr>
        </p:nvSpPr>
        <p:spPr>
          <a:xfrm>
            <a:off x="583074" y="1457960"/>
            <a:ext cx="11000914" cy="4676140"/>
          </a:xfrm>
        </p:spPr>
        <p:txBody>
          <a:bodyPr/>
          <a:lstStyle/>
          <a:p>
            <a:pPr lvl="0"/>
            <a:r>
              <a:rPr lang="en-US"/>
              <a:t>Click to edit Master text styles</a:t>
            </a:r>
          </a:p>
          <a:p>
            <a:pPr lvl="1"/>
            <a:r>
              <a:rPr lang="en-US"/>
              <a:t>Second level</a:t>
            </a:r>
          </a:p>
          <a:p>
            <a:pPr lvl="2"/>
            <a:r>
              <a:rPr lang="en-US"/>
              <a:t>Third level</a:t>
            </a:r>
          </a:p>
        </p:txBody>
      </p:sp>
      <p:sp>
        <p:nvSpPr>
          <p:cNvPr id="2" name="Slide Title"/>
          <p:cNvSpPr>
            <a:spLocks noGrp="1"/>
          </p:cNvSpPr>
          <p:nvPr>
            <p:ph type="title"/>
          </p:nvPr>
        </p:nvSpPr>
        <p:spPr>
          <a:xfrm>
            <a:off x="583843" y="460552"/>
            <a:ext cx="9857339" cy="923748"/>
          </a:xfrm>
        </p:spPr>
        <p:txBody>
          <a:bodyPr/>
          <a:lstStyle>
            <a:lvl1pPr>
              <a:defRPr>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734452145"/>
      </p:ext>
    </p:extLst>
  </p:cSld>
  <p:clrMapOvr>
    <a:masterClrMapping/>
  </p:clrMapOvr>
  <p:transition>
    <p:fade/>
  </p:transition>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Keynote Title Slide">
    <p:spTree>
      <p:nvGrpSpPr>
        <p:cNvPr id="1" name=""/>
        <p:cNvGrpSpPr/>
        <p:nvPr/>
      </p:nvGrpSpPr>
      <p:grpSpPr>
        <a:xfrm>
          <a:off x="0" y="0"/>
          <a:ext cx="0" cy="0"/>
          <a:chOff x="0" y="0"/>
          <a:chExt cx="0" cy="0"/>
        </a:xfrm>
      </p:grpSpPr>
      <p:sp>
        <p:nvSpPr>
          <p:cNvPr id="4" name="Footer" hidden="1"/>
          <p:cNvSpPr>
            <a:spLocks noGrp="1"/>
          </p:cNvSpPr>
          <p:nvPr userDrawn="1">
            <p:ph type="ftr" sz="quarter" idx="11"/>
          </p:nvPr>
        </p:nvSpPr>
        <p:spPr/>
        <p:txBody>
          <a:bodyPr/>
          <a:lstStyle>
            <a:lvl1pPr>
              <a:defRPr/>
            </a:lvl1pPr>
          </a:lstStyle>
          <a:p>
            <a:endParaRPr lang="en-US" dirty="0">
              <a:solidFill>
                <a:srgbClr val="FFFFFF">
                  <a:lumMod val="75000"/>
                </a:srgbClr>
              </a:solidFill>
            </a:endParaRPr>
          </a:p>
        </p:txBody>
      </p:sp>
      <p:pic>
        <p:nvPicPr>
          <p:cNvPr id="10" name="Backgrouind image"/>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04" y="-17632"/>
            <a:ext cx="12223343" cy="6875631"/>
          </a:xfrm>
          <a:prstGeom prst="rect">
            <a:avLst/>
          </a:prstGeom>
        </p:spPr>
      </p:pic>
      <p:pic>
        <p:nvPicPr>
          <p:cNvPr id="5" name="Check Point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68461" y="737260"/>
            <a:ext cx="2728800" cy="464477"/>
          </a:xfrm>
          <a:prstGeom prst="rect">
            <a:avLst/>
          </a:prstGeom>
        </p:spPr>
      </p:pic>
      <p:sp>
        <p:nvSpPr>
          <p:cNvPr id="13" name="Speaker name and date"/>
          <p:cNvSpPr>
            <a:spLocks noGrp="1"/>
          </p:cNvSpPr>
          <p:nvPr userDrawn="1">
            <p:ph type="subTitle" idx="1" hasCustomPrompt="1"/>
          </p:nvPr>
        </p:nvSpPr>
        <p:spPr>
          <a:xfrm>
            <a:off x="1053260" y="4870700"/>
            <a:ext cx="5804989" cy="692595"/>
          </a:xfrm>
          <a:prstGeom prst="rect">
            <a:avLst/>
          </a:prstGeom>
        </p:spPr>
        <p:txBody>
          <a:bodyPr lIns="91440" tIns="45720" rIns="91440" bIns="45720" anchor="t" anchorCtr="0">
            <a:noAutofit/>
          </a:bodyPr>
          <a:lstStyle>
            <a:lvl1pPr marL="0" indent="0" algn="l">
              <a:lnSpc>
                <a:spcPts val="2665"/>
              </a:lnSpc>
              <a:spcBef>
                <a:spcPts val="0"/>
              </a:spcBef>
              <a:buNone/>
              <a:defRPr sz="1400" b="0" i="0">
                <a:solidFill>
                  <a:schemeClr val="bg1"/>
                </a:solidFill>
                <a:latin typeface="Calibri" panose="020F0502020204030204" pitchFamily="34" charset="0"/>
                <a:cs typeface="Calibri" panose="020F0502020204030204" pitchFamily="34" charset="0"/>
              </a:defRPr>
            </a:lvl1pPr>
            <a:lvl2pPr marL="609178" indent="0" algn="ctr">
              <a:buNone/>
              <a:defRPr>
                <a:solidFill>
                  <a:schemeClr val="tx1">
                    <a:tint val="75000"/>
                  </a:schemeClr>
                </a:solidFill>
              </a:defRPr>
            </a:lvl2pPr>
            <a:lvl3pPr marL="1218366" indent="0" algn="ctr">
              <a:buNone/>
              <a:defRPr>
                <a:solidFill>
                  <a:schemeClr val="tx1">
                    <a:tint val="75000"/>
                  </a:schemeClr>
                </a:solidFill>
              </a:defRPr>
            </a:lvl3pPr>
            <a:lvl4pPr marL="1827549" indent="0" algn="ctr">
              <a:buNone/>
              <a:defRPr>
                <a:solidFill>
                  <a:schemeClr val="tx1">
                    <a:tint val="75000"/>
                  </a:schemeClr>
                </a:solidFill>
              </a:defRPr>
            </a:lvl4pPr>
            <a:lvl5pPr marL="2436736" indent="0" algn="ctr">
              <a:buNone/>
              <a:defRPr>
                <a:solidFill>
                  <a:schemeClr val="tx1">
                    <a:tint val="75000"/>
                  </a:schemeClr>
                </a:solidFill>
              </a:defRPr>
            </a:lvl5pPr>
            <a:lvl6pPr marL="3045914" indent="0" algn="ctr">
              <a:buNone/>
              <a:defRPr>
                <a:solidFill>
                  <a:schemeClr val="tx1">
                    <a:tint val="75000"/>
                  </a:schemeClr>
                </a:solidFill>
              </a:defRPr>
            </a:lvl6pPr>
            <a:lvl7pPr marL="3655102" indent="0" algn="ctr">
              <a:buNone/>
              <a:defRPr>
                <a:solidFill>
                  <a:schemeClr val="tx1">
                    <a:tint val="75000"/>
                  </a:schemeClr>
                </a:solidFill>
              </a:defRPr>
            </a:lvl7pPr>
            <a:lvl8pPr marL="4264284" indent="0" algn="ctr">
              <a:buNone/>
              <a:defRPr>
                <a:solidFill>
                  <a:schemeClr val="tx1">
                    <a:tint val="75000"/>
                  </a:schemeClr>
                </a:solidFill>
              </a:defRPr>
            </a:lvl8pPr>
            <a:lvl9pPr marL="4873471" indent="0" algn="ctr">
              <a:buNone/>
              <a:defRPr>
                <a:solidFill>
                  <a:schemeClr val="tx1">
                    <a:tint val="75000"/>
                  </a:schemeClr>
                </a:solidFill>
              </a:defRPr>
            </a:lvl9pPr>
          </a:lstStyle>
          <a:p>
            <a:r>
              <a:rPr lang="en-US" dirty="0"/>
              <a:t>Speaker Name  | Speaker Title</a:t>
            </a:r>
          </a:p>
          <a:p>
            <a:r>
              <a:rPr lang="en-US" dirty="0"/>
              <a:t>Date</a:t>
            </a:r>
          </a:p>
        </p:txBody>
      </p:sp>
      <p:sp>
        <p:nvSpPr>
          <p:cNvPr id="15" name="Title"/>
          <p:cNvSpPr>
            <a:spLocks noGrp="1"/>
          </p:cNvSpPr>
          <p:nvPr userDrawn="1">
            <p:ph type="body" sz="quarter" idx="14" hasCustomPrompt="1"/>
          </p:nvPr>
        </p:nvSpPr>
        <p:spPr>
          <a:xfrm>
            <a:off x="1053261" y="2358681"/>
            <a:ext cx="5804989" cy="1071215"/>
          </a:xfrm>
          <a:prstGeom prst="rect">
            <a:avLst/>
          </a:prstGeom>
          <a:effectLst/>
        </p:spPr>
        <p:txBody>
          <a:bodyPr>
            <a:noAutofit/>
          </a:bodyPr>
          <a:lstStyle>
            <a:lvl1pPr marL="0" indent="0">
              <a:lnSpc>
                <a:spcPts val="3999"/>
              </a:lnSpc>
              <a:spcBef>
                <a:spcPts val="0"/>
              </a:spcBef>
              <a:buFontTx/>
              <a:buNone/>
              <a:defRPr sz="3399" b="1" cap="all" baseline="0">
                <a:solidFill>
                  <a:schemeClr val="bg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14" name="Sub-title"/>
          <p:cNvSpPr>
            <a:spLocks noGrp="1"/>
          </p:cNvSpPr>
          <p:nvPr userDrawn="1">
            <p:ph type="body" sz="quarter" idx="13" hasCustomPrompt="1"/>
          </p:nvPr>
        </p:nvSpPr>
        <p:spPr>
          <a:xfrm>
            <a:off x="1053261"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399" b="0" baseline="0">
                <a:solidFill>
                  <a:schemeClr val="bg1"/>
                </a:solidFill>
                <a:latin typeface="Calibri" panose="020F0502020204030204" pitchFamily="34" charset="0"/>
                <a:cs typeface="Calibri" panose="020F0502020204030204" pitchFamily="34" charset="0"/>
              </a:defRPr>
            </a:lvl1pPr>
            <a:lvl2pPr marL="541524" indent="0">
              <a:buNone/>
              <a:defRPr/>
            </a:lvl2pPr>
            <a:lvl3pPr marL="759394" indent="0">
              <a:buNone/>
              <a:defRPr/>
            </a:lvl3pPr>
            <a:lvl4pPr marL="918046" indent="0">
              <a:buNone/>
              <a:defRPr/>
            </a:lvl4pPr>
            <a:lvl5pPr marL="1068231" indent="0">
              <a:buNone/>
              <a:defRPr/>
            </a:lvl5pPr>
          </a:lstStyle>
          <a:p>
            <a:pPr lvl="0"/>
            <a:r>
              <a:rPr lang="en-GB" dirty="0"/>
              <a:t>Presentation Subtitle</a:t>
            </a:r>
          </a:p>
        </p:txBody>
      </p:sp>
      <p:sp>
        <p:nvSpPr>
          <p:cNvPr id="2" name="Date Placeholder 1"/>
          <p:cNvSpPr>
            <a:spLocks noGrp="1"/>
          </p:cNvSpPr>
          <p:nvPr>
            <p:ph type="dt" sz="half" idx="15"/>
          </p:nvPr>
        </p:nvSpPr>
        <p:spPr>
          <a:xfrm>
            <a:off x="-3048000" y="6356352"/>
            <a:ext cx="2843213" cy="365125"/>
          </a:xfrm>
        </p:spPr>
        <p:txBody>
          <a:bodyPr/>
          <a:lstStyle>
            <a:lvl1pPr>
              <a:defRPr/>
            </a:lvl1pPr>
          </a:lstStyle>
          <a:p>
            <a:fld id="{603289AC-4C12-4E6D-B39B-A4756814FEEC}" type="datetimeFigureOut">
              <a:rPr lang="en-US" smtClean="0">
                <a:solidFill>
                  <a:srgbClr val="4D4D4F">
                    <a:tint val="75000"/>
                  </a:srgbClr>
                </a:solidFill>
              </a:rPr>
              <a:pPr/>
              <a:t>29-Feb-24</a:t>
            </a:fld>
            <a:endParaRPr lang="en-US" dirty="0">
              <a:solidFill>
                <a:srgbClr val="4D4D4F">
                  <a:tint val="75000"/>
                </a:srgbClr>
              </a:solidFill>
            </a:endParaRPr>
          </a:p>
        </p:txBody>
      </p:sp>
      <p:grpSp>
        <p:nvGrpSpPr>
          <p:cNvPr id="8" name="SKO Wordmark"/>
          <p:cNvGrpSpPr/>
          <p:nvPr userDrawn="1"/>
        </p:nvGrpSpPr>
        <p:grpSpPr>
          <a:xfrm>
            <a:off x="9286128" y="1911637"/>
            <a:ext cx="1892808" cy="1892808"/>
            <a:chOff x="9256951" y="1841025"/>
            <a:chExt cx="1892808" cy="1892808"/>
          </a:xfrm>
        </p:grpSpPr>
        <p:pic>
          <p:nvPicPr>
            <p:cNvPr id="6" name="gradient circle behind"/>
            <p:cNvPicPr>
              <a:picLocks noChangeAspect="1"/>
            </p:cNvPicPr>
            <p:nvPr userDrawn="1"/>
          </p:nvPicPr>
          <p:blipFill>
            <a:blip r:embed="rId4"/>
            <a:stretch>
              <a:fillRect/>
            </a:stretch>
          </p:blipFill>
          <p:spPr>
            <a:xfrm>
              <a:off x="9333659" y="1917733"/>
              <a:ext cx="1739392" cy="1739392"/>
            </a:xfrm>
            <a:prstGeom prst="rect">
              <a:avLst/>
            </a:prstGeom>
          </p:spPr>
        </p:pic>
        <p:pic>
          <p:nvPicPr>
            <p:cNvPr id="7" name="SKO wordmark"/>
            <p:cNvPicPr>
              <a:picLocks noChangeAspect="1"/>
            </p:cNvPicPr>
            <p:nvPr userDrawn="1"/>
          </p:nvPicPr>
          <p:blipFill>
            <a:blip r:embed="rId5"/>
            <a:stretch>
              <a:fillRect/>
            </a:stretch>
          </p:blipFill>
          <p:spPr>
            <a:xfrm>
              <a:off x="9256951" y="1841025"/>
              <a:ext cx="1892808" cy="1892808"/>
            </a:xfrm>
            <a:prstGeom prst="rect">
              <a:avLst/>
            </a:prstGeom>
            <a:effectLst>
              <a:outerShdw blurRad="50800" dist="38100" dir="2700000" algn="tl" rotWithShape="0">
                <a:prstClr val="black">
                  <a:alpha val="40000"/>
                </a:prstClr>
              </a:outerShdw>
            </a:effectLst>
          </p:spPr>
        </p:pic>
      </p:grpSp>
      <p:grpSp>
        <p:nvGrpSpPr>
          <p:cNvPr id="16" name="Group 4"/>
          <p:cNvGrpSpPr>
            <a:grpSpLocks noChangeAspect="1"/>
          </p:cNvGrpSpPr>
          <p:nvPr userDrawn="1"/>
        </p:nvGrpSpPr>
        <p:grpSpPr bwMode="auto">
          <a:xfrm>
            <a:off x="7721600" y="5908677"/>
            <a:ext cx="3746500" cy="307975"/>
            <a:chOff x="4864" y="3722"/>
            <a:chExt cx="2360" cy="194"/>
          </a:xfrm>
        </p:grpSpPr>
        <p:sp>
          <p:nvSpPr>
            <p:cNvPr id="17" name="AutoShape 3"/>
            <p:cNvSpPr>
              <a:spLocks noChangeAspect="1" noChangeArrowheads="1" noTextEdit="1"/>
            </p:cNvSpPr>
            <p:nvPr userDrawn="1"/>
          </p:nvSpPr>
          <p:spPr bwMode="auto">
            <a:xfrm>
              <a:off x="4864" y="3722"/>
              <a:ext cx="236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8" name="Freeform 5"/>
            <p:cNvSpPr>
              <a:spLocks noEditPoints="1"/>
            </p:cNvSpPr>
            <p:nvPr userDrawn="1"/>
          </p:nvSpPr>
          <p:spPr bwMode="auto">
            <a:xfrm>
              <a:off x="4865" y="3721"/>
              <a:ext cx="101"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19" name="Freeform 6"/>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0" name="Freeform 7"/>
            <p:cNvSpPr>
              <a:spLocks/>
            </p:cNvSpPr>
            <p:nvPr userDrawn="1"/>
          </p:nvSpPr>
          <p:spPr bwMode="auto">
            <a:xfrm>
              <a:off x="5020" y="3723"/>
              <a:ext cx="188" cy="192"/>
            </a:xfrm>
            <a:custGeom>
              <a:avLst/>
              <a:gdLst>
                <a:gd name="T0" fmla="*/ 188 w 188"/>
                <a:gd name="T1" fmla="*/ 0 h 192"/>
                <a:gd name="T2" fmla="*/ 155 w 188"/>
                <a:gd name="T3" fmla="*/ 0 h 192"/>
                <a:gd name="T4" fmla="*/ 137 w 188"/>
                <a:gd name="T5" fmla="*/ 146 h 192"/>
                <a:gd name="T6" fmla="*/ 111 w 188"/>
                <a:gd name="T7" fmla="*/ 0 h 192"/>
                <a:gd name="T8" fmla="*/ 78 w 188"/>
                <a:gd name="T9" fmla="*/ 0 h 192"/>
                <a:gd name="T10" fmla="*/ 52 w 188"/>
                <a:gd name="T11" fmla="*/ 146 h 192"/>
                <a:gd name="T12" fmla="*/ 33 w 188"/>
                <a:gd name="T13" fmla="*/ 0 h 192"/>
                <a:gd name="T14" fmla="*/ 0 w 188"/>
                <a:gd name="T15" fmla="*/ 0 h 192"/>
                <a:gd name="T16" fmla="*/ 36 w 188"/>
                <a:gd name="T17" fmla="*/ 192 h 192"/>
                <a:gd name="T18" fmla="*/ 67 w 188"/>
                <a:gd name="T19" fmla="*/ 192 h 192"/>
                <a:gd name="T20" fmla="*/ 94 w 188"/>
                <a:gd name="T21" fmla="*/ 46 h 192"/>
                <a:gd name="T22" fmla="*/ 121 w 188"/>
                <a:gd name="T23" fmla="*/ 192 h 192"/>
                <a:gd name="T24" fmla="*/ 152 w 188"/>
                <a:gd name="T25" fmla="*/ 192 h 192"/>
                <a:gd name="T26" fmla="*/ 188 w 188"/>
                <a:gd name="T2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92">
                  <a:moveTo>
                    <a:pt x="188" y="0"/>
                  </a:moveTo>
                  <a:lnTo>
                    <a:pt x="155" y="0"/>
                  </a:lnTo>
                  <a:lnTo>
                    <a:pt x="137" y="146"/>
                  </a:lnTo>
                  <a:lnTo>
                    <a:pt x="111" y="0"/>
                  </a:lnTo>
                  <a:lnTo>
                    <a:pt x="78" y="0"/>
                  </a:lnTo>
                  <a:lnTo>
                    <a:pt x="52" y="146"/>
                  </a:lnTo>
                  <a:lnTo>
                    <a:pt x="33" y="0"/>
                  </a:lnTo>
                  <a:lnTo>
                    <a:pt x="0" y="0"/>
                  </a:lnTo>
                  <a:lnTo>
                    <a:pt x="36" y="192"/>
                  </a:lnTo>
                  <a:lnTo>
                    <a:pt x="67" y="192"/>
                  </a:lnTo>
                  <a:lnTo>
                    <a:pt x="94" y="46"/>
                  </a:lnTo>
                  <a:lnTo>
                    <a:pt x="121" y="192"/>
                  </a:lnTo>
                  <a:lnTo>
                    <a:pt x="152" y="192"/>
                  </a:lnTo>
                  <a:lnTo>
                    <a:pt x="1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1" name="Freeform 8"/>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2" name="Freeform 9"/>
            <p:cNvSpPr>
              <a:spLocks/>
            </p:cNvSpPr>
            <p:nvPr userDrawn="1"/>
          </p:nvSpPr>
          <p:spPr bwMode="auto">
            <a:xfrm>
              <a:off x="5265"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30 w 101"/>
                <a:gd name="T13" fmla="*/ 192 h 192"/>
                <a:gd name="T14" fmla="*/ 30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30" y="192"/>
                  </a:lnTo>
                  <a:lnTo>
                    <a:pt x="30"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3" name="Freeform 10"/>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4" name="Freeform 11"/>
            <p:cNvSpPr>
              <a:spLocks/>
            </p:cNvSpPr>
            <p:nvPr userDrawn="1"/>
          </p:nvSpPr>
          <p:spPr bwMode="auto">
            <a:xfrm>
              <a:off x="5510" y="3723"/>
              <a:ext cx="103" cy="192"/>
            </a:xfrm>
            <a:custGeom>
              <a:avLst/>
              <a:gdLst>
                <a:gd name="T0" fmla="*/ 103 w 103"/>
                <a:gd name="T1" fmla="*/ 0 h 192"/>
                <a:gd name="T2" fmla="*/ 70 w 103"/>
                <a:gd name="T3" fmla="*/ 0 h 192"/>
                <a:gd name="T4" fmla="*/ 51 w 103"/>
                <a:gd name="T5" fmla="*/ 76 h 192"/>
                <a:gd name="T6" fmla="*/ 32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0" y="0"/>
                  </a:lnTo>
                  <a:lnTo>
                    <a:pt x="51" y="76"/>
                  </a:lnTo>
                  <a:lnTo>
                    <a:pt x="32"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5" name="Freeform 12"/>
            <p:cNvSpPr>
              <a:spLocks noEditPoints="1"/>
            </p:cNvSpPr>
            <p:nvPr userDrawn="1"/>
          </p:nvSpPr>
          <p:spPr bwMode="auto">
            <a:xfrm>
              <a:off x="5661" y="3721"/>
              <a:ext cx="102" cy="196"/>
            </a:xfrm>
            <a:custGeom>
              <a:avLst/>
              <a:gdLst>
                <a:gd name="T0" fmla="*/ 71 w 142"/>
                <a:gd name="T1" fmla="*/ 234 h 272"/>
                <a:gd name="T2" fmla="*/ 59 w 142"/>
                <a:gd name="T3" fmla="*/ 231 h 272"/>
                <a:gd name="T4" fmla="*/ 51 w 142"/>
                <a:gd name="T5" fmla="*/ 224 h 272"/>
                <a:gd name="T6" fmla="*/ 43 w 142"/>
                <a:gd name="T7" fmla="*/ 194 h 272"/>
                <a:gd name="T8" fmla="*/ 42 w 142"/>
                <a:gd name="T9" fmla="*/ 136 h 272"/>
                <a:gd name="T10" fmla="*/ 43 w 142"/>
                <a:gd name="T11" fmla="*/ 78 h 272"/>
                <a:gd name="T12" fmla="*/ 51 w 142"/>
                <a:gd name="T13" fmla="*/ 48 h 272"/>
                <a:gd name="T14" fmla="*/ 59 w 142"/>
                <a:gd name="T15" fmla="*/ 41 h 272"/>
                <a:gd name="T16" fmla="*/ 71 w 142"/>
                <a:gd name="T17" fmla="*/ 38 h 272"/>
                <a:gd name="T18" fmla="*/ 83 w 142"/>
                <a:gd name="T19" fmla="*/ 41 h 272"/>
                <a:gd name="T20" fmla="*/ 91 w 142"/>
                <a:gd name="T21" fmla="*/ 48 h 272"/>
                <a:gd name="T22" fmla="*/ 98 w 142"/>
                <a:gd name="T23" fmla="*/ 78 h 272"/>
                <a:gd name="T24" fmla="*/ 100 w 142"/>
                <a:gd name="T25" fmla="*/ 136 h 272"/>
                <a:gd name="T26" fmla="*/ 98 w 142"/>
                <a:gd name="T27" fmla="*/ 194 h 272"/>
                <a:gd name="T28" fmla="*/ 91 w 142"/>
                <a:gd name="T29" fmla="*/ 224 h 272"/>
                <a:gd name="T30" fmla="*/ 83 w 142"/>
                <a:gd name="T31" fmla="*/ 231 h 272"/>
                <a:gd name="T32" fmla="*/ 71 w 142"/>
                <a:gd name="T33" fmla="*/ 234 h 272"/>
                <a:gd name="T34" fmla="*/ 71 w 142"/>
                <a:gd name="T35" fmla="*/ 0 h 272"/>
                <a:gd name="T36" fmla="*/ 40 w 142"/>
                <a:gd name="T37" fmla="*/ 7 h 272"/>
                <a:gd name="T38" fmla="*/ 19 w 142"/>
                <a:gd name="T39" fmla="*/ 23 h 272"/>
                <a:gd name="T40" fmla="*/ 9 w 142"/>
                <a:gd name="T41" fmla="*/ 41 h 272"/>
                <a:gd name="T42" fmla="*/ 3 w 142"/>
                <a:gd name="T43" fmla="*/ 64 h 272"/>
                <a:gd name="T44" fmla="*/ 0 w 142"/>
                <a:gd name="T45" fmla="*/ 95 h 272"/>
                <a:gd name="T46" fmla="*/ 0 w 142"/>
                <a:gd name="T47" fmla="*/ 136 h 272"/>
                <a:gd name="T48" fmla="*/ 0 w 142"/>
                <a:gd name="T49" fmla="*/ 177 h 272"/>
                <a:gd name="T50" fmla="*/ 3 w 142"/>
                <a:gd name="T51" fmla="*/ 208 h 272"/>
                <a:gd name="T52" fmla="*/ 9 w 142"/>
                <a:gd name="T53" fmla="*/ 231 h 272"/>
                <a:gd name="T54" fmla="*/ 19 w 142"/>
                <a:gd name="T55" fmla="*/ 249 h 272"/>
                <a:gd name="T56" fmla="*/ 40 w 142"/>
                <a:gd name="T57" fmla="*/ 265 h 272"/>
                <a:gd name="T58" fmla="*/ 71 w 142"/>
                <a:gd name="T59" fmla="*/ 272 h 272"/>
                <a:gd name="T60" fmla="*/ 102 w 142"/>
                <a:gd name="T61" fmla="*/ 265 h 272"/>
                <a:gd name="T62" fmla="*/ 122 w 142"/>
                <a:gd name="T63" fmla="*/ 249 h 272"/>
                <a:gd name="T64" fmla="*/ 133 w 142"/>
                <a:gd name="T65" fmla="*/ 232 h 272"/>
                <a:gd name="T66" fmla="*/ 139 w 142"/>
                <a:gd name="T67" fmla="*/ 209 h 272"/>
                <a:gd name="T68" fmla="*/ 141 w 142"/>
                <a:gd name="T69" fmla="*/ 177 h 272"/>
                <a:gd name="T70" fmla="*/ 142 w 142"/>
                <a:gd name="T71" fmla="*/ 136 h 272"/>
                <a:gd name="T72" fmla="*/ 141 w 142"/>
                <a:gd name="T73" fmla="*/ 95 h 272"/>
                <a:gd name="T74" fmla="*/ 139 w 142"/>
                <a:gd name="T75" fmla="*/ 64 h 272"/>
                <a:gd name="T76" fmla="*/ 133 w 142"/>
                <a:gd name="T77" fmla="*/ 40 h 272"/>
                <a:gd name="T78" fmla="*/ 122 w 142"/>
                <a:gd name="T79" fmla="*/ 23 h 272"/>
                <a:gd name="T80" fmla="*/ 102 w 142"/>
                <a:gd name="T81" fmla="*/ 7 h 272"/>
                <a:gd name="T82" fmla="*/ 71 w 142"/>
                <a:gd name="T8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72">
                  <a:moveTo>
                    <a:pt x="71" y="234"/>
                  </a:moveTo>
                  <a:cubicBezTo>
                    <a:pt x="66" y="234"/>
                    <a:pt x="62" y="233"/>
                    <a:pt x="59" y="231"/>
                  </a:cubicBezTo>
                  <a:cubicBezTo>
                    <a:pt x="56" y="230"/>
                    <a:pt x="53" y="227"/>
                    <a:pt x="51" y="224"/>
                  </a:cubicBezTo>
                  <a:cubicBezTo>
                    <a:pt x="47" y="218"/>
                    <a:pt x="44" y="208"/>
                    <a:pt x="43" y="194"/>
                  </a:cubicBezTo>
                  <a:cubicBezTo>
                    <a:pt x="42" y="180"/>
                    <a:pt x="42" y="160"/>
                    <a:pt x="42" y="136"/>
                  </a:cubicBezTo>
                  <a:cubicBezTo>
                    <a:pt x="42" y="112"/>
                    <a:pt x="42" y="92"/>
                    <a:pt x="43" y="78"/>
                  </a:cubicBezTo>
                  <a:cubicBezTo>
                    <a:pt x="44" y="65"/>
                    <a:pt x="47" y="54"/>
                    <a:pt x="51" y="48"/>
                  </a:cubicBezTo>
                  <a:cubicBezTo>
                    <a:pt x="53" y="45"/>
                    <a:pt x="56" y="42"/>
                    <a:pt x="59" y="41"/>
                  </a:cubicBezTo>
                  <a:cubicBezTo>
                    <a:pt x="62" y="39"/>
                    <a:pt x="66" y="38"/>
                    <a:pt x="71" y="38"/>
                  </a:cubicBezTo>
                  <a:cubicBezTo>
                    <a:pt x="76" y="38"/>
                    <a:pt x="80" y="39"/>
                    <a:pt x="83" y="41"/>
                  </a:cubicBezTo>
                  <a:cubicBezTo>
                    <a:pt x="86" y="42"/>
                    <a:pt x="89" y="45"/>
                    <a:pt x="91" y="48"/>
                  </a:cubicBezTo>
                  <a:cubicBezTo>
                    <a:pt x="95" y="54"/>
                    <a:pt x="97" y="65"/>
                    <a:pt x="98" y="78"/>
                  </a:cubicBezTo>
                  <a:cubicBezTo>
                    <a:pt x="99" y="92"/>
                    <a:pt x="100" y="112"/>
                    <a:pt x="100" y="136"/>
                  </a:cubicBezTo>
                  <a:cubicBezTo>
                    <a:pt x="100" y="160"/>
                    <a:pt x="99" y="180"/>
                    <a:pt x="98" y="194"/>
                  </a:cubicBezTo>
                  <a:cubicBezTo>
                    <a:pt x="97" y="208"/>
                    <a:pt x="95" y="218"/>
                    <a:pt x="91" y="224"/>
                  </a:cubicBezTo>
                  <a:cubicBezTo>
                    <a:pt x="89" y="227"/>
                    <a:pt x="86" y="230"/>
                    <a:pt x="83" y="231"/>
                  </a:cubicBezTo>
                  <a:cubicBezTo>
                    <a:pt x="80" y="233"/>
                    <a:pt x="76" y="234"/>
                    <a:pt x="71" y="234"/>
                  </a:cubicBezTo>
                  <a:moveTo>
                    <a:pt x="71" y="0"/>
                  </a:moveTo>
                  <a:cubicBezTo>
                    <a:pt x="58" y="0"/>
                    <a:pt x="48" y="2"/>
                    <a:pt x="40" y="7"/>
                  </a:cubicBezTo>
                  <a:cubicBezTo>
                    <a:pt x="32" y="11"/>
                    <a:pt x="25" y="16"/>
                    <a:pt x="19" y="23"/>
                  </a:cubicBezTo>
                  <a:cubicBezTo>
                    <a:pt x="15" y="28"/>
                    <a:pt x="11" y="34"/>
                    <a:pt x="9" y="41"/>
                  </a:cubicBezTo>
                  <a:cubicBezTo>
                    <a:pt x="6" y="47"/>
                    <a:pt x="4" y="55"/>
                    <a:pt x="3" y="64"/>
                  </a:cubicBezTo>
                  <a:cubicBezTo>
                    <a:pt x="2" y="73"/>
                    <a:pt x="1" y="83"/>
                    <a:pt x="0" y="95"/>
                  </a:cubicBezTo>
                  <a:cubicBezTo>
                    <a:pt x="0" y="107"/>
                    <a:pt x="0" y="120"/>
                    <a:pt x="0" y="136"/>
                  </a:cubicBezTo>
                  <a:cubicBezTo>
                    <a:pt x="0" y="152"/>
                    <a:pt x="0" y="165"/>
                    <a:pt x="0" y="177"/>
                  </a:cubicBezTo>
                  <a:cubicBezTo>
                    <a:pt x="1" y="189"/>
                    <a:pt x="2" y="199"/>
                    <a:pt x="3" y="208"/>
                  </a:cubicBezTo>
                  <a:cubicBezTo>
                    <a:pt x="4" y="217"/>
                    <a:pt x="6" y="225"/>
                    <a:pt x="9" y="231"/>
                  </a:cubicBezTo>
                  <a:cubicBezTo>
                    <a:pt x="11" y="238"/>
                    <a:pt x="15" y="244"/>
                    <a:pt x="19" y="249"/>
                  </a:cubicBezTo>
                  <a:cubicBezTo>
                    <a:pt x="25" y="256"/>
                    <a:pt x="32" y="261"/>
                    <a:pt x="40" y="265"/>
                  </a:cubicBezTo>
                  <a:cubicBezTo>
                    <a:pt x="48" y="270"/>
                    <a:pt x="58" y="272"/>
                    <a:pt x="71" y="272"/>
                  </a:cubicBezTo>
                  <a:cubicBezTo>
                    <a:pt x="83" y="272"/>
                    <a:pt x="94" y="270"/>
                    <a:pt x="102" y="265"/>
                  </a:cubicBezTo>
                  <a:cubicBezTo>
                    <a:pt x="110" y="261"/>
                    <a:pt x="117" y="256"/>
                    <a:pt x="122" y="249"/>
                  </a:cubicBezTo>
                  <a:cubicBezTo>
                    <a:pt x="127" y="244"/>
                    <a:pt x="130" y="238"/>
                    <a:pt x="133" y="232"/>
                  </a:cubicBezTo>
                  <a:cubicBezTo>
                    <a:pt x="136" y="225"/>
                    <a:pt x="138" y="217"/>
                    <a:pt x="139" y="209"/>
                  </a:cubicBezTo>
                  <a:cubicBezTo>
                    <a:pt x="140" y="200"/>
                    <a:pt x="141" y="189"/>
                    <a:pt x="141" y="177"/>
                  </a:cubicBezTo>
                  <a:cubicBezTo>
                    <a:pt x="142" y="165"/>
                    <a:pt x="142" y="152"/>
                    <a:pt x="142" y="136"/>
                  </a:cubicBezTo>
                  <a:cubicBezTo>
                    <a:pt x="142" y="120"/>
                    <a:pt x="142" y="107"/>
                    <a:pt x="141" y="95"/>
                  </a:cubicBezTo>
                  <a:cubicBezTo>
                    <a:pt x="141" y="83"/>
                    <a:pt x="140" y="72"/>
                    <a:pt x="139" y="64"/>
                  </a:cubicBezTo>
                  <a:cubicBezTo>
                    <a:pt x="138" y="55"/>
                    <a:pt x="136" y="47"/>
                    <a:pt x="133" y="40"/>
                  </a:cubicBezTo>
                  <a:cubicBezTo>
                    <a:pt x="130" y="34"/>
                    <a:pt x="127" y="28"/>
                    <a:pt x="122" y="23"/>
                  </a:cubicBezTo>
                  <a:cubicBezTo>
                    <a:pt x="117" y="16"/>
                    <a:pt x="110" y="11"/>
                    <a:pt x="102" y="7"/>
                  </a:cubicBezTo>
                  <a:cubicBezTo>
                    <a:pt x="94" y="2"/>
                    <a:pt x="83" y="0"/>
                    <a:pt x="71"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6" name="Freeform 13"/>
            <p:cNvSpPr>
              <a:spLocks/>
            </p:cNvSpPr>
            <p:nvPr userDrawn="1"/>
          </p:nvSpPr>
          <p:spPr bwMode="auto">
            <a:xfrm>
              <a:off x="5827" y="3723"/>
              <a:ext cx="97" cy="194"/>
            </a:xfrm>
            <a:custGeom>
              <a:avLst/>
              <a:gdLst>
                <a:gd name="T0" fmla="*/ 136 w 136"/>
                <a:gd name="T1" fmla="*/ 0 h 269"/>
                <a:gd name="T2" fmla="*/ 94 w 136"/>
                <a:gd name="T3" fmla="*/ 0 h 269"/>
                <a:gd name="T4" fmla="*/ 94 w 136"/>
                <a:gd name="T5" fmla="*/ 199 h 269"/>
                <a:gd name="T6" fmla="*/ 87 w 136"/>
                <a:gd name="T7" fmla="*/ 223 h 269"/>
                <a:gd name="T8" fmla="*/ 68 w 136"/>
                <a:gd name="T9" fmla="*/ 231 h 269"/>
                <a:gd name="T10" fmla="*/ 49 w 136"/>
                <a:gd name="T11" fmla="*/ 223 h 269"/>
                <a:gd name="T12" fmla="*/ 42 w 136"/>
                <a:gd name="T13" fmla="*/ 199 h 269"/>
                <a:gd name="T14" fmla="*/ 42 w 136"/>
                <a:gd name="T15" fmla="*/ 0 h 269"/>
                <a:gd name="T16" fmla="*/ 0 w 136"/>
                <a:gd name="T17" fmla="*/ 0 h 269"/>
                <a:gd name="T18" fmla="*/ 0 w 136"/>
                <a:gd name="T19" fmla="*/ 200 h 269"/>
                <a:gd name="T20" fmla="*/ 19 w 136"/>
                <a:gd name="T21" fmla="*/ 249 h 269"/>
                <a:gd name="T22" fmla="*/ 68 w 136"/>
                <a:gd name="T23" fmla="*/ 269 h 269"/>
                <a:gd name="T24" fmla="*/ 118 w 136"/>
                <a:gd name="T25" fmla="*/ 249 h 269"/>
                <a:gd name="T26" fmla="*/ 136 w 136"/>
                <a:gd name="T27" fmla="*/ 200 h 269"/>
                <a:gd name="T28" fmla="*/ 136 w 136"/>
                <a:gd name="T29"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269">
                  <a:moveTo>
                    <a:pt x="136" y="0"/>
                  </a:moveTo>
                  <a:cubicBezTo>
                    <a:pt x="94" y="0"/>
                    <a:pt x="94" y="0"/>
                    <a:pt x="94" y="0"/>
                  </a:cubicBezTo>
                  <a:cubicBezTo>
                    <a:pt x="94" y="199"/>
                    <a:pt x="94" y="199"/>
                    <a:pt x="94" y="199"/>
                  </a:cubicBezTo>
                  <a:cubicBezTo>
                    <a:pt x="94" y="210"/>
                    <a:pt x="92" y="218"/>
                    <a:pt x="87" y="223"/>
                  </a:cubicBezTo>
                  <a:cubicBezTo>
                    <a:pt x="83" y="229"/>
                    <a:pt x="77" y="231"/>
                    <a:pt x="68" y="231"/>
                  </a:cubicBezTo>
                  <a:cubicBezTo>
                    <a:pt x="60" y="231"/>
                    <a:pt x="53" y="229"/>
                    <a:pt x="49" y="223"/>
                  </a:cubicBezTo>
                  <a:cubicBezTo>
                    <a:pt x="44" y="218"/>
                    <a:pt x="42" y="210"/>
                    <a:pt x="42" y="199"/>
                  </a:cubicBezTo>
                  <a:cubicBezTo>
                    <a:pt x="42" y="0"/>
                    <a:pt x="42" y="0"/>
                    <a:pt x="42" y="0"/>
                  </a:cubicBezTo>
                  <a:cubicBezTo>
                    <a:pt x="0" y="0"/>
                    <a:pt x="0" y="0"/>
                    <a:pt x="0" y="0"/>
                  </a:cubicBezTo>
                  <a:cubicBezTo>
                    <a:pt x="0" y="200"/>
                    <a:pt x="0" y="200"/>
                    <a:pt x="0" y="200"/>
                  </a:cubicBezTo>
                  <a:cubicBezTo>
                    <a:pt x="0" y="221"/>
                    <a:pt x="6" y="237"/>
                    <a:pt x="19" y="249"/>
                  </a:cubicBezTo>
                  <a:cubicBezTo>
                    <a:pt x="31" y="262"/>
                    <a:pt x="48" y="269"/>
                    <a:pt x="68" y="269"/>
                  </a:cubicBezTo>
                  <a:cubicBezTo>
                    <a:pt x="89" y="269"/>
                    <a:pt x="105" y="262"/>
                    <a:pt x="118" y="249"/>
                  </a:cubicBezTo>
                  <a:cubicBezTo>
                    <a:pt x="130" y="237"/>
                    <a:pt x="136" y="221"/>
                    <a:pt x="136" y="200"/>
                  </a:cubicBezTo>
                  <a:cubicBezTo>
                    <a:pt x="136" y="0"/>
                    <a:pt x="136" y="0"/>
                    <a:pt x="136"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7" name="Freeform 14"/>
            <p:cNvSpPr>
              <a:spLocks noEditPoints="1"/>
            </p:cNvSpPr>
            <p:nvPr userDrawn="1"/>
          </p:nvSpPr>
          <p:spPr bwMode="auto">
            <a:xfrm>
              <a:off x="5995" y="3723"/>
              <a:ext cx="102" cy="192"/>
            </a:xfrm>
            <a:custGeom>
              <a:avLst/>
              <a:gdLst>
                <a:gd name="T0" fmla="*/ 41 w 143"/>
                <a:gd name="T1" fmla="*/ 119 h 266"/>
                <a:gd name="T2" fmla="*/ 41 w 143"/>
                <a:gd name="T3" fmla="*/ 38 h 266"/>
                <a:gd name="T4" fmla="*/ 67 w 143"/>
                <a:gd name="T5" fmla="*/ 38 h 266"/>
                <a:gd name="T6" fmla="*/ 81 w 143"/>
                <a:gd name="T7" fmla="*/ 41 h 266"/>
                <a:gd name="T8" fmla="*/ 89 w 143"/>
                <a:gd name="T9" fmla="*/ 50 h 266"/>
                <a:gd name="T10" fmla="*/ 92 w 143"/>
                <a:gd name="T11" fmla="*/ 63 h 266"/>
                <a:gd name="T12" fmla="*/ 93 w 143"/>
                <a:gd name="T13" fmla="*/ 78 h 266"/>
                <a:gd name="T14" fmla="*/ 92 w 143"/>
                <a:gd name="T15" fmla="*/ 94 h 266"/>
                <a:gd name="T16" fmla="*/ 89 w 143"/>
                <a:gd name="T17" fmla="*/ 107 h 266"/>
                <a:gd name="T18" fmla="*/ 81 w 143"/>
                <a:gd name="T19" fmla="*/ 116 h 266"/>
                <a:gd name="T20" fmla="*/ 67 w 143"/>
                <a:gd name="T21" fmla="*/ 119 h 266"/>
                <a:gd name="T22" fmla="*/ 41 w 143"/>
                <a:gd name="T23" fmla="*/ 119 h 266"/>
                <a:gd name="T24" fmla="*/ 67 w 143"/>
                <a:gd name="T25" fmla="*/ 0 h 266"/>
                <a:gd name="T26" fmla="*/ 0 w 143"/>
                <a:gd name="T27" fmla="*/ 0 h 266"/>
                <a:gd name="T28" fmla="*/ 0 w 143"/>
                <a:gd name="T29" fmla="*/ 266 h 266"/>
                <a:gd name="T30" fmla="*/ 41 w 143"/>
                <a:gd name="T31" fmla="*/ 266 h 266"/>
                <a:gd name="T32" fmla="*/ 41 w 143"/>
                <a:gd name="T33" fmla="*/ 157 h 266"/>
                <a:gd name="T34" fmla="*/ 65 w 143"/>
                <a:gd name="T35" fmla="*/ 157 h 266"/>
                <a:gd name="T36" fmla="*/ 100 w 143"/>
                <a:gd name="T37" fmla="*/ 266 h 266"/>
                <a:gd name="T38" fmla="*/ 143 w 143"/>
                <a:gd name="T39" fmla="*/ 266 h 266"/>
                <a:gd name="T40" fmla="*/ 104 w 143"/>
                <a:gd name="T41" fmla="*/ 148 h 266"/>
                <a:gd name="T42" fmla="*/ 129 w 143"/>
                <a:gd name="T43" fmla="*/ 121 h 266"/>
                <a:gd name="T44" fmla="*/ 135 w 143"/>
                <a:gd name="T45" fmla="*/ 78 h 266"/>
                <a:gd name="T46" fmla="*/ 119 w 143"/>
                <a:gd name="T47" fmla="*/ 18 h 266"/>
                <a:gd name="T48" fmla="*/ 67 w 143"/>
                <a:gd name="T4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3" h="266">
                  <a:moveTo>
                    <a:pt x="41" y="119"/>
                  </a:moveTo>
                  <a:cubicBezTo>
                    <a:pt x="41" y="38"/>
                    <a:pt x="41" y="38"/>
                    <a:pt x="41" y="38"/>
                  </a:cubicBezTo>
                  <a:cubicBezTo>
                    <a:pt x="67" y="38"/>
                    <a:pt x="67" y="38"/>
                    <a:pt x="67" y="38"/>
                  </a:cubicBezTo>
                  <a:cubicBezTo>
                    <a:pt x="73" y="38"/>
                    <a:pt x="77" y="39"/>
                    <a:pt x="81" y="41"/>
                  </a:cubicBezTo>
                  <a:cubicBezTo>
                    <a:pt x="84" y="43"/>
                    <a:pt x="87" y="46"/>
                    <a:pt x="89" y="50"/>
                  </a:cubicBezTo>
                  <a:cubicBezTo>
                    <a:pt x="90" y="53"/>
                    <a:pt x="91" y="58"/>
                    <a:pt x="92" y="63"/>
                  </a:cubicBezTo>
                  <a:cubicBezTo>
                    <a:pt x="93" y="68"/>
                    <a:pt x="93" y="73"/>
                    <a:pt x="93" y="78"/>
                  </a:cubicBezTo>
                  <a:cubicBezTo>
                    <a:pt x="93" y="84"/>
                    <a:pt x="93" y="89"/>
                    <a:pt x="92" y="94"/>
                  </a:cubicBezTo>
                  <a:cubicBezTo>
                    <a:pt x="91" y="99"/>
                    <a:pt x="90" y="104"/>
                    <a:pt x="89" y="107"/>
                  </a:cubicBezTo>
                  <a:cubicBezTo>
                    <a:pt x="87" y="111"/>
                    <a:pt x="84" y="114"/>
                    <a:pt x="81" y="116"/>
                  </a:cubicBezTo>
                  <a:cubicBezTo>
                    <a:pt x="77" y="118"/>
                    <a:pt x="73" y="119"/>
                    <a:pt x="67" y="119"/>
                  </a:cubicBezTo>
                  <a:cubicBezTo>
                    <a:pt x="41" y="119"/>
                    <a:pt x="41" y="119"/>
                    <a:pt x="41" y="119"/>
                  </a:cubicBezTo>
                  <a:moveTo>
                    <a:pt x="67" y="0"/>
                  </a:moveTo>
                  <a:cubicBezTo>
                    <a:pt x="0" y="0"/>
                    <a:pt x="0" y="0"/>
                    <a:pt x="0" y="0"/>
                  </a:cubicBezTo>
                  <a:cubicBezTo>
                    <a:pt x="0" y="266"/>
                    <a:pt x="0" y="266"/>
                    <a:pt x="0" y="266"/>
                  </a:cubicBezTo>
                  <a:cubicBezTo>
                    <a:pt x="41" y="266"/>
                    <a:pt x="41" y="266"/>
                    <a:pt x="41" y="266"/>
                  </a:cubicBezTo>
                  <a:cubicBezTo>
                    <a:pt x="41" y="157"/>
                    <a:pt x="41" y="157"/>
                    <a:pt x="41" y="157"/>
                  </a:cubicBezTo>
                  <a:cubicBezTo>
                    <a:pt x="65" y="157"/>
                    <a:pt x="65" y="157"/>
                    <a:pt x="65" y="157"/>
                  </a:cubicBezTo>
                  <a:cubicBezTo>
                    <a:pt x="100" y="266"/>
                    <a:pt x="100" y="266"/>
                    <a:pt x="100" y="266"/>
                  </a:cubicBezTo>
                  <a:cubicBezTo>
                    <a:pt x="143" y="266"/>
                    <a:pt x="143" y="266"/>
                    <a:pt x="143" y="266"/>
                  </a:cubicBezTo>
                  <a:cubicBezTo>
                    <a:pt x="104" y="148"/>
                    <a:pt x="104" y="148"/>
                    <a:pt x="104" y="148"/>
                  </a:cubicBezTo>
                  <a:cubicBezTo>
                    <a:pt x="116" y="141"/>
                    <a:pt x="124" y="132"/>
                    <a:pt x="129" y="121"/>
                  </a:cubicBezTo>
                  <a:cubicBezTo>
                    <a:pt x="133" y="109"/>
                    <a:pt x="135" y="95"/>
                    <a:pt x="135" y="78"/>
                  </a:cubicBezTo>
                  <a:cubicBezTo>
                    <a:pt x="135" y="51"/>
                    <a:pt x="130" y="31"/>
                    <a:pt x="119" y="18"/>
                  </a:cubicBezTo>
                  <a:cubicBezTo>
                    <a:pt x="109" y="6"/>
                    <a:pt x="91" y="0"/>
                    <a:pt x="67"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8" name="Freeform 15"/>
            <p:cNvSpPr>
              <a:spLocks noEditPoints="1"/>
            </p:cNvSpPr>
            <p:nvPr userDrawn="1"/>
          </p:nvSpPr>
          <p:spPr bwMode="auto">
            <a:xfrm>
              <a:off x="6249" y="3723"/>
              <a:ext cx="99" cy="192"/>
            </a:xfrm>
            <a:custGeom>
              <a:avLst/>
              <a:gdLst>
                <a:gd name="T0" fmla="*/ 42 w 139"/>
                <a:gd name="T1" fmla="*/ 228 h 266"/>
                <a:gd name="T2" fmla="*/ 42 w 139"/>
                <a:gd name="T3" fmla="*/ 38 h 266"/>
                <a:gd name="T4" fmla="*/ 67 w 139"/>
                <a:gd name="T5" fmla="*/ 38 h 266"/>
                <a:gd name="T6" fmla="*/ 80 w 139"/>
                <a:gd name="T7" fmla="*/ 41 h 266"/>
                <a:gd name="T8" fmla="*/ 88 w 139"/>
                <a:gd name="T9" fmla="*/ 49 h 266"/>
                <a:gd name="T10" fmla="*/ 96 w 139"/>
                <a:gd name="T11" fmla="*/ 78 h 266"/>
                <a:gd name="T12" fmla="*/ 97 w 139"/>
                <a:gd name="T13" fmla="*/ 133 h 266"/>
                <a:gd name="T14" fmla="*/ 96 w 139"/>
                <a:gd name="T15" fmla="*/ 188 h 266"/>
                <a:gd name="T16" fmla="*/ 88 w 139"/>
                <a:gd name="T17" fmla="*/ 217 h 266"/>
                <a:gd name="T18" fmla="*/ 80 w 139"/>
                <a:gd name="T19" fmla="*/ 225 h 266"/>
                <a:gd name="T20" fmla="*/ 67 w 139"/>
                <a:gd name="T21" fmla="*/ 228 h 266"/>
                <a:gd name="T22" fmla="*/ 42 w 139"/>
                <a:gd name="T23" fmla="*/ 228 h 266"/>
                <a:gd name="T24" fmla="*/ 68 w 139"/>
                <a:gd name="T25" fmla="*/ 0 h 266"/>
                <a:gd name="T26" fmla="*/ 0 w 139"/>
                <a:gd name="T27" fmla="*/ 0 h 266"/>
                <a:gd name="T28" fmla="*/ 0 w 139"/>
                <a:gd name="T29" fmla="*/ 266 h 266"/>
                <a:gd name="T30" fmla="*/ 68 w 139"/>
                <a:gd name="T31" fmla="*/ 266 h 266"/>
                <a:gd name="T32" fmla="*/ 99 w 139"/>
                <a:gd name="T33" fmla="*/ 260 h 266"/>
                <a:gd name="T34" fmla="*/ 119 w 139"/>
                <a:gd name="T35" fmla="*/ 244 h 266"/>
                <a:gd name="T36" fmla="*/ 130 w 139"/>
                <a:gd name="T37" fmla="*/ 227 h 266"/>
                <a:gd name="T38" fmla="*/ 136 w 139"/>
                <a:gd name="T39" fmla="*/ 204 h 266"/>
                <a:gd name="T40" fmla="*/ 138 w 139"/>
                <a:gd name="T41" fmla="*/ 173 h 266"/>
                <a:gd name="T42" fmla="*/ 139 w 139"/>
                <a:gd name="T43" fmla="*/ 133 h 266"/>
                <a:gd name="T44" fmla="*/ 138 w 139"/>
                <a:gd name="T45" fmla="*/ 92 h 266"/>
                <a:gd name="T46" fmla="*/ 136 w 139"/>
                <a:gd name="T47" fmla="*/ 62 h 266"/>
                <a:gd name="T48" fmla="*/ 130 w 139"/>
                <a:gd name="T49" fmla="*/ 39 h 266"/>
                <a:gd name="T50" fmla="*/ 119 w 139"/>
                <a:gd name="T51" fmla="*/ 22 h 266"/>
                <a:gd name="T52" fmla="*/ 99 w 139"/>
                <a:gd name="T53" fmla="*/ 6 h 266"/>
                <a:gd name="T54" fmla="*/ 68 w 139"/>
                <a:gd name="T5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66">
                  <a:moveTo>
                    <a:pt x="42" y="228"/>
                  </a:moveTo>
                  <a:cubicBezTo>
                    <a:pt x="42" y="38"/>
                    <a:pt x="42" y="38"/>
                    <a:pt x="42" y="38"/>
                  </a:cubicBezTo>
                  <a:cubicBezTo>
                    <a:pt x="67" y="38"/>
                    <a:pt x="67" y="38"/>
                    <a:pt x="67" y="38"/>
                  </a:cubicBezTo>
                  <a:cubicBezTo>
                    <a:pt x="72" y="38"/>
                    <a:pt x="76" y="39"/>
                    <a:pt x="80" y="41"/>
                  </a:cubicBezTo>
                  <a:cubicBezTo>
                    <a:pt x="83" y="43"/>
                    <a:pt x="86" y="45"/>
                    <a:pt x="88" y="49"/>
                  </a:cubicBezTo>
                  <a:cubicBezTo>
                    <a:pt x="92" y="55"/>
                    <a:pt x="95" y="65"/>
                    <a:pt x="96" y="78"/>
                  </a:cubicBezTo>
                  <a:cubicBezTo>
                    <a:pt x="97" y="91"/>
                    <a:pt x="97" y="109"/>
                    <a:pt x="97" y="133"/>
                  </a:cubicBezTo>
                  <a:cubicBezTo>
                    <a:pt x="97" y="156"/>
                    <a:pt x="97" y="174"/>
                    <a:pt x="96" y="188"/>
                  </a:cubicBezTo>
                  <a:cubicBezTo>
                    <a:pt x="95" y="201"/>
                    <a:pt x="92" y="211"/>
                    <a:pt x="88" y="217"/>
                  </a:cubicBezTo>
                  <a:cubicBezTo>
                    <a:pt x="86" y="221"/>
                    <a:pt x="83" y="223"/>
                    <a:pt x="80" y="225"/>
                  </a:cubicBezTo>
                  <a:cubicBezTo>
                    <a:pt x="76" y="227"/>
                    <a:pt x="72" y="228"/>
                    <a:pt x="67" y="228"/>
                  </a:cubicBezTo>
                  <a:cubicBezTo>
                    <a:pt x="42" y="228"/>
                    <a:pt x="42" y="228"/>
                    <a:pt x="42" y="228"/>
                  </a:cubicBezTo>
                  <a:moveTo>
                    <a:pt x="68" y="0"/>
                  </a:moveTo>
                  <a:cubicBezTo>
                    <a:pt x="0" y="0"/>
                    <a:pt x="0" y="0"/>
                    <a:pt x="0" y="0"/>
                  </a:cubicBezTo>
                  <a:cubicBezTo>
                    <a:pt x="0" y="266"/>
                    <a:pt x="0" y="266"/>
                    <a:pt x="0" y="266"/>
                  </a:cubicBezTo>
                  <a:cubicBezTo>
                    <a:pt x="68" y="266"/>
                    <a:pt x="68" y="266"/>
                    <a:pt x="68" y="266"/>
                  </a:cubicBezTo>
                  <a:cubicBezTo>
                    <a:pt x="81" y="266"/>
                    <a:pt x="91" y="264"/>
                    <a:pt x="99" y="260"/>
                  </a:cubicBezTo>
                  <a:cubicBezTo>
                    <a:pt x="107" y="255"/>
                    <a:pt x="114" y="250"/>
                    <a:pt x="119" y="244"/>
                  </a:cubicBezTo>
                  <a:cubicBezTo>
                    <a:pt x="124" y="239"/>
                    <a:pt x="127" y="233"/>
                    <a:pt x="130" y="227"/>
                  </a:cubicBezTo>
                  <a:cubicBezTo>
                    <a:pt x="133" y="220"/>
                    <a:pt x="135" y="213"/>
                    <a:pt x="136" y="204"/>
                  </a:cubicBezTo>
                  <a:cubicBezTo>
                    <a:pt x="137" y="195"/>
                    <a:pt x="138" y="185"/>
                    <a:pt x="138" y="173"/>
                  </a:cubicBezTo>
                  <a:cubicBezTo>
                    <a:pt x="139" y="162"/>
                    <a:pt x="139" y="148"/>
                    <a:pt x="139" y="133"/>
                  </a:cubicBezTo>
                  <a:cubicBezTo>
                    <a:pt x="139" y="117"/>
                    <a:pt x="139" y="104"/>
                    <a:pt x="138" y="92"/>
                  </a:cubicBezTo>
                  <a:cubicBezTo>
                    <a:pt x="138" y="81"/>
                    <a:pt x="137" y="71"/>
                    <a:pt x="136" y="62"/>
                  </a:cubicBezTo>
                  <a:cubicBezTo>
                    <a:pt x="135" y="53"/>
                    <a:pt x="133" y="45"/>
                    <a:pt x="130" y="39"/>
                  </a:cubicBezTo>
                  <a:cubicBezTo>
                    <a:pt x="127" y="33"/>
                    <a:pt x="124" y="27"/>
                    <a:pt x="119" y="22"/>
                  </a:cubicBezTo>
                  <a:cubicBezTo>
                    <a:pt x="114" y="16"/>
                    <a:pt x="107" y="11"/>
                    <a:pt x="99" y="6"/>
                  </a:cubicBezTo>
                  <a:cubicBezTo>
                    <a:pt x="91" y="2"/>
                    <a:pt x="81" y="0"/>
                    <a:pt x="68"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29" name="Freeform 16"/>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0" name="Freeform 17"/>
            <p:cNvSpPr>
              <a:spLocks/>
            </p:cNvSpPr>
            <p:nvPr userDrawn="1"/>
          </p:nvSpPr>
          <p:spPr bwMode="auto">
            <a:xfrm>
              <a:off x="6415" y="3723"/>
              <a:ext cx="79" cy="192"/>
            </a:xfrm>
            <a:custGeom>
              <a:avLst/>
              <a:gdLst>
                <a:gd name="T0" fmla="*/ 79 w 79"/>
                <a:gd name="T1" fmla="*/ 0 h 192"/>
                <a:gd name="T2" fmla="*/ 0 w 79"/>
                <a:gd name="T3" fmla="*/ 0 h 192"/>
                <a:gd name="T4" fmla="*/ 0 w 79"/>
                <a:gd name="T5" fmla="*/ 192 h 192"/>
                <a:gd name="T6" fmla="*/ 79 w 79"/>
                <a:gd name="T7" fmla="*/ 192 h 192"/>
                <a:gd name="T8" fmla="*/ 79 w 79"/>
                <a:gd name="T9" fmla="*/ 164 h 192"/>
                <a:gd name="T10" fmla="*/ 29 w 79"/>
                <a:gd name="T11" fmla="*/ 164 h 192"/>
                <a:gd name="T12" fmla="*/ 29 w 79"/>
                <a:gd name="T13" fmla="*/ 108 h 192"/>
                <a:gd name="T14" fmla="*/ 73 w 79"/>
                <a:gd name="T15" fmla="*/ 108 h 192"/>
                <a:gd name="T16" fmla="*/ 73 w 79"/>
                <a:gd name="T17" fmla="*/ 81 h 192"/>
                <a:gd name="T18" fmla="*/ 29 w 79"/>
                <a:gd name="T19" fmla="*/ 81 h 192"/>
                <a:gd name="T20" fmla="*/ 29 w 79"/>
                <a:gd name="T21" fmla="*/ 28 h 192"/>
                <a:gd name="T22" fmla="*/ 79 w 79"/>
                <a:gd name="T23" fmla="*/ 28 h 192"/>
                <a:gd name="T24" fmla="*/ 79 w 79"/>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92">
                  <a:moveTo>
                    <a:pt x="79" y="0"/>
                  </a:moveTo>
                  <a:lnTo>
                    <a:pt x="0" y="0"/>
                  </a:lnTo>
                  <a:lnTo>
                    <a:pt x="0" y="192"/>
                  </a:lnTo>
                  <a:lnTo>
                    <a:pt x="79" y="192"/>
                  </a:lnTo>
                  <a:lnTo>
                    <a:pt x="79" y="164"/>
                  </a:lnTo>
                  <a:lnTo>
                    <a:pt x="29" y="164"/>
                  </a:lnTo>
                  <a:lnTo>
                    <a:pt x="29" y="108"/>
                  </a:lnTo>
                  <a:lnTo>
                    <a:pt x="73" y="108"/>
                  </a:lnTo>
                  <a:lnTo>
                    <a:pt x="73" y="81"/>
                  </a:lnTo>
                  <a:lnTo>
                    <a:pt x="29" y="81"/>
                  </a:lnTo>
                  <a:lnTo>
                    <a:pt x="29" y="28"/>
                  </a:lnTo>
                  <a:lnTo>
                    <a:pt x="79" y="28"/>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1" name="Freeform 18"/>
            <p:cNvSpPr>
              <a:spLocks/>
            </p:cNvSpPr>
            <p:nvPr userDrawn="1"/>
          </p:nvSpPr>
          <p:spPr bwMode="auto">
            <a:xfrm>
              <a:off x="6554" y="3722"/>
              <a:ext cx="98" cy="195"/>
            </a:xfrm>
            <a:custGeom>
              <a:avLst/>
              <a:gdLst>
                <a:gd name="T0" fmla="*/ 70 w 138"/>
                <a:gd name="T1" fmla="*/ 0 h 271"/>
                <a:gd name="T2" fmla="*/ 44 w 138"/>
                <a:gd name="T3" fmla="*/ 4 h 271"/>
                <a:gd name="T4" fmla="*/ 24 w 138"/>
                <a:gd name="T5" fmla="*/ 16 h 271"/>
                <a:gd name="T6" fmla="*/ 8 w 138"/>
                <a:gd name="T7" fmla="*/ 40 h 271"/>
                <a:gd name="T8" fmla="*/ 3 w 138"/>
                <a:gd name="T9" fmla="*/ 72 h 271"/>
                <a:gd name="T10" fmla="*/ 5 w 138"/>
                <a:gd name="T11" fmla="*/ 98 h 271"/>
                <a:gd name="T12" fmla="*/ 11 w 138"/>
                <a:gd name="T13" fmla="*/ 117 h 271"/>
                <a:gd name="T14" fmla="*/ 22 w 138"/>
                <a:gd name="T15" fmla="*/ 130 h 271"/>
                <a:gd name="T16" fmla="*/ 40 w 138"/>
                <a:gd name="T17" fmla="*/ 139 h 271"/>
                <a:gd name="T18" fmla="*/ 71 w 138"/>
                <a:gd name="T19" fmla="*/ 152 h 271"/>
                <a:gd name="T20" fmla="*/ 84 w 138"/>
                <a:gd name="T21" fmla="*/ 159 h 271"/>
                <a:gd name="T22" fmla="*/ 92 w 138"/>
                <a:gd name="T23" fmla="*/ 167 h 271"/>
                <a:gd name="T24" fmla="*/ 95 w 138"/>
                <a:gd name="T25" fmla="*/ 178 h 271"/>
                <a:gd name="T26" fmla="*/ 96 w 138"/>
                <a:gd name="T27" fmla="*/ 196 h 271"/>
                <a:gd name="T28" fmla="*/ 95 w 138"/>
                <a:gd name="T29" fmla="*/ 214 h 271"/>
                <a:gd name="T30" fmla="*/ 89 w 138"/>
                <a:gd name="T31" fmla="*/ 225 h 271"/>
                <a:gd name="T32" fmla="*/ 69 w 138"/>
                <a:gd name="T33" fmla="*/ 233 h 271"/>
                <a:gd name="T34" fmla="*/ 57 w 138"/>
                <a:gd name="T35" fmla="*/ 231 h 271"/>
                <a:gd name="T36" fmla="*/ 50 w 138"/>
                <a:gd name="T37" fmla="*/ 226 h 271"/>
                <a:gd name="T38" fmla="*/ 44 w 138"/>
                <a:gd name="T39" fmla="*/ 214 h 271"/>
                <a:gd name="T40" fmla="*/ 42 w 138"/>
                <a:gd name="T41" fmla="*/ 196 h 271"/>
                <a:gd name="T42" fmla="*/ 0 w 138"/>
                <a:gd name="T43" fmla="*/ 196 h 271"/>
                <a:gd name="T44" fmla="*/ 4 w 138"/>
                <a:gd name="T45" fmla="*/ 230 h 271"/>
                <a:gd name="T46" fmla="*/ 17 w 138"/>
                <a:gd name="T47" fmla="*/ 253 h 271"/>
                <a:gd name="T48" fmla="*/ 69 w 138"/>
                <a:gd name="T49" fmla="*/ 271 h 271"/>
                <a:gd name="T50" fmla="*/ 100 w 138"/>
                <a:gd name="T51" fmla="*/ 266 h 271"/>
                <a:gd name="T52" fmla="*/ 121 w 138"/>
                <a:gd name="T53" fmla="*/ 253 h 271"/>
                <a:gd name="T54" fmla="*/ 135 w 138"/>
                <a:gd name="T55" fmla="*/ 229 h 271"/>
                <a:gd name="T56" fmla="*/ 138 w 138"/>
                <a:gd name="T57" fmla="*/ 194 h 271"/>
                <a:gd name="T58" fmla="*/ 136 w 138"/>
                <a:gd name="T59" fmla="*/ 166 h 271"/>
                <a:gd name="T60" fmla="*/ 130 w 138"/>
                <a:gd name="T61" fmla="*/ 145 h 271"/>
                <a:gd name="T62" fmla="*/ 118 w 138"/>
                <a:gd name="T63" fmla="*/ 131 h 271"/>
                <a:gd name="T64" fmla="*/ 98 w 138"/>
                <a:gd name="T65" fmla="*/ 120 h 271"/>
                <a:gd name="T66" fmla="*/ 66 w 138"/>
                <a:gd name="T67" fmla="*/ 107 h 271"/>
                <a:gd name="T68" fmla="*/ 55 w 138"/>
                <a:gd name="T69" fmla="*/ 101 h 271"/>
                <a:gd name="T70" fmla="*/ 48 w 138"/>
                <a:gd name="T71" fmla="*/ 94 h 271"/>
                <a:gd name="T72" fmla="*/ 45 w 138"/>
                <a:gd name="T73" fmla="*/ 85 h 271"/>
                <a:gd name="T74" fmla="*/ 44 w 138"/>
                <a:gd name="T75" fmla="*/ 71 h 271"/>
                <a:gd name="T76" fmla="*/ 52 w 138"/>
                <a:gd name="T77" fmla="*/ 45 h 271"/>
                <a:gd name="T78" fmla="*/ 59 w 138"/>
                <a:gd name="T79" fmla="*/ 40 h 271"/>
                <a:gd name="T80" fmla="*/ 69 w 138"/>
                <a:gd name="T81" fmla="*/ 37 h 271"/>
                <a:gd name="T82" fmla="*/ 88 w 138"/>
                <a:gd name="T83" fmla="*/ 45 h 271"/>
                <a:gd name="T84" fmla="*/ 93 w 138"/>
                <a:gd name="T85" fmla="*/ 58 h 271"/>
                <a:gd name="T86" fmla="*/ 94 w 138"/>
                <a:gd name="T87" fmla="*/ 74 h 271"/>
                <a:gd name="T88" fmla="*/ 136 w 138"/>
                <a:gd name="T89" fmla="*/ 74 h 271"/>
                <a:gd name="T90" fmla="*/ 132 w 138"/>
                <a:gd name="T91" fmla="*/ 40 h 271"/>
                <a:gd name="T92" fmla="*/ 118 w 138"/>
                <a:gd name="T93" fmla="*/ 16 h 271"/>
                <a:gd name="T94" fmla="*/ 70 w 138"/>
                <a:gd name="T95"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271">
                  <a:moveTo>
                    <a:pt x="70" y="0"/>
                  </a:moveTo>
                  <a:cubicBezTo>
                    <a:pt x="60" y="0"/>
                    <a:pt x="52" y="1"/>
                    <a:pt x="44" y="4"/>
                  </a:cubicBezTo>
                  <a:cubicBezTo>
                    <a:pt x="37" y="7"/>
                    <a:pt x="30" y="11"/>
                    <a:pt x="24" y="16"/>
                  </a:cubicBezTo>
                  <a:cubicBezTo>
                    <a:pt x="17" y="22"/>
                    <a:pt x="12" y="30"/>
                    <a:pt x="8" y="40"/>
                  </a:cubicBezTo>
                  <a:cubicBezTo>
                    <a:pt x="4" y="50"/>
                    <a:pt x="3" y="60"/>
                    <a:pt x="3" y="72"/>
                  </a:cubicBezTo>
                  <a:cubicBezTo>
                    <a:pt x="3" y="82"/>
                    <a:pt x="3" y="91"/>
                    <a:pt x="5" y="98"/>
                  </a:cubicBezTo>
                  <a:cubicBezTo>
                    <a:pt x="6" y="106"/>
                    <a:pt x="8" y="112"/>
                    <a:pt x="11" y="117"/>
                  </a:cubicBezTo>
                  <a:cubicBezTo>
                    <a:pt x="14" y="122"/>
                    <a:pt x="18" y="126"/>
                    <a:pt x="22" y="130"/>
                  </a:cubicBezTo>
                  <a:cubicBezTo>
                    <a:pt x="27" y="133"/>
                    <a:pt x="33" y="136"/>
                    <a:pt x="40" y="139"/>
                  </a:cubicBezTo>
                  <a:cubicBezTo>
                    <a:pt x="71" y="152"/>
                    <a:pt x="71" y="152"/>
                    <a:pt x="71" y="152"/>
                  </a:cubicBezTo>
                  <a:cubicBezTo>
                    <a:pt x="77" y="154"/>
                    <a:pt x="81" y="156"/>
                    <a:pt x="84" y="159"/>
                  </a:cubicBezTo>
                  <a:cubicBezTo>
                    <a:pt x="87" y="161"/>
                    <a:pt x="90" y="163"/>
                    <a:pt x="92" y="167"/>
                  </a:cubicBezTo>
                  <a:cubicBezTo>
                    <a:pt x="94" y="170"/>
                    <a:pt x="95" y="174"/>
                    <a:pt x="95" y="178"/>
                  </a:cubicBezTo>
                  <a:cubicBezTo>
                    <a:pt x="96" y="183"/>
                    <a:pt x="96" y="189"/>
                    <a:pt x="96" y="196"/>
                  </a:cubicBezTo>
                  <a:cubicBezTo>
                    <a:pt x="96" y="203"/>
                    <a:pt x="96" y="209"/>
                    <a:pt x="95" y="214"/>
                  </a:cubicBezTo>
                  <a:cubicBezTo>
                    <a:pt x="94" y="218"/>
                    <a:pt x="92" y="222"/>
                    <a:pt x="89" y="225"/>
                  </a:cubicBezTo>
                  <a:cubicBezTo>
                    <a:pt x="85" y="230"/>
                    <a:pt x="78" y="233"/>
                    <a:pt x="69" y="233"/>
                  </a:cubicBezTo>
                  <a:cubicBezTo>
                    <a:pt x="64" y="233"/>
                    <a:pt x="60" y="232"/>
                    <a:pt x="57" y="231"/>
                  </a:cubicBezTo>
                  <a:cubicBezTo>
                    <a:pt x="54" y="229"/>
                    <a:pt x="52" y="228"/>
                    <a:pt x="50" y="226"/>
                  </a:cubicBezTo>
                  <a:cubicBezTo>
                    <a:pt x="47" y="222"/>
                    <a:pt x="45" y="218"/>
                    <a:pt x="44" y="214"/>
                  </a:cubicBezTo>
                  <a:cubicBezTo>
                    <a:pt x="43" y="209"/>
                    <a:pt x="42" y="203"/>
                    <a:pt x="42" y="196"/>
                  </a:cubicBezTo>
                  <a:cubicBezTo>
                    <a:pt x="0" y="196"/>
                    <a:pt x="0" y="196"/>
                    <a:pt x="0" y="196"/>
                  </a:cubicBezTo>
                  <a:cubicBezTo>
                    <a:pt x="0" y="210"/>
                    <a:pt x="2" y="222"/>
                    <a:pt x="4" y="230"/>
                  </a:cubicBezTo>
                  <a:cubicBezTo>
                    <a:pt x="7" y="239"/>
                    <a:pt x="11" y="247"/>
                    <a:pt x="17" y="253"/>
                  </a:cubicBezTo>
                  <a:cubicBezTo>
                    <a:pt x="29" y="265"/>
                    <a:pt x="46" y="271"/>
                    <a:pt x="69" y="271"/>
                  </a:cubicBezTo>
                  <a:cubicBezTo>
                    <a:pt x="81" y="271"/>
                    <a:pt x="91" y="269"/>
                    <a:pt x="100" y="266"/>
                  </a:cubicBezTo>
                  <a:cubicBezTo>
                    <a:pt x="108" y="263"/>
                    <a:pt x="116" y="258"/>
                    <a:pt x="121" y="253"/>
                  </a:cubicBezTo>
                  <a:cubicBezTo>
                    <a:pt x="128" y="247"/>
                    <a:pt x="132" y="239"/>
                    <a:pt x="135" y="229"/>
                  </a:cubicBezTo>
                  <a:cubicBezTo>
                    <a:pt x="137" y="220"/>
                    <a:pt x="138" y="208"/>
                    <a:pt x="138" y="194"/>
                  </a:cubicBezTo>
                  <a:cubicBezTo>
                    <a:pt x="138" y="183"/>
                    <a:pt x="138" y="174"/>
                    <a:pt x="136" y="166"/>
                  </a:cubicBezTo>
                  <a:cubicBezTo>
                    <a:pt x="135" y="158"/>
                    <a:pt x="133" y="151"/>
                    <a:pt x="130" y="145"/>
                  </a:cubicBezTo>
                  <a:cubicBezTo>
                    <a:pt x="127" y="139"/>
                    <a:pt x="123" y="135"/>
                    <a:pt x="118" y="131"/>
                  </a:cubicBezTo>
                  <a:cubicBezTo>
                    <a:pt x="112" y="127"/>
                    <a:pt x="106" y="123"/>
                    <a:pt x="98" y="120"/>
                  </a:cubicBezTo>
                  <a:cubicBezTo>
                    <a:pt x="66" y="107"/>
                    <a:pt x="66" y="107"/>
                    <a:pt x="66" y="107"/>
                  </a:cubicBezTo>
                  <a:cubicBezTo>
                    <a:pt x="62" y="105"/>
                    <a:pt x="58" y="103"/>
                    <a:pt x="55" y="101"/>
                  </a:cubicBezTo>
                  <a:cubicBezTo>
                    <a:pt x="52" y="99"/>
                    <a:pt x="50" y="97"/>
                    <a:pt x="48" y="94"/>
                  </a:cubicBezTo>
                  <a:cubicBezTo>
                    <a:pt x="47" y="92"/>
                    <a:pt x="46" y="89"/>
                    <a:pt x="45" y="85"/>
                  </a:cubicBezTo>
                  <a:cubicBezTo>
                    <a:pt x="45" y="81"/>
                    <a:pt x="44" y="77"/>
                    <a:pt x="44" y="71"/>
                  </a:cubicBezTo>
                  <a:cubicBezTo>
                    <a:pt x="44" y="59"/>
                    <a:pt x="47" y="50"/>
                    <a:pt x="52" y="45"/>
                  </a:cubicBezTo>
                  <a:cubicBezTo>
                    <a:pt x="53" y="43"/>
                    <a:pt x="56" y="41"/>
                    <a:pt x="59" y="40"/>
                  </a:cubicBezTo>
                  <a:cubicBezTo>
                    <a:pt x="62" y="38"/>
                    <a:pt x="65" y="37"/>
                    <a:pt x="69" y="37"/>
                  </a:cubicBezTo>
                  <a:cubicBezTo>
                    <a:pt x="78" y="37"/>
                    <a:pt x="84" y="40"/>
                    <a:pt x="88" y="45"/>
                  </a:cubicBezTo>
                  <a:cubicBezTo>
                    <a:pt x="91" y="49"/>
                    <a:pt x="93" y="53"/>
                    <a:pt x="93" y="58"/>
                  </a:cubicBezTo>
                  <a:cubicBezTo>
                    <a:pt x="94" y="62"/>
                    <a:pt x="94" y="68"/>
                    <a:pt x="94" y="74"/>
                  </a:cubicBezTo>
                  <a:cubicBezTo>
                    <a:pt x="136" y="74"/>
                    <a:pt x="136" y="74"/>
                    <a:pt x="136" y="74"/>
                  </a:cubicBezTo>
                  <a:cubicBezTo>
                    <a:pt x="136" y="61"/>
                    <a:pt x="135" y="50"/>
                    <a:pt x="132" y="40"/>
                  </a:cubicBezTo>
                  <a:cubicBezTo>
                    <a:pt x="129" y="31"/>
                    <a:pt x="125" y="23"/>
                    <a:pt x="118" y="16"/>
                  </a:cubicBezTo>
                  <a:cubicBezTo>
                    <a:pt x="106" y="5"/>
                    <a:pt x="90" y="0"/>
                    <a:pt x="70" y="0"/>
                  </a:cubicBezTo>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2" name="Freeform 19"/>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3" name="Freeform 20"/>
            <p:cNvSpPr>
              <a:spLocks/>
            </p:cNvSpPr>
            <p:nvPr userDrawn="1"/>
          </p:nvSpPr>
          <p:spPr bwMode="auto">
            <a:xfrm>
              <a:off x="6706" y="3723"/>
              <a:ext cx="94" cy="192"/>
            </a:xfrm>
            <a:custGeom>
              <a:avLst/>
              <a:gdLst>
                <a:gd name="T0" fmla="*/ 94 w 94"/>
                <a:gd name="T1" fmla="*/ 0 h 192"/>
                <a:gd name="T2" fmla="*/ 0 w 94"/>
                <a:gd name="T3" fmla="*/ 0 h 192"/>
                <a:gd name="T4" fmla="*/ 0 w 94"/>
                <a:gd name="T5" fmla="*/ 28 h 192"/>
                <a:gd name="T6" fmla="*/ 32 w 94"/>
                <a:gd name="T7" fmla="*/ 28 h 192"/>
                <a:gd name="T8" fmla="*/ 32 w 94"/>
                <a:gd name="T9" fmla="*/ 192 h 192"/>
                <a:gd name="T10" fmla="*/ 62 w 94"/>
                <a:gd name="T11" fmla="*/ 192 h 192"/>
                <a:gd name="T12" fmla="*/ 62 w 94"/>
                <a:gd name="T13" fmla="*/ 28 h 192"/>
                <a:gd name="T14" fmla="*/ 94 w 94"/>
                <a:gd name="T15" fmla="*/ 28 h 192"/>
                <a:gd name="T16" fmla="*/ 94 w 9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92">
                  <a:moveTo>
                    <a:pt x="94" y="0"/>
                  </a:moveTo>
                  <a:lnTo>
                    <a:pt x="0" y="0"/>
                  </a:lnTo>
                  <a:lnTo>
                    <a:pt x="0" y="28"/>
                  </a:lnTo>
                  <a:lnTo>
                    <a:pt x="32" y="28"/>
                  </a:lnTo>
                  <a:lnTo>
                    <a:pt x="32" y="192"/>
                  </a:lnTo>
                  <a:lnTo>
                    <a:pt x="62" y="192"/>
                  </a:lnTo>
                  <a:lnTo>
                    <a:pt x="62" y="28"/>
                  </a:lnTo>
                  <a:lnTo>
                    <a:pt x="94" y="2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4" name="Rectangle 21"/>
            <p:cNvSpPr>
              <a:spLocks noChangeArrowheads="1"/>
            </p:cNvSpPr>
            <p:nvPr userDrawn="1"/>
          </p:nvSpPr>
          <p:spPr bwMode="auto">
            <a:xfrm>
              <a:off x="6861" y="3723"/>
              <a:ext cx="30" cy="192"/>
            </a:xfrm>
            <a:prstGeom prst="rect">
              <a:avLst/>
            </a:prstGeom>
            <a:solidFill>
              <a:srgbClr val="08B1F0">
                <a:alpha val="89804"/>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5" name="Rectangle 22"/>
            <p:cNvSpPr>
              <a:spLocks noChangeArrowheads="1"/>
            </p:cNvSpPr>
            <p:nvPr userDrawn="1"/>
          </p:nvSpPr>
          <p:spPr bwMode="auto">
            <a:xfrm>
              <a:off x="6861" y="3723"/>
              <a:ext cx="3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6" name="Freeform 23"/>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7" name="Freeform 24"/>
            <p:cNvSpPr>
              <a:spLocks/>
            </p:cNvSpPr>
            <p:nvPr userDrawn="1"/>
          </p:nvSpPr>
          <p:spPr bwMode="auto">
            <a:xfrm>
              <a:off x="6963" y="3723"/>
              <a:ext cx="101" cy="192"/>
            </a:xfrm>
            <a:custGeom>
              <a:avLst/>
              <a:gdLst>
                <a:gd name="T0" fmla="*/ 101 w 101"/>
                <a:gd name="T1" fmla="*/ 0 h 192"/>
                <a:gd name="T2" fmla="*/ 71 w 101"/>
                <a:gd name="T3" fmla="*/ 0 h 192"/>
                <a:gd name="T4" fmla="*/ 71 w 101"/>
                <a:gd name="T5" fmla="*/ 114 h 192"/>
                <a:gd name="T6" fmla="*/ 27 w 101"/>
                <a:gd name="T7" fmla="*/ 0 h 192"/>
                <a:gd name="T8" fmla="*/ 0 w 101"/>
                <a:gd name="T9" fmla="*/ 0 h 192"/>
                <a:gd name="T10" fmla="*/ 0 w 101"/>
                <a:gd name="T11" fmla="*/ 192 h 192"/>
                <a:gd name="T12" fmla="*/ 29 w 101"/>
                <a:gd name="T13" fmla="*/ 192 h 192"/>
                <a:gd name="T14" fmla="*/ 29 w 101"/>
                <a:gd name="T15" fmla="*/ 78 h 192"/>
                <a:gd name="T16" fmla="*/ 74 w 101"/>
                <a:gd name="T17" fmla="*/ 192 h 192"/>
                <a:gd name="T18" fmla="*/ 101 w 101"/>
                <a:gd name="T19" fmla="*/ 192 h 192"/>
                <a:gd name="T20" fmla="*/ 101 w 101"/>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92">
                  <a:moveTo>
                    <a:pt x="101" y="0"/>
                  </a:moveTo>
                  <a:lnTo>
                    <a:pt x="71" y="0"/>
                  </a:lnTo>
                  <a:lnTo>
                    <a:pt x="71" y="114"/>
                  </a:lnTo>
                  <a:lnTo>
                    <a:pt x="27" y="0"/>
                  </a:lnTo>
                  <a:lnTo>
                    <a:pt x="0" y="0"/>
                  </a:lnTo>
                  <a:lnTo>
                    <a:pt x="0" y="192"/>
                  </a:lnTo>
                  <a:lnTo>
                    <a:pt x="29" y="192"/>
                  </a:lnTo>
                  <a:lnTo>
                    <a:pt x="29" y="78"/>
                  </a:lnTo>
                  <a:lnTo>
                    <a:pt x="74" y="192"/>
                  </a:lnTo>
                  <a:lnTo>
                    <a:pt x="101" y="192"/>
                  </a:lnTo>
                  <a:lnTo>
                    <a:pt x="10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8" name="Freeform 25"/>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close/>
                </a:path>
              </a:pathLst>
            </a:custGeom>
            <a:solidFill>
              <a:srgbClr val="08B1F0">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sp>
          <p:nvSpPr>
            <p:cNvPr id="39" name="Freeform 26"/>
            <p:cNvSpPr>
              <a:spLocks/>
            </p:cNvSpPr>
            <p:nvPr userDrawn="1"/>
          </p:nvSpPr>
          <p:spPr bwMode="auto">
            <a:xfrm>
              <a:off x="7120" y="3723"/>
              <a:ext cx="103" cy="192"/>
            </a:xfrm>
            <a:custGeom>
              <a:avLst/>
              <a:gdLst>
                <a:gd name="T0" fmla="*/ 103 w 103"/>
                <a:gd name="T1" fmla="*/ 0 h 192"/>
                <a:gd name="T2" fmla="*/ 71 w 103"/>
                <a:gd name="T3" fmla="*/ 0 h 192"/>
                <a:gd name="T4" fmla="*/ 51 w 103"/>
                <a:gd name="T5" fmla="*/ 76 h 192"/>
                <a:gd name="T6" fmla="*/ 33 w 103"/>
                <a:gd name="T7" fmla="*/ 0 h 192"/>
                <a:gd name="T8" fmla="*/ 0 w 103"/>
                <a:gd name="T9" fmla="*/ 0 h 192"/>
                <a:gd name="T10" fmla="*/ 36 w 103"/>
                <a:gd name="T11" fmla="*/ 117 h 192"/>
                <a:gd name="T12" fmla="*/ 36 w 103"/>
                <a:gd name="T13" fmla="*/ 192 h 192"/>
                <a:gd name="T14" fmla="*/ 66 w 103"/>
                <a:gd name="T15" fmla="*/ 192 h 192"/>
                <a:gd name="T16" fmla="*/ 66 w 103"/>
                <a:gd name="T17" fmla="*/ 117 h 192"/>
                <a:gd name="T18" fmla="*/ 103 w 103"/>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92">
                  <a:moveTo>
                    <a:pt x="103" y="0"/>
                  </a:moveTo>
                  <a:lnTo>
                    <a:pt x="71" y="0"/>
                  </a:lnTo>
                  <a:lnTo>
                    <a:pt x="51" y="76"/>
                  </a:lnTo>
                  <a:lnTo>
                    <a:pt x="33" y="0"/>
                  </a:lnTo>
                  <a:lnTo>
                    <a:pt x="0" y="0"/>
                  </a:lnTo>
                  <a:lnTo>
                    <a:pt x="36" y="117"/>
                  </a:lnTo>
                  <a:lnTo>
                    <a:pt x="36" y="192"/>
                  </a:lnTo>
                  <a:lnTo>
                    <a:pt x="66" y="192"/>
                  </a:lnTo>
                  <a:lnTo>
                    <a:pt x="66" y="117"/>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latin typeface="Calibri" panose="020F0502020204030204" pitchFamily="34" charset="0"/>
                <a:cs typeface="Calibri" panose="020F0502020204030204" pitchFamily="34" charset="0"/>
                <a:sym typeface="Arial"/>
              </a:endParaRPr>
            </a:p>
          </p:txBody>
        </p:sp>
      </p:grpSp>
    </p:spTree>
    <p:extLst>
      <p:ext uri="{BB962C8B-B14F-4D97-AF65-F5344CB8AC3E}">
        <p14:creationId xmlns:p14="http://schemas.microsoft.com/office/powerpoint/2010/main" val="971308409"/>
      </p:ext>
    </p:extLst>
  </p:cSld>
  <p:clrMapOvr>
    <a:masterClrMapping/>
  </p:clrMapOvr>
  <p:transition>
    <p:fade/>
  </p:transition>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2" name="Date Placeholder 1"/>
          <p:cNvSpPr>
            <a:spLocks noGrp="1"/>
          </p:cNvSpPr>
          <p:nvPr>
            <p:ph type="dt" sz="half" idx="12"/>
          </p:nvPr>
        </p:nvSpPr>
        <p:spPr>
          <a:xfrm>
            <a:off x="-3017177" y="6356352"/>
            <a:ext cx="2843213" cy="365125"/>
          </a:xfrm>
        </p:spPr>
        <p:txBody>
          <a:bodyPr/>
          <a:lstStyle>
            <a:lvl1pPr>
              <a:defRPr/>
            </a:lvl1pPr>
          </a:lstStyle>
          <a:p>
            <a:fld id="{C21F6912-E12D-42E4-A1B4-78CBD40CB479}"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3693421445"/>
      </p:ext>
    </p:extLst>
  </p:cSld>
  <p:clrMapOvr>
    <a:masterClrMapping/>
  </p:clrMapOvr>
  <p:transition>
    <p:fade/>
  </p:transition>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grpSp>
        <p:nvGrpSpPr>
          <p:cNvPr id="5" name="Pink Background"/>
          <p:cNvGrpSpPr/>
          <p:nvPr userDrawn="1"/>
        </p:nvGrpSpPr>
        <p:grpSpPr>
          <a:xfrm>
            <a:off x="5929631"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buClr>
                  <a:srgbClr val="000000"/>
                </a:buClr>
                <a:buSzPct val="115000"/>
                <a:buFont typeface="Arial"/>
                <a:buNone/>
              </a:pPr>
              <a:endParaRPr lang="en-US" sz="3199" kern="0" dirty="0">
                <a:solidFill>
                  <a:srgbClr val="000000"/>
                </a:solidFill>
                <a:latin typeface="Calibri" panose="020F0502020204030204" pitchFamily="34" charset="0"/>
                <a:cs typeface="Calibri" panose="020F0502020204030204" pitchFamily="34" charset="0"/>
                <a:sym typeface="Arial"/>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buClr>
                  <a:srgbClr val="000000"/>
                </a:buClr>
                <a:buSzPct val="115000"/>
                <a:buFont typeface="Arial"/>
                <a:buNone/>
              </a:pPr>
              <a:endParaRPr lang="en-US" sz="3199" kern="0" dirty="0">
                <a:solidFill>
                  <a:srgbClr val="000000"/>
                </a:solidFill>
                <a:latin typeface="Calibri" panose="020F0502020204030204" pitchFamily="34" charset="0"/>
                <a:cs typeface="Calibri" panose="020F0502020204030204" pitchFamily="34" charset="0"/>
                <a:sym typeface="Arial"/>
              </a:endParaRPr>
            </a:p>
          </p:txBody>
        </p:sp>
      </p:grpSp>
      <p:sp>
        <p:nvSpPr>
          <p:cNvPr id="8" name="Credit text"/>
          <p:cNvSpPr>
            <a:spLocks noGrp="1"/>
          </p:cNvSpPr>
          <p:nvPr>
            <p:ph type="body" sz="quarter" idx="14" hasCustomPrompt="1"/>
          </p:nvPr>
        </p:nvSpPr>
        <p:spPr bwMode="white">
          <a:xfrm>
            <a:off x="6478070"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4" y="2011682"/>
            <a:ext cx="4563058" cy="2440001"/>
          </a:xfrm>
          <a:prstGeom prst="rect">
            <a:avLst/>
          </a:prstGeom>
        </p:spPr>
        <p:txBody>
          <a:bodyPr lIns="91440" tIns="45720" rIns="91440" bIns="45720" anchor="ctr">
            <a:noAutofit/>
          </a:bodyPr>
          <a:lstStyle>
            <a:lvl1pPr marL="152299" indent="-152299" algn="l" defTabSz="1218366" rtl="0" eaLnBrk="1" latinLnBrk="0" hangingPunct="1">
              <a:lnSpc>
                <a:spcPct val="95000"/>
              </a:lnSpc>
              <a:spcBef>
                <a:spcPts val="0"/>
              </a:spcBef>
              <a:buNone/>
              <a:defRPr lang="en-US" sz="2799" b="1" kern="1200" dirty="0" smtClean="0">
                <a:solidFill>
                  <a:schemeClr val="tx1"/>
                </a:solidFill>
                <a:latin typeface="Calibri" panose="020F0502020204030204" pitchFamily="34" charset="0"/>
                <a:ea typeface="+mn-ea"/>
                <a:cs typeface="Calibri" panose="020F0502020204030204" pitchFamily="34" charset="0"/>
              </a:defRPr>
            </a:lvl1pPr>
            <a:lvl2pPr marL="152299" indent="-152299" algn="l" defTabSz="1218366" rtl="0" eaLnBrk="1" latinLnBrk="0" hangingPunct="1">
              <a:defRPr lang="en-US" sz="2699" kern="1200" dirty="0" smtClean="0">
                <a:solidFill>
                  <a:schemeClr val="accent2"/>
                </a:solidFill>
                <a:latin typeface="Ciscolight" pitchFamily="2" charset="0"/>
                <a:ea typeface="+mn-ea"/>
                <a:cs typeface="+mn-cs"/>
              </a:defRPr>
            </a:lvl2pPr>
            <a:lvl3pPr marL="152299" indent="-152299" algn="l" defTabSz="1218366" rtl="0" eaLnBrk="1" latinLnBrk="0" hangingPunct="1">
              <a:defRPr lang="en-US" sz="2699" kern="1200" dirty="0" smtClean="0">
                <a:solidFill>
                  <a:schemeClr val="accent2"/>
                </a:solidFill>
                <a:latin typeface="Ciscolight" pitchFamily="2" charset="0"/>
                <a:ea typeface="+mn-ea"/>
                <a:cs typeface="+mn-cs"/>
              </a:defRPr>
            </a:lvl3pPr>
            <a:lvl4pPr marL="152299" indent="-152299" algn="l" defTabSz="1218366" rtl="0" eaLnBrk="1" latinLnBrk="0" hangingPunct="1">
              <a:defRPr lang="en-US" sz="2699" kern="1200" dirty="0" smtClean="0">
                <a:solidFill>
                  <a:schemeClr val="accent2"/>
                </a:solidFill>
                <a:latin typeface="Ciscolight" pitchFamily="2" charset="0"/>
                <a:ea typeface="+mn-ea"/>
                <a:cs typeface="+mn-cs"/>
              </a:defRPr>
            </a:lvl4pPr>
            <a:lvl5pPr marL="152299" indent="-152299" algn="l" defTabSz="1218366" rtl="0" eaLnBrk="1" latinLnBrk="0" hangingPunct="1">
              <a:defRPr lang="en-US" sz="2699"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3"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9"/>
            <a:ext cx="5074008" cy="3783163"/>
          </a:xfrm>
          <a:prstGeom prst="rect">
            <a:avLst/>
          </a:prstGeom>
        </p:spPr>
        <p:txBody>
          <a:bodyPr>
            <a:noAutofit/>
          </a:bodyPr>
          <a:lstStyle>
            <a:lvl1pPr marL="224260" indent="-224260">
              <a:lnSpc>
                <a:spcPct val="95000"/>
              </a:lnSpc>
              <a:buSzPct val="85000"/>
              <a:buFont typeface="Calibri" panose="020F0502020204030204" pitchFamily="34" charset="0"/>
              <a:buChar char="•"/>
              <a:defRPr sz="2399">
                <a:solidFill>
                  <a:schemeClr val="tx1"/>
                </a:solidFill>
              </a:defRPr>
            </a:lvl1pPr>
            <a:lvl2pPr marL="458650" indent="-228531">
              <a:lnSpc>
                <a:spcPct val="95000"/>
              </a:lnSpc>
              <a:buFont typeface="Calibri" panose="020F0502020204030204" pitchFamily="34" charset="0"/>
              <a:buChar char="−"/>
              <a:defRPr sz="1999"/>
            </a:lvl2pPr>
            <a:lvl3pPr>
              <a:defRPr sz="2099"/>
            </a:lvl3pPr>
            <a:lvl4pPr>
              <a:defRPr sz="1899"/>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2"/>
            <a:ext cx="2843213" cy="365125"/>
          </a:xfrm>
        </p:spPr>
        <p:txBody>
          <a:bodyPr/>
          <a:lstStyle>
            <a:lvl1pPr>
              <a:defRPr/>
            </a:lvl1pPr>
          </a:lstStyle>
          <a:p>
            <a:fld id="{DEA4E619-B820-4E56-B835-00DD6E9C1F73}"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1681952439"/>
      </p:ext>
    </p:extLst>
  </p:cSld>
  <p:clrMapOvr>
    <a:masterClrMapping/>
  </p:clrMapOvr>
  <p:transition>
    <p:fade/>
  </p:transition>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solidFill>
                <a:srgbClr val="FFFFFF">
                  <a:lumMod val="75000"/>
                </a:srgbClr>
              </a:solidFill>
            </a:endParaRPr>
          </a:p>
        </p:txBody>
      </p:sp>
      <p:sp>
        <p:nvSpPr>
          <p:cNvPr id="5" name="Gray gradient"/>
          <p:cNvSpPr/>
          <p:nvPr userDrawn="1"/>
        </p:nvSpPr>
        <p:spPr bwMode="auto">
          <a:xfrm>
            <a:off x="4241061"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80000"/>
              </a:lnSpc>
              <a:spcBef>
                <a:spcPts val="1200"/>
              </a:spcBef>
              <a:buClr>
                <a:srgbClr val="000000"/>
              </a:buClr>
              <a:buSzPct val="115000"/>
              <a:buFont typeface="Arial"/>
              <a:buNone/>
            </a:pPr>
            <a:endParaRPr lang="en-US" sz="2399" kern="0" dirty="0">
              <a:solidFill>
                <a:srgbClr val="000000"/>
              </a:solidFill>
              <a:latin typeface="Calibri" panose="020F0502020204030204" pitchFamily="34" charset="0"/>
              <a:cs typeface="Calibri" panose="020F0502020204030204" pitchFamily="34" charset="0"/>
              <a:sym typeface="Arial"/>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1" y="1399032"/>
            <a:ext cx="6730683" cy="4443814"/>
          </a:xfrm>
          <a:prstGeom prst="rect">
            <a:avLst/>
          </a:prstGeom>
        </p:spPr>
        <p:txBody>
          <a:bodyPr lIns="91440" tIns="45720" rIns="91440" bIns="45720" anchor="ctr" anchorCtr="0">
            <a:noAutofit/>
          </a:bodyPr>
          <a:lstStyle>
            <a:lvl1pPr marL="319944" indent="-319944">
              <a:lnSpc>
                <a:spcPct val="95000"/>
              </a:lnSpc>
              <a:buSzPct val="85000"/>
              <a:buFont typeface="Calibri" panose="020F0502020204030204" pitchFamily="34" charset="0"/>
              <a:buChar char="•"/>
              <a:defRPr sz="3199" baseline="0">
                <a:solidFill>
                  <a:schemeClr val="tx1"/>
                </a:solidFill>
                <a:latin typeface="Calibri" panose="020F0502020204030204" pitchFamily="34" charset="0"/>
                <a:cs typeface="Calibri" panose="020F0502020204030204" pitchFamily="34" charset="0"/>
              </a:defRPr>
            </a:lvl1pPr>
            <a:lvl2pPr marL="667312" indent="-237673">
              <a:lnSpc>
                <a:spcPct val="95000"/>
              </a:lnSpc>
              <a:defRPr sz="2699">
                <a:latin typeface="Calibri" panose="020F0502020204030204" pitchFamily="34" charset="0"/>
                <a:cs typeface="Calibri" panose="020F0502020204030204" pitchFamily="34" charset="0"/>
              </a:defRPr>
            </a:lvl2pPr>
            <a:lvl3pPr>
              <a:defRPr sz="2699"/>
            </a:lvl3pPr>
            <a:lvl4pPr>
              <a:defRPr sz="2699"/>
            </a:lvl4pPr>
            <a:lvl5pPr>
              <a:defRPr sz="2699"/>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417" rtl="0" eaLnBrk="1" latinLnBrk="0" hangingPunct="1">
              <a:lnSpc>
                <a:spcPct val="80000"/>
              </a:lnSpc>
              <a:spcBef>
                <a:spcPct val="0"/>
              </a:spcBef>
              <a:buClr>
                <a:schemeClr val="tx1"/>
              </a:buClr>
              <a:buFont typeface="Ciscolight" pitchFamily="2" charset="0"/>
              <a:buNone/>
              <a:defRPr lang="en-US" sz="3999"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2"/>
            <a:ext cx="2843213" cy="365125"/>
          </a:xfrm>
        </p:spPr>
        <p:txBody>
          <a:bodyPr/>
          <a:lstStyle>
            <a:lvl1pPr>
              <a:defRPr/>
            </a:lvl1pPr>
          </a:lstStyle>
          <a:p>
            <a:fld id="{25B14EA0-D077-4AF7-BC7C-65CF8C1E39C3}"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2741259563"/>
      </p:ext>
    </p:extLst>
  </p:cSld>
  <p:clrMapOvr>
    <a:masterClrMapping/>
  </p:clrMapOvr>
  <p:transition>
    <p:fade/>
  </p:transition>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8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3"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vl1pPr>
          </a:lstStyle>
          <a:p>
            <a:fld id="{0D2C66B6-F570-4D48-9AB5-501EA47F26DC}"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1404802730"/>
      </p:ext>
    </p:extLst>
  </p:cSld>
  <p:clrMapOvr>
    <a:masterClrMapping/>
  </p:clrMapOvr>
  <p:transition>
    <p:fade/>
  </p:transition>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9_Standard Title and Bullets">
    <p:spTree>
      <p:nvGrpSpPr>
        <p:cNvPr id="1" name=""/>
        <p:cNvGrpSpPr/>
        <p:nvPr/>
      </p:nvGrpSpPr>
      <p:grpSpPr>
        <a:xfrm>
          <a:off x="0" y="0"/>
          <a:ext cx="0" cy="0"/>
          <a:chOff x="0" y="0"/>
          <a:chExt cx="0" cy="0"/>
        </a:xfrm>
      </p:grpSpPr>
      <p:pic>
        <p:nvPicPr>
          <p:cNvPr id="8" name="Picture 7" descr="A picture containing outdoor, person, holding, drawing&#10;&#10;Description automatically generated">
            <a:extLst>
              <a:ext uri="{FF2B5EF4-FFF2-40B4-BE49-F238E27FC236}">
                <a16:creationId xmlns:a16="http://schemas.microsoft.com/office/drawing/2014/main" id="{1B78837F-643D-7549-99F2-0DAFF021468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1" y="2"/>
            <a:ext cx="12188825" cy="6486273"/>
          </a:xfrm>
          <a:prstGeom prst="rect">
            <a:avLst/>
          </a:prstGeom>
        </p:spPr>
      </p:pic>
      <p:sp>
        <p:nvSpPr>
          <p:cNvPr id="4" name="Rectangle 3">
            <a:extLst>
              <a:ext uri="{FF2B5EF4-FFF2-40B4-BE49-F238E27FC236}">
                <a16:creationId xmlns:a16="http://schemas.microsoft.com/office/drawing/2014/main" id="{53AB380A-A884-2545-A397-F11FECBE70BD}"/>
              </a:ext>
            </a:extLst>
          </p:cNvPr>
          <p:cNvSpPr/>
          <p:nvPr userDrawn="1"/>
        </p:nvSpPr>
        <p:spPr bwMode="auto">
          <a:xfrm>
            <a:off x="1" y="0"/>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399" kern="0" dirty="0">
              <a:solidFill>
                <a:srgbClr val="000000"/>
              </a:solidFill>
              <a:latin typeface="Calibri" panose="020F0502020204030204" pitchFamily="34" charset="0"/>
              <a:cs typeface="Calibri" panose="020F0502020204030204" pitchFamily="34" charset="0"/>
              <a:sym typeface="Arial"/>
            </a:endParaRPr>
          </a:p>
        </p:txBody>
      </p:sp>
      <p:sp>
        <p:nvSpPr>
          <p:cNvPr id="9" name="Rectangle 8">
            <a:extLst>
              <a:ext uri="{FF2B5EF4-FFF2-40B4-BE49-F238E27FC236}">
                <a16:creationId xmlns:a16="http://schemas.microsoft.com/office/drawing/2014/main" id="{F94B2798-40FD-D744-9CA1-FF4F7F89390D}"/>
              </a:ext>
            </a:extLst>
          </p:cNvPr>
          <p:cNvSpPr/>
          <p:nvPr userDrawn="1"/>
        </p:nvSpPr>
        <p:spPr bwMode="auto">
          <a:xfrm rot="10800000">
            <a:off x="1" y="2871203"/>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399" kern="0" dirty="0">
              <a:solidFill>
                <a:srgbClr val="000000"/>
              </a:solidFill>
              <a:latin typeface="Calibri" panose="020F0502020204030204" pitchFamily="34" charset="0"/>
              <a:cs typeface="Calibri" panose="020F0502020204030204" pitchFamily="34" charset="0"/>
              <a:sym typeface="Arial"/>
            </a:endParaRPr>
          </a:p>
        </p:txBody>
      </p:sp>
      <p:sp>
        <p:nvSpPr>
          <p:cNvPr id="5" name="Slide Title"/>
          <p:cNvSpPr>
            <a:spLocks noGrp="1"/>
          </p:cNvSpPr>
          <p:nvPr>
            <p:ph type="title"/>
          </p:nvPr>
        </p:nvSpPr>
        <p:spPr>
          <a:xfrm>
            <a:off x="583843"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vl1pPr>
          </a:lstStyle>
          <a:p>
            <a:fld id="{074E79D6-FDEE-401D-A907-4831EE5E23E4}" type="datetimeFigureOut">
              <a:rPr lang="en-US" smtClean="0">
                <a:solidFill>
                  <a:srgbClr val="4D4D4F">
                    <a:tint val="75000"/>
                  </a:srgbClr>
                </a:solidFill>
              </a:rPr>
              <a:pPr/>
              <a:t>29-Feb-24</a:t>
            </a:fld>
            <a:endParaRPr lang="en-US" dirty="0">
              <a:solidFill>
                <a:srgbClr val="4D4D4F">
                  <a:tint val="75000"/>
                </a:srgbClr>
              </a:solidFill>
            </a:endParaRPr>
          </a:p>
        </p:txBody>
      </p:sp>
    </p:spTree>
    <p:extLst>
      <p:ext uri="{BB962C8B-B14F-4D97-AF65-F5344CB8AC3E}">
        <p14:creationId xmlns:p14="http://schemas.microsoft.com/office/powerpoint/2010/main" val="3616884873"/>
      </p:ext>
    </p:extLst>
  </p:cSld>
  <p:clrMapOvr>
    <a:masterClrMapping/>
  </p:clrMapOvr>
  <p:transition>
    <p:fade/>
  </p:transition>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pic>
        <p:nvPicPr>
          <p:cNvPr id="5" name="Picture 4" descr="A person posing for the camera  Description automatically generated">
            <a:extLst>
              <a:ext uri="{FF2B5EF4-FFF2-40B4-BE49-F238E27FC236}">
                <a16:creationId xmlns:a16="http://schemas.microsoft.com/office/drawing/2014/main" id="{1D605E35-9CCF-424D-8841-387FE1786400}"/>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 y="0"/>
            <a:ext cx="12188824" cy="6165850"/>
          </a:xfrm>
          <a:prstGeom prst="rect">
            <a:avLst/>
          </a:prstGeom>
        </p:spPr>
      </p:pic>
      <p:sp>
        <p:nvSpPr>
          <p:cNvPr id="4" name="Date" hidden="1"/>
          <p:cNvSpPr>
            <a:spLocks noGrp="1"/>
          </p:cNvSpPr>
          <p:nvPr>
            <p:ph type="dt" sz="half" idx="11"/>
          </p:nvPr>
        </p:nvSpPr>
        <p:spPr/>
        <p:txBody>
          <a:bodyPr/>
          <a:lstStyle>
            <a:lvl1pPr>
              <a:defRPr/>
            </a:lvl1pPr>
          </a:lstStyle>
          <a:p>
            <a:fld id="{285138E8-3F3E-4DC5-A5FA-50868B94627A}" type="datetimeFigureOut">
              <a:rPr lang="en-US" smtClean="0">
                <a:solidFill>
                  <a:srgbClr val="4D4D4F">
                    <a:tint val="75000"/>
                  </a:srgbClr>
                </a:solidFill>
              </a:rPr>
              <a:pPr/>
              <a:t>29-Feb-24</a:t>
            </a:fld>
            <a:endParaRPr lang="en-US" dirty="0">
              <a:solidFill>
                <a:srgbClr val="4D4D4F">
                  <a:tint val="75000"/>
                </a:srgbClr>
              </a:solidFill>
            </a:endParaRPr>
          </a:p>
        </p:txBody>
      </p:sp>
      <p:sp>
        <p:nvSpPr>
          <p:cNvPr id="2" name="Footer Placeholder 1" hidden="1"/>
          <p:cNvSpPr>
            <a:spLocks noGrp="1"/>
          </p:cNvSpPr>
          <p:nvPr>
            <p:ph type="ftr" sz="quarter" idx="12"/>
          </p:nvPr>
        </p:nvSpPr>
        <p:spPr>
          <a:xfrm>
            <a:off x="4037013" y="6356352"/>
            <a:ext cx="4114800" cy="365125"/>
          </a:xfrm>
          <a:prstGeom prst="rect">
            <a:avLst/>
          </a:prstGeom>
        </p:spPr>
        <p:txBody>
          <a:bodyPr/>
          <a:lstStyle>
            <a:lvl1pPr>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3570979398"/>
      </p:ext>
    </p:extLst>
  </p:cSld>
  <p:clrMapOvr>
    <a:masterClrMapping/>
  </p:clrMapOvr>
  <p:transition>
    <p:fade/>
  </p:transition>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lide Title"/>
          <p:cNvSpPr>
            <a:spLocks noGrp="1"/>
          </p:cNvSpPr>
          <p:nvPr>
            <p:ph type="title"/>
          </p:nvPr>
        </p:nvSpPr>
        <p:spPr>
          <a:xfrm>
            <a:off x="583845"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5"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6"/>
            <a:ext cx="2843213" cy="365125"/>
          </a:xfrm>
        </p:spPr>
        <p:txBody>
          <a:bodyPr/>
          <a:lstStyle>
            <a:lvl1pPr>
              <a:defRPr/>
            </a:lvl1pPr>
          </a:lstStyle>
          <a:p>
            <a:fld id="{CF0E1690-FFBA-4DAF-B44A-36E39ACA0346}" type="datetimeFigureOut">
              <a:rPr lang="en-US" smtClean="0"/>
              <a:pPr/>
              <a:t>29-Feb-24</a:t>
            </a:fld>
            <a:endParaRPr lang="en-US" dirty="0"/>
          </a:p>
        </p:txBody>
      </p:sp>
    </p:spTree>
    <p:extLst>
      <p:ext uri="{BB962C8B-B14F-4D97-AF65-F5344CB8AC3E}">
        <p14:creationId xmlns:p14="http://schemas.microsoft.com/office/powerpoint/2010/main" val="2809025233"/>
      </p:ext>
    </p:extLst>
  </p:cSld>
  <p:clrMapOvr>
    <a:masterClrMapping/>
  </p:clrMapOvr>
  <p:transition>
    <p:fade/>
  </p:transition>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_Standard Title and Bullets">
  <p:cSld name="3_Standard Title and Bullets">
    <p:spTree>
      <p:nvGrpSpPr>
        <p:cNvPr id="1" name="Shape 66"/>
        <p:cNvGrpSpPr/>
        <p:nvPr/>
      </p:nvGrpSpPr>
      <p:grpSpPr>
        <a:xfrm>
          <a:off x="0" y="0"/>
          <a:ext cx="0" cy="0"/>
          <a:chOff x="0" y="0"/>
          <a:chExt cx="0" cy="0"/>
        </a:xfrm>
      </p:grpSpPr>
      <p:sp>
        <p:nvSpPr>
          <p:cNvPr id="68" name="Google Shape;68;p68" hidden="1"/>
          <p:cNvSpPr txBox="1">
            <a:spLocks noGrp="1"/>
          </p:cNvSpPr>
          <p:nvPr>
            <p:ph type="dt" idx="10"/>
          </p:nvPr>
        </p:nvSpPr>
        <p:spPr>
          <a:xfrm>
            <a:off x="-2991244" y="6356350"/>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 name="Footer Placeholder 1" hidden="1"/>
          <p:cNvSpPr>
            <a:spLocks noGrp="1"/>
          </p:cNvSpPr>
          <p:nvPr>
            <p:ph type="ftr" sz="quarter" idx="11"/>
          </p:nvPr>
        </p:nvSpPr>
        <p:spPr>
          <a:xfrm>
            <a:off x="4037013" y="6356350"/>
            <a:ext cx="41148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3900886771"/>
      </p:ext>
    </p:extLst>
  </p:cSld>
  <p:clrMapOvr>
    <a:masterClrMapping/>
  </p:clrMapOvr>
  <p:transition>
    <p:fade/>
  </p:transition>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lide Title"/>
          <p:cNvSpPr>
            <a:spLocks noGrp="1"/>
          </p:cNvSpPr>
          <p:nvPr>
            <p:ph type="title"/>
          </p:nvPr>
        </p:nvSpPr>
        <p:spPr>
          <a:xfrm>
            <a:off x="583845"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393" indent="-228393">
              <a:lnSpc>
                <a:spcPct val="95000"/>
              </a:lnSpc>
              <a:spcBef>
                <a:spcPts val="1000"/>
              </a:spcBef>
              <a:buClr>
                <a:schemeClr val="tx2"/>
              </a:buClr>
              <a:buSzPct val="85000"/>
              <a:buFont typeface="Arial" panose="020B0604020202020204" pitchFamily="34" charset="0"/>
              <a:buChar char="•"/>
              <a:defRPr sz="23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997">
                <a:solidFill>
                  <a:schemeClr val="tx1"/>
                </a:solidFill>
              </a:defRPr>
            </a:lvl2pPr>
            <a:lvl3pPr marL="703455" indent="-155307">
              <a:lnSpc>
                <a:spcPct val="95000"/>
              </a:lnSpc>
              <a:spcBef>
                <a:spcPts val="800"/>
              </a:spcBef>
              <a:buClr>
                <a:schemeClr val="tx2"/>
              </a:buClr>
              <a:buFont typeface="Arial" panose="020B0604020202020204" pitchFamily="34" charset="0"/>
              <a:buChar char="•"/>
              <a:defRPr sz="1797">
                <a:solidFill>
                  <a:schemeClr val="tx1"/>
                </a:solidFill>
              </a:defRPr>
            </a:lvl3pPr>
            <a:lvl4pPr marL="904442" indent="-155307">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393" indent="-228393">
              <a:lnSpc>
                <a:spcPct val="95000"/>
              </a:lnSpc>
              <a:spcBef>
                <a:spcPts val="1000"/>
              </a:spcBef>
              <a:buClr>
                <a:schemeClr val="tx2"/>
              </a:buClr>
              <a:buSzPct val="85000"/>
              <a:buFont typeface="Arial" panose="020B0604020202020204" pitchFamily="34" charset="0"/>
              <a:buChar char="•"/>
              <a:defRPr sz="23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997">
                <a:solidFill>
                  <a:schemeClr val="tx1"/>
                </a:solidFill>
              </a:defRPr>
            </a:lvl2pPr>
            <a:lvl3pPr marL="703455" indent="-155307">
              <a:lnSpc>
                <a:spcPct val="95000"/>
              </a:lnSpc>
              <a:spcBef>
                <a:spcPts val="800"/>
              </a:spcBef>
              <a:buClr>
                <a:schemeClr val="tx2"/>
              </a:buClr>
              <a:buFont typeface="Arial" panose="020B0604020202020204" pitchFamily="34" charset="0"/>
              <a:buChar char="•"/>
              <a:defRPr sz="1797">
                <a:solidFill>
                  <a:schemeClr val="tx1"/>
                </a:solidFill>
              </a:defRPr>
            </a:lvl3pPr>
            <a:lvl4pPr marL="904442" indent="-155307">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a:xfrm>
            <a:off x="-2996626" y="6356356"/>
            <a:ext cx="2843213" cy="365125"/>
          </a:xfrm>
        </p:spPr>
        <p:txBody>
          <a:bodyPr/>
          <a:lstStyle>
            <a:lvl1pPr>
              <a:defRPr/>
            </a:lvl1pPr>
          </a:lstStyle>
          <a:p>
            <a:fld id="{8F2A6A3B-A6C9-4C0C-BBE8-3BEF53BED0C3}" type="datetimeFigureOut">
              <a:rPr lang="en-US" smtClean="0"/>
              <a:pPr/>
              <a:t>29-Feb-24</a:t>
            </a:fld>
            <a:endParaRPr lang="en-US" dirty="0"/>
          </a:p>
        </p:txBody>
      </p:sp>
    </p:spTree>
    <p:extLst>
      <p:ext uri="{BB962C8B-B14F-4D97-AF65-F5344CB8AC3E}">
        <p14:creationId xmlns:p14="http://schemas.microsoft.com/office/powerpoint/2010/main" val="1118943130"/>
      </p:ext>
    </p:extLst>
  </p:cSld>
  <p:clrMapOvr>
    <a:masterClrMapping/>
  </p:clrMapOvr>
  <p:transition>
    <p:fade/>
  </p:transition>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Sub-title_column 3"/>
          <p:cNvSpPr>
            <a:spLocks noGrp="1"/>
          </p:cNvSpPr>
          <p:nvPr>
            <p:ph type="body" sz="quarter" idx="16"/>
          </p:nvPr>
        </p:nvSpPr>
        <p:spPr>
          <a:xfrm>
            <a:off x="8289005" y="1525707"/>
            <a:ext cx="3345117"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797">
                <a:solidFill>
                  <a:srgbClr val="4D4D4F"/>
                </a:solidFill>
              </a:defRPr>
            </a:lvl1pPr>
          </a:lstStyle>
          <a:p>
            <a:pPr lvl="0"/>
            <a:r>
              <a:rPr lang="en-US"/>
              <a:t>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rgbClr val="4D4D4F"/>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3" y="2560978"/>
            <a:ext cx="3337560" cy="3601231"/>
          </a:xfrm>
          <a:prstGeom prst="rect">
            <a:avLst/>
          </a:prstGeom>
        </p:spPr>
        <p:txBody>
          <a:bodyPr lIns="91440" tIns="91440" rIns="91440" bIns="91440">
            <a:noAutofit/>
          </a:bodyPr>
          <a:lstStyle>
            <a:lvl1pPr marL="228393" indent="-228393">
              <a:lnSpc>
                <a:spcPct val="95000"/>
              </a:lnSpc>
              <a:spcBef>
                <a:spcPts val="1000"/>
              </a:spcBef>
              <a:buClr>
                <a:schemeClr val="tx2"/>
              </a:buClr>
              <a:buSzPct val="85000"/>
              <a:buFont typeface="Arial" panose="020B0604020202020204" pitchFamily="34" charset="0"/>
              <a:buChar char="•"/>
              <a:defRPr sz="1997">
                <a:solidFill>
                  <a:schemeClr val="tx1"/>
                </a:solidFill>
              </a:defRPr>
            </a:lvl1pPr>
            <a:lvl2pPr marL="475059" indent="-228393">
              <a:lnSpc>
                <a:spcPct val="95000"/>
              </a:lnSpc>
              <a:spcBef>
                <a:spcPts val="800"/>
              </a:spcBef>
              <a:buClr>
                <a:schemeClr val="tx2"/>
              </a:buClr>
              <a:buFont typeface="Arial" panose="020B0604020202020204" pitchFamily="34" charset="0"/>
              <a:buChar char="•"/>
              <a:defRPr sz="1797">
                <a:solidFill>
                  <a:schemeClr val="tx1"/>
                </a:solidFill>
              </a:defRPr>
            </a:lvl2pPr>
            <a:lvl3pPr marL="685182" indent="-155307">
              <a:lnSpc>
                <a:spcPct val="95000"/>
              </a:lnSpc>
              <a:spcBef>
                <a:spcPts val="800"/>
              </a:spcBef>
              <a:buClr>
                <a:schemeClr val="tx2"/>
              </a:buClr>
              <a:buFont typeface="Arial" panose="020B0604020202020204" pitchFamily="34" charset="0"/>
              <a:buChar char="•"/>
              <a:tabLst>
                <a:tab pos="688354" algn="l"/>
              </a:tabLst>
              <a:defRPr sz="1600">
                <a:solidFill>
                  <a:schemeClr val="tx1"/>
                </a:solidFill>
              </a:defRPr>
            </a:lvl3pPr>
            <a:lvl4pPr marL="886170" indent="-155307">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a:xfrm>
            <a:off x="-3119916" y="6356356"/>
            <a:ext cx="2843213" cy="365125"/>
          </a:xfrm>
        </p:spPr>
        <p:txBody>
          <a:bodyPr/>
          <a:lstStyle>
            <a:lvl1pPr>
              <a:defRPr/>
            </a:lvl1pPr>
          </a:lstStyle>
          <a:p>
            <a:fld id="{B4E2EE95-4511-40DC-8811-39B6C5014E5F}" type="datetimeFigureOut">
              <a:rPr lang="en-US" smtClean="0"/>
              <a:pPr/>
              <a:t>29-Feb-24</a:t>
            </a:fld>
            <a:endParaRPr lang="en-US" dirty="0"/>
          </a:p>
        </p:txBody>
      </p:sp>
    </p:spTree>
    <p:extLst>
      <p:ext uri="{BB962C8B-B14F-4D97-AF65-F5344CB8AC3E}">
        <p14:creationId xmlns:p14="http://schemas.microsoft.com/office/powerpoint/2010/main" val="1025763606"/>
      </p:ext>
    </p:extLst>
  </p:cSld>
  <p:clrMapOvr>
    <a:masterClrMapping/>
  </p:clrMapOvr>
  <p:transition>
    <p:fade/>
  </p:transition>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endParaRPr lang="en-US" dirty="0"/>
          </a:p>
        </p:txBody>
      </p:sp>
      <p:sp>
        <p:nvSpPr>
          <p:cNvPr id="3" name="Date Placeholder 2"/>
          <p:cNvSpPr>
            <a:spLocks noGrp="1"/>
          </p:cNvSpPr>
          <p:nvPr>
            <p:ph type="dt" sz="half" idx="12"/>
          </p:nvPr>
        </p:nvSpPr>
        <p:spPr>
          <a:xfrm>
            <a:off x="-3068546" y="6356356"/>
            <a:ext cx="2843213" cy="365125"/>
          </a:xfrm>
        </p:spPr>
        <p:txBody>
          <a:bodyPr/>
          <a:lstStyle>
            <a:lvl1pPr>
              <a:defRPr/>
            </a:lvl1pPr>
          </a:lstStyle>
          <a:p>
            <a:fld id="{BA761656-1249-4F38-99F8-ACF2559DA4D2}" type="datetimeFigureOut">
              <a:rPr lang="en-US" smtClean="0"/>
              <a:pPr/>
              <a:t>29-Feb-24</a:t>
            </a:fld>
            <a:endParaRPr lang="en-US" dirty="0"/>
          </a:p>
        </p:txBody>
      </p:sp>
    </p:spTree>
    <p:extLst>
      <p:ext uri="{BB962C8B-B14F-4D97-AF65-F5344CB8AC3E}">
        <p14:creationId xmlns:p14="http://schemas.microsoft.com/office/powerpoint/2010/main" val="52657744"/>
      </p:ext>
    </p:extLst>
  </p:cSld>
  <p:clrMapOvr>
    <a:masterClrMapping/>
  </p:clrMapOvr>
  <p:transition>
    <p:fade/>
  </p:transition>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3017177" y="6356356"/>
            <a:ext cx="2843213" cy="365125"/>
          </a:xfrm>
        </p:spPr>
        <p:txBody>
          <a:bodyPr/>
          <a:lstStyle>
            <a:lvl1pPr>
              <a:defRPr/>
            </a:lvl1pPr>
          </a:lstStyle>
          <a:p>
            <a:fld id="{C21F6912-E12D-42E4-A1B4-78CBD40CB479}" type="datetimeFigureOut">
              <a:rPr lang="en-US" smtClean="0"/>
              <a:pPr/>
              <a:t>29-Feb-24</a:t>
            </a:fld>
            <a:endParaRPr lang="en-US" dirty="0"/>
          </a:p>
        </p:txBody>
      </p:sp>
    </p:spTree>
    <p:extLst>
      <p:ext uri="{BB962C8B-B14F-4D97-AF65-F5344CB8AC3E}">
        <p14:creationId xmlns:p14="http://schemas.microsoft.com/office/powerpoint/2010/main" val="3120043335"/>
      </p:ext>
    </p:extLst>
  </p:cSld>
  <p:clrMapOvr>
    <a:masterClrMapping/>
  </p:clrMapOvr>
  <p:transition>
    <p:fade/>
  </p:transition>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grpSp>
        <p:nvGrpSpPr>
          <p:cNvPr id="5" name="Pink Background"/>
          <p:cNvGrpSpPr/>
          <p:nvPr userDrawn="1"/>
        </p:nvGrpSpPr>
        <p:grpSpPr>
          <a:xfrm>
            <a:off x="5929633"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197" dirty="0">
                <a:latin typeface="+mn-lt"/>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lnSpc>
                  <a:spcPct val="80000"/>
                </a:lnSpc>
                <a:spcBef>
                  <a:spcPts val="1600"/>
                </a:spcBef>
                <a:spcAft>
                  <a:spcPts val="0"/>
                </a:spcAft>
                <a:buSzPct val="115000"/>
              </a:pPr>
              <a:endParaRPr lang="en-US" sz="3197" dirty="0">
                <a:latin typeface="+mn-lt"/>
                <a:cs typeface="Calibri" panose="020F0502020204030204" pitchFamily="34" charset="0"/>
              </a:endParaRPr>
            </a:p>
          </p:txBody>
        </p:sp>
      </p:grpSp>
      <p:sp>
        <p:nvSpPr>
          <p:cNvPr id="8" name="Credit text"/>
          <p:cNvSpPr>
            <a:spLocks noGrp="1"/>
          </p:cNvSpPr>
          <p:nvPr>
            <p:ph type="body" sz="quarter" idx="14" hasCustomPrompt="1"/>
          </p:nvPr>
        </p:nvSpPr>
        <p:spPr bwMode="white">
          <a:xfrm>
            <a:off x="6478072"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6" y="2011686"/>
            <a:ext cx="4563058" cy="2440001"/>
          </a:xfrm>
          <a:prstGeom prst="rect">
            <a:avLst/>
          </a:prstGeom>
        </p:spPr>
        <p:txBody>
          <a:bodyPr lIns="91440" tIns="45720" rIns="91440" bIns="45720" anchor="ctr">
            <a:noAutofit/>
          </a:bodyPr>
          <a:lstStyle>
            <a:lvl1pPr marL="152207" indent="-152207" algn="l" defTabSz="1217635" rtl="0" eaLnBrk="1" latinLnBrk="0" hangingPunct="1">
              <a:lnSpc>
                <a:spcPct val="95000"/>
              </a:lnSpc>
              <a:spcBef>
                <a:spcPts val="0"/>
              </a:spcBef>
              <a:buNone/>
              <a:defRPr lang="en-US" sz="2797" b="1" kern="1200" dirty="0" smtClean="0">
                <a:solidFill>
                  <a:schemeClr val="tx1"/>
                </a:solidFill>
                <a:latin typeface="Calibri" panose="020F0502020204030204" pitchFamily="34" charset="0"/>
                <a:ea typeface="+mn-ea"/>
                <a:cs typeface="Calibri" panose="020F0502020204030204" pitchFamily="34" charset="0"/>
              </a:defRPr>
            </a:lvl1pPr>
            <a:lvl2pPr marL="152207" indent="-152207" algn="l" defTabSz="1217635" rtl="0" eaLnBrk="1" latinLnBrk="0" hangingPunct="1">
              <a:defRPr lang="en-US" sz="2697" kern="1200" dirty="0" smtClean="0">
                <a:solidFill>
                  <a:schemeClr val="accent2"/>
                </a:solidFill>
                <a:latin typeface="Ciscolight" pitchFamily="2" charset="0"/>
                <a:ea typeface="+mn-ea"/>
                <a:cs typeface="+mn-cs"/>
              </a:defRPr>
            </a:lvl2pPr>
            <a:lvl3pPr marL="152207" indent="-152207" algn="l" defTabSz="1217635" rtl="0" eaLnBrk="1" latinLnBrk="0" hangingPunct="1">
              <a:defRPr lang="en-US" sz="2697" kern="1200" dirty="0" smtClean="0">
                <a:solidFill>
                  <a:schemeClr val="accent2"/>
                </a:solidFill>
                <a:latin typeface="Ciscolight" pitchFamily="2" charset="0"/>
                <a:ea typeface="+mn-ea"/>
                <a:cs typeface="+mn-cs"/>
              </a:defRPr>
            </a:lvl3pPr>
            <a:lvl4pPr marL="152207" indent="-152207" algn="l" defTabSz="1217635" rtl="0" eaLnBrk="1" latinLnBrk="0" hangingPunct="1">
              <a:defRPr lang="en-US" sz="2697" kern="1200" dirty="0" smtClean="0">
                <a:solidFill>
                  <a:schemeClr val="accent2"/>
                </a:solidFill>
                <a:latin typeface="Ciscolight" pitchFamily="2" charset="0"/>
                <a:ea typeface="+mn-ea"/>
                <a:cs typeface="+mn-cs"/>
              </a:defRPr>
            </a:lvl4pPr>
            <a:lvl5pPr marL="152207" indent="-152207" algn="l" defTabSz="1217635" rtl="0" eaLnBrk="1" latinLnBrk="0" hangingPunct="1">
              <a:defRPr lang="en-US" sz="2697"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5"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42"/>
            <a:ext cx="5074008" cy="3783163"/>
          </a:xfrm>
          <a:prstGeom prst="rect">
            <a:avLst/>
          </a:prstGeom>
        </p:spPr>
        <p:txBody>
          <a:bodyPr>
            <a:noAutofit/>
          </a:bodyPr>
          <a:lstStyle>
            <a:lvl1pPr marL="224126" indent="-224126">
              <a:lnSpc>
                <a:spcPct val="95000"/>
              </a:lnSpc>
              <a:buSzPct val="85000"/>
              <a:buFont typeface="Calibri" panose="020F0502020204030204" pitchFamily="34" charset="0"/>
              <a:buChar char="•"/>
              <a:defRPr sz="2397">
                <a:solidFill>
                  <a:schemeClr val="tx1"/>
                </a:solidFill>
              </a:defRPr>
            </a:lvl1pPr>
            <a:lvl2pPr marL="458374" indent="-228393">
              <a:lnSpc>
                <a:spcPct val="95000"/>
              </a:lnSpc>
              <a:buFont typeface="Calibri" panose="020F0502020204030204" pitchFamily="34" charset="0"/>
              <a:buChar char="−"/>
              <a:defRPr sz="1997"/>
            </a:lvl2pPr>
            <a:lvl3pPr>
              <a:defRPr sz="2097"/>
            </a:lvl3pPr>
            <a:lvl4pPr>
              <a:defRPr sz="1897"/>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6"/>
            <a:ext cx="2843213" cy="365125"/>
          </a:xfrm>
        </p:spPr>
        <p:txBody>
          <a:bodyPr/>
          <a:lstStyle>
            <a:lvl1pPr>
              <a:defRPr/>
            </a:lvl1pPr>
          </a:lstStyle>
          <a:p>
            <a:fld id="{DEA4E619-B820-4E56-B835-00DD6E9C1F73}" type="datetimeFigureOut">
              <a:rPr lang="en-US" smtClean="0"/>
              <a:pPr/>
              <a:t>29-Feb-24</a:t>
            </a:fld>
            <a:endParaRPr lang="en-US" dirty="0"/>
          </a:p>
        </p:txBody>
      </p:sp>
    </p:spTree>
    <p:extLst>
      <p:ext uri="{BB962C8B-B14F-4D97-AF65-F5344CB8AC3E}">
        <p14:creationId xmlns:p14="http://schemas.microsoft.com/office/powerpoint/2010/main" val="3660563889"/>
      </p:ext>
    </p:extLst>
  </p:cSld>
  <p:clrMapOvr>
    <a:masterClrMapping/>
  </p:clrMapOvr>
  <p:transition>
    <p:fade/>
  </p:transition>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5" name="Gray gradient"/>
          <p:cNvSpPr/>
          <p:nvPr userDrawn="1"/>
        </p:nvSpPr>
        <p:spPr bwMode="auto">
          <a:xfrm>
            <a:off x="4241063"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397" dirty="0">
              <a:latin typeface="+mn-lt"/>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3" y="1399032"/>
            <a:ext cx="6730683" cy="4443814"/>
          </a:xfrm>
          <a:prstGeom prst="rect">
            <a:avLst/>
          </a:prstGeom>
        </p:spPr>
        <p:txBody>
          <a:bodyPr lIns="91440" tIns="45720" rIns="91440" bIns="45720" anchor="ctr" anchorCtr="0">
            <a:noAutofit/>
          </a:bodyPr>
          <a:lstStyle>
            <a:lvl1pPr marL="319752" indent="-319752">
              <a:lnSpc>
                <a:spcPct val="95000"/>
              </a:lnSpc>
              <a:buSzPct val="85000"/>
              <a:buFont typeface="Calibri" panose="020F0502020204030204" pitchFamily="34" charset="0"/>
              <a:buChar char="•"/>
              <a:defRPr sz="3197" baseline="0">
                <a:solidFill>
                  <a:schemeClr val="tx1"/>
                </a:solidFill>
                <a:latin typeface="Calibri" panose="020F0502020204030204" pitchFamily="34" charset="0"/>
                <a:cs typeface="Calibri" panose="020F0502020204030204" pitchFamily="34" charset="0"/>
              </a:defRPr>
            </a:lvl1pPr>
            <a:lvl2pPr marL="666912" indent="-237531">
              <a:lnSpc>
                <a:spcPct val="95000"/>
              </a:lnSpc>
              <a:defRPr sz="2697">
                <a:latin typeface="Calibri" panose="020F0502020204030204" pitchFamily="34" charset="0"/>
                <a:cs typeface="Calibri" panose="020F0502020204030204" pitchFamily="34" charset="0"/>
              </a:defRPr>
            </a:lvl2pPr>
            <a:lvl3pPr>
              <a:defRPr sz="2697"/>
            </a:lvl3pPr>
            <a:lvl4pPr>
              <a:defRPr sz="2697"/>
            </a:lvl4pPr>
            <a:lvl5pPr>
              <a:defRPr sz="2697"/>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7686" rtl="0" eaLnBrk="1" latinLnBrk="0" hangingPunct="1">
              <a:lnSpc>
                <a:spcPct val="80000"/>
              </a:lnSpc>
              <a:spcBef>
                <a:spcPct val="0"/>
              </a:spcBef>
              <a:buClr>
                <a:schemeClr val="tx1"/>
              </a:buClr>
              <a:buFont typeface="Ciscolight" pitchFamily="2" charset="0"/>
              <a:buNone/>
              <a:defRPr lang="en-US" sz="3997"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6"/>
            <a:ext cx="2843213" cy="365125"/>
          </a:xfrm>
        </p:spPr>
        <p:txBody>
          <a:bodyPr/>
          <a:lstStyle>
            <a:lvl1pPr>
              <a:defRPr/>
            </a:lvl1pPr>
          </a:lstStyle>
          <a:p>
            <a:fld id="{25B14EA0-D077-4AF7-BC7C-65CF8C1E39C3}" type="datetimeFigureOut">
              <a:rPr lang="en-US" smtClean="0"/>
              <a:pPr/>
              <a:t>29-Feb-24</a:t>
            </a:fld>
            <a:endParaRPr lang="en-US" dirty="0"/>
          </a:p>
        </p:txBody>
      </p:sp>
    </p:spTree>
    <p:extLst>
      <p:ext uri="{BB962C8B-B14F-4D97-AF65-F5344CB8AC3E}">
        <p14:creationId xmlns:p14="http://schemas.microsoft.com/office/powerpoint/2010/main" val="3614208095"/>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endParaRPr lang="en-US" dirty="0"/>
          </a:p>
        </p:txBody>
      </p:sp>
      <p:sp>
        <p:nvSpPr>
          <p:cNvPr id="2" name="Date Placeholder 1"/>
          <p:cNvSpPr>
            <a:spLocks noGrp="1"/>
          </p:cNvSpPr>
          <p:nvPr>
            <p:ph type="dt" sz="half" idx="12"/>
          </p:nvPr>
        </p:nvSpPr>
        <p:spPr>
          <a:xfrm>
            <a:off x="-2991244" y="6356356"/>
            <a:ext cx="2843213" cy="365125"/>
          </a:xfrm>
        </p:spPr>
        <p:txBody>
          <a:bodyPr/>
          <a:lstStyle>
            <a:lvl1pPr>
              <a:defRPr/>
            </a:lvl1pPr>
          </a:lstStyle>
          <a:p>
            <a:fld id="{CF0E1690-FFBA-4DAF-B44A-36E39ACA0346}" type="datetimeFigureOut">
              <a:rPr lang="en-US" smtClean="0"/>
              <a:pPr/>
              <a:t>29-Feb-24</a:t>
            </a:fld>
            <a:endParaRPr lang="en-US" dirty="0"/>
          </a:p>
        </p:txBody>
      </p:sp>
    </p:spTree>
    <p:extLst>
      <p:ext uri="{BB962C8B-B14F-4D97-AF65-F5344CB8AC3E}">
        <p14:creationId xmlns:p14="http://schemas.microsoft.com/office/powerpoint/2010/main" val="1049106273"/>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0733" y="1325880"/>
            <a:ext cx="11283128" cy="4992624"/>
          </a:xfrm>
        </p:spPr>
        <p:txBody>
          <a:bodyPr/>
          <a:lstStyle>
            <a:lvl1pPr marL="285492" indent="-285492">
              <a:spcBef>
                <a:spcPts val="1797"/>
              </a:spcBef>
              <a:defRPr sz="2397"/>
            </a:lvl1pPr>
            <a:lvl2pPr>
              <a:defRPr sz="2197"/>
            </a:lvl2pPr>
            <a:lvl3pPr>
              <a:defRPr sz="1997"/>
            </a:lvl3pPr>
            <a:lvl4pPr>
              <a:defRPr sz="179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hidden="1"/>
          <p:cNvSpPr>
            <a:spLocks noGrp="1"/>
          </p:cNvSpPr>
          <p:nvPr>
            <p:ph type="ftr" sz="quarter" idx="10"/>
          </p:nvPr>
        </p:nvSpPr>
        <p:spPr>
          <a:xfrm>
            <a:off x="2877917" y="6553372"/>
            <a:ext cx="5281824" cy="304799"/>
          </a:xfrm>
          <a:prstGeom prst="rect">
            <a:avLst/>
          </a:prstGeom>
        </p:spPr>
        <p:txBody>
          <a:bodyPr anchor="ctr" anchorCtr="0"/>
          <a:lstStyle>
            <a:lvl1pPr>
              <a:defRPr sz="1100"/>
            </a:lvl1pPr>
          </a:lstStyle>
          <a:p>
            <a:pPr>
              <a:buClr>
                <a:srgbClr val="000073"/>
              </a:buClr>
            </a:pPr>
            <a:endParaRPr lang="en-US" dirty="0">
              <a:solidFill>
                <a:srgbClr val="4E4E4E"/>
              </a:solidFill>
            </a:endParaRPr>
          </a:p>
        </p:txBody>
      </p:sp>
      <p:sp>
        <p:nvSpPr>
          <p:cNvPr id="5" name="Date Placeholder 4"/>
          <p:cNvSpPr>
            <a:spLocks noGrp="1"/>
          </p:cNvSpPr>
          <p:nvPr>
            <p:ph type="dt" sz="quarter" idx="11"/>
          </p:nvPr>
        </p:nvSpPr>
        <p:spPr>
          <a:xfrm>
            <a:off x="609441" y="6356357"/>
            <a:ext cx="2844059" cy="365125"/>
          </a:xfrm>
          <a:prstGeom prst="rect">
            <a:avLst/>
          </a:prstGeom>
        </p:spPr>
        <p:txBody>
          <a:bodyPr/>
          <a:lstStyle>
            <a:lvl1pPr>
              <a:defRPr/>
            </a:lvl1pPr>
          </a:lstStyle>
          <a:p>
            <a:fld id="{459BE895-8CC7-44F7-ABC6-80FED81F1ED7}" type="datetimeFigureOut">
              <a:rPr lang="en-US" smtClean="0"/>
              <a:pPr/>
              <a:t>29-Feb-24</a:t>
            </a:fld>
            <a:endParaRPr lang="en-US" dirty="0"/>
          </a:p>
        </p:txBody>
      </p:sp>
    </p:spTree>
    <p:extLst>
      <p:ext uri="{BB962C8B-B14F-4D97-AF65-F5344CB8AC3E}">
        <p14:creationId xmlns:p14="http://schemas.microsoft.com/office/powerpoint/2010/main" val="251650990"/>
      </p:ext>
    </p:extLst>
  </p:cSld>
  <p:clrMapOvr>
    <a:masterClrMapping/>
  </p:clrMapOvr>
  <p:transition>
    <p:fade/>
  </p:transition>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bsolutly-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19EEC1-FCFF-491D-98EE-8FFA37A45C9E}"/>
              </a:ext>
            </a:extLst>
          </p:cNvPr>
          <p:cNvSpPr>
            <a:spLocks noGrp="1"/>
          </p:cNvSpPr>
          <p:nvPr>
            <p:ph type="dt" sz="half" idx="10"/>
          </p:nvPr>
        </p:nvSpPr>
        <p:spPr>
          <a:xfrm>
            <a:off x="10673689" y="6356357"/>
            <a:ext cx="1159631" cy="366183"/>
          </a:xfrm>
        </p:spPr>
        <p:txBody>
          <a:bodyPr/>
          <a:lstStyle>
            <a:lvl1pPr>
              <a:defRPr u="none">
                <a:solidFill>
                  <a:schemeClr val="bg1"/>
                </a:solidFill>
                <a:effectLst>
                  <a:outerShdw blurRad="38100" dist="38100" dir="2700000" algn="tl">
                    <a:srgbClr val="000000">
                      <a:alpha val="43137"/>
                    </a:srgbClr>
                  </a:outerShdw>
                </a:effectLst>
              </a:defRPr>
            </a:lvl1pPr>
          </a:lstStyle>
          <a:p>
            <a:fld id="{3D7CEAB6-8CB3-4B17-B049-4F43C9FB4BF4}" type="datetime1">
              <a:rPr lang="en-US" smtClean="0"/>
              <a:pPr/>
              <a:t>29-Feb-24</a:t>
            </a:fld>
            <a:endParaRPr lang="en-US" dirty="0"/>
          </a:p>
        </p:txBody>
      </p:sp>
      <p:sp>
        <p:nvSpPr>
          <p:cNvPr id="3" name="Footer Placeholder 2" hidden="1">
            <a:extLst>
              <a:ext uri="{FF2B5EF4-FFF2-40B4-BE49-F238E27FC236}">
                <a16:creationId xmlns:a16="http://schemas.microsoft.com/office/drawing/2014/main" id="{C4962E99-EEE6-4471-AF19-515600D0518A}"/>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9C7C27F1-5A16-4F19-A969-EEBEA30B1F84}"/>
              </a:ext>
            </a:extLst>
          </p:cNvPr>
          <p:cNvSpPr>
            <a:spLocks noGrp="1"/>
          </p:cNvSpPr>
          <p:nvPr>
            <p:ph type="sldNum" sz="quarter" idx="12"/>
          </p:nvPr>
        </p:nvSpPr>
        <p:spPr>
          <a:xfrm>
            <a:off x="-1" y="6356357"/>
            <a:ext cx="432345" cy="366183"/>
          </a:xfrm>
        </p:spPr>
        <p:txBody>
          <a:bodyPr/>
          <a:lstStyle>
            <a:lvl1pPr algn="ctr">
              <a:defRPr sz="1200">
                <a:solidFill>
                  <a:schemeClr val="bg1"/>
                </a:solidFill>
                <a:latin typeface="Calibri" panose="020F0502020204030204" pitchFamily="34" charset="0"/>
                <a:cs typeface="Calibri" panose="020F0502020204030204" pitchFamily="34" charset="0"/>
              </a:defRPr>
            </a:lvl1pPr>
          </a:lstStyle>
          <a:p>
            <a:fld id="{5CC49C4B-5D92-4978-8F93-40CBFCA19264}" type="slidenum">
              <a:rPr lang="en-US" smtClean="0"/>
              <a:pPr/>
              <a:t>‹#›</a:t>
            </a:fld>
            <a:endParaRPr lang="en-US" dirty="0"/>
          </a:p>
        </p:txBody>
      </p:sp>
    </p:spTree>
    <p:extLst>
      <p:ext uri="{BB962C8B-B14F-4D97-AF65-F5344CB8AC3E}">
        <p14:creationId xmlns:p14="http://schemas.microsoft.com/office/powerpoint/2010/main" val="1399422275"/>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3" name="Footer Placeholder 2" hidden="1"/>
          <p:cNvSpPr>
            <a:spLocks noGrp="1"/>
          </p:cNvSpPr>
          <p:nvPr>
            <p:ph type="ftr" sz="quarter" idx="10"/>
          </p:nvPr>
        </p:nvSpPr>
        <p:spPr/>
        <p:txBody>
          <a:bodyPr/>
          <a:lstStyle>
            <a:lvl1pPr>
              <a:defRPr/>
            </a:lvl1pPr>
          </a:lstStyle>
          <a:p>
            <a:pPr defTabSz="913555">
              <a:buClr>
                <a:srgbClr val="E45785"/>
              </a:buClr>
              <a:defRPr/>
            </a:pPr>
            <a:endParaRPr lang="en-US" dirty="0">
              <a:solidFill>
                <a:srgbClr val="E45785"/>
              </a:solidFill>
            </a:endParaRPr>
          </a:p>
        </p:txBody>
      </p:sp>
      <p:sp>
        <p:nvSpPr>
          <p:cNvPr id="2" name="Date Placeholder 1"/>
          <p:cNvSpPr>
            <a:spLocks noGrp="1"/>
          </p:cNvSpPr>
          <p:nvPr>
            <p:ph type="dt" sz="quarter" idx="11"/>
          </p:nvPr>
        </p:nvSpPr>
        <p:spPr>
          <a:xfrm>
            <a:off x="609612" y="6356373"/>
            <a:ext cx="2843213" cy="365125"/>
          </a:xfrm>
          <a:prstGeom prst="rect">
            <a:avLst/>
          </a:prstGeom>
        </p:spPr>
        <p:txBody>
          <a:bodyPr/>
          <a:lstStyle>
            <a:lvl1pPr>
              <a:defRPr/>
            </a:lvl1pPr>
          </a:lstStyle>
          <a:p>
            <a:pPr defTabSz="913555">
              <a:buClr>
                <a:srgbClr val="E45785"/>
              </a:buClr>
              <a:defRPr/>
            </a:pPr>
            <a:fld id="{DD4F244A-196C-4CB0-B629-016F85ED4440}" type="datetimeFigureOut">
              <a:rPr lang="en-US" smtClean="0">
                <a:solidFill>
                  <a:srgbClr val="4D4D4F">
                    <a:tint val="75000"/>
                  </a:srgbClr>
                </a:solidFill>
              </a:rPr>
              <a:pPr defTabSz="913555">
                <a:buClr>
                  <a:srgbClr val="E45785"/>
                </a:buClr>
                <a:defRPr/>
              </a:pPr>
              <a:t>29-Feb-24</a:t>
            </a:fld>
            <a:endParaRPr lang="en-US" dirty="0">
              <a:solidFill>
                <a:srgbClr val="4D4D4F">
                  <a:tint val="75000"/>
                </a:srgbClr>
              </a:solidFill>
            </a:endParaRPr>
          </a:p>
        </p:txBody>
      </p:sp>
    </p:spTree>
    <p:extLst>
      <p:ext uri="{BB962C8B-B14F-4D97-AF65-F5344CB8AC3E}">
        <p14:creationId xmlns:p14="http://schemas.microsoft.com/office/powerpoint/2010/main" val="3047182167"/>
      </p:ext>
    </p:extLst>
  </p:cSld>
  <p:clrMapOvr>
    <a:masterClrMapping/>
  </p:clrMapOvr>
  <p:transition>
    <p:fade/>
  </p:transition>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Standard Title and Bullets" preserve="1">
  <p:cSld name="8_Standard Title and Bullets">
    <p:spTree>
      <p:nvGrpSpPr>
        <p:cNvPr id="1" name="Shape 66"/>
        <p:cNvGrpSpPr/>
        <p:nvPr/>
      </p:nvGrpSpPr>
      <p:grpSpPr>
        <a:xfrm>
          <a:off x="0" y="0"/>
          <a:ext cx="0" cy="0"/>
          <a:chOff x="0" y="0"/>
          <a:chExt cx="0" cy="0"/>
        </a:xfrm>
      </p:grpSpPr>
      <p:pic>
        <p:nvPicPr>
          <p:cNvPr id="67" name="Google Shape;67;p68" descr="A picture containing outdoor, person, building, person&#10;&#10;Description automatically generated"/>
          <p:cNvPicPr preferRelativeResize="0"/>
          <p:nvPr/>
        </p:nvPicPr>
        <p:blipFill rotWithShape="1">
          <a:blip r:embed="rId2">
            <a:alphaModFix/>
          </a:blip>
          <a:srcRect/>
          <a:stretch/>
        </p:blipFill>
        <p:spPr>
          <a:xfrm flipH="1">
            <a:off x="-2" y="-11575"/>
            <a:ext cx="12188825" cy="6535694"/>
          </a:xfrm>
          <a:prstGeom prst="rect">
            <a:avLst/>
          </a:prstGeom>
          <a:noFill/>
          <a:ln>
            <a:noFill/>
          </a:ln>
        </p:spPr>
      </p:pic>
      <p:sp>
        <p:nvSpPr>
          <p:cNvPr id="68" name="Google Shape;68;p68" hidden="1"/>
          <p:cNvSpPr txBox="1">
            <a:spLocks noGrp="1"/>
          </p:cNvSpPr>
          <p:nvPr>
            <p:ph type="dt" idx="10"/>
          </p:nvPr>
        </p:nvSpPr>
        <p:spPr>
          <a:xfrm>
            <a:off x="-2991244" y="6356350"/>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9" name="Google Shape;69;p68"/>
          <p:cNvSpPr/>
          <p:nvPr/>
        </p:nvSpPr>
        <p:spPr>
          <a:xfrm>
            <a:off x="-2" y="481"/>
            <a:ext cx="12188825" cy="6535694"/>
          </a:xfrm>
          <a:prstGeom prst="rect">
            <a:avLst/>
          </a:prstGeom>
          <a:gradFill>
            <a:gsLst>
              <a:gs pos="0">
                <a:srgbClr val="002060">
                  <a:alpha val="50980"/>
                </a:srgbClr>
              </a:gs>
              <a:gs pos="52999">
                <a:srgbClr val="002060">
                  <a:alpha val="50980"/>
                </a:srgbClr>
              </a:gs>
              <a:gs pos="98000">
                <a:srgbClr val="00153E"/>
              </a:gs>
              <a:gs pos="100000">
                <a:srgbClr val="00153E"/>
              </a:gs>
            </a:gsLst>
            <a:lin ang="5400000" scaled="0"/>
          </a:gra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a:solidFill>
                <a:schemeClr val="dk1"/>
              </a:solidFill>
              <a:latin typeface="Calibri"/>
              <a:ea typeface="Calibri"/>
              <a:cs typeface="Calibri"/>
              <a:sym typeface="Calibri"/>
            </a:endParaRPr>
          </a:p>
        </p:txBody>
      </p:sp>
      <p:sp>
        <p:nvSpPr>
          <p:cNvPr id="2" name="Footer Placeholder 1" hidden="1"/>
          <p:cNvSpPr>
            <a:spLocks noGrp="1"/>
          </p:cNvSpPr>
          <p:nvPr>
            <p:ph type="ftr" sz="quarter" idx="11"/>
          </p:nvPr>
        </p:nvSpPr>
        <p:spPr>
          <a:xfrm>
            <a:off x="4037013" y="6356350"/>
            <a:ext cx="41148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2594388578"/>
      </p:ext>
    </p:extLst>
  </p:cSld>
  <p:clrMapOvr>
    <a:masterClrMapping/>
  </p:clrMapOvr>
  <p:transition>
    <p:fade/>
  </p:transition>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7" name="Gray gradient"/>
          <p:cNvSpPr/>
          <p:nvPr userDrawn="1"/>
        </p:nvSpPr>
        <p:spPr bwMode="auto">
          <a:xfrm>
            <a:off x="4241063" y="6"/>
            <a:ext cx="8039205" cy="6477855"/>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lnSpc>
                <a:spcPct val="80000"/>
              </a:lnSpc>
              <a:spcBef>
                <a:spcPts val="1200"/>
              </a:spcBef>
              <a:spcAft>
                <a:spcPts val="0"/>
              </a:spcAft>
              <a:buClr>
                <a:srgbClr val="72183E"/>
              </a:buClr>
              <a:buSzPct val="115000"/>
            </a:pPr>
            <a:endParaRPr lang="en-US" sz="2397" dirty="0">
              <a:solidFill>
                <a:srgbClr val="4D4D4F"/>
              </a:solidFill>
              <a:latin typeface="Calibri"/>
              <a:cs typeface="Calibri" panose="020F0502020204030204" pitchFamily="34" charset="0"/>
            </a:endParaRPr>
          </a:p>
        </p:txBody>
      </p:sp>
      <p:cxnSp>
        <p:nvCxnSpPr>
          <p:cNvPr id="16" name="Pink vertical line"/>
          <p:cNvCxnSpPr/>
          <p:nvPr userDrawn="1"/>
        </p:nvCxnSpPr>
        <p:spPr bwMode="auto">
          <a:xfrm>
            <a:off x="4214166" y="786856"/>
            <a:ext cx="0" cy="4965032"/>
          </a:xfrm>
          <a:prstGeom prst="line">
            <a:avLst/>
          </a:prstGeom>
          <a:solidFill>
            <a:schemeClr val="bg1"/>
          </a:solidFill>
          <a:ln w="508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ooter_security classification" hidden="1"/>
          <p:cNvSpPr>
            <a:spLocks noGrp="1"/>
          </p:cNvSpPr>
          <p:nvPr userDrawn="1">
            <p:ph type="ftr" sz="quarter" idx="10"/>
          </p:nvPr>
        </p:nvSpPr>
        <p:spPr/>
        <p:txBody>
          <a:bodyPr/>
          <a:lstStyle>
            <a:lvl1pPr>
              <a:defRPr/>
            </a:lvl1pPr>
          </a:lstStyle>
          <a:p>
            <a:pPr>
              <a:buClr>
                <a:srgbClr val="72183E"/>
              </a:buClr>
            </a:pPr>
            <a:endParaRPr lang="en-US" dirty="0">
              <a:solidFill>
                <a:srgbClr val="777777"/>
              </a:solidFill>
            </a:endParaRPr>
          </a:p>
        </p:txBody>
      </p:sp>
      <p:sp>
        <p:nvSpPr>
          <p:cNvPr id="2" name="Date" hidden="1"/>
          <p:cNvSpPr>
            <a:spLocks noGrp="1"/>
          </p:cNvSpPr>
          <p:nvPr userDrawn="1">
            <p:ph type="dt" sz="quarter" idx="12"/>
          </p:nvPr>
        </p:nvSpPr>
        <p:spPr>
          <a:xfrm>
            <a:off x="609600" y="6356356"/>
            <a:ext cx="2843213" cy="365125"/>
          </a:xfrm>
          <a:prstGeom prst="rect">
            <a:avLst/>
          </a:prstGeom>
        </p:spPr>
        <p:txBody>
          <a:bodyPr/>
          <a:lstStyle>
            <a:lvl1pPr>
              <a:defRPr/>
            </a:lvl1pPr>
          </a:lstStyle>
          <a:p>
            <a:pPr>
              <a:buClr>
                <a:srgbClr val="72183E"/>
              </a:buClr>
            </a:pPr>
            <a:fld id="{00C1096B-9679-429B-9328-0AF82824D437}" type="datetimeFigureOut">
              <a:rPr lang="en-US" smtClean="0">
                <a:solidFill>
                  <a:srgbClr val="4D4D4F">
                    <a:tint val="75000"/>
                  </a:srgbClr>
                </a:solidFill>
              </a:rPr>
              <a:pPr>
                <a:buClr>
                  <a:srgbClr val="72183E"/>
                </a:buClr>
              </a:pPr>
              <a:t>29-Feb-24</a:t>
            </a:fld>
            <a:endParaRPr lang="en-US" dirty="0">
              <a:solidFill>
                <a:srgbClr val="4D4D4F">
                  <a:tint val="75000"/>
                </a:srgbClr>
              </a:solidFill>
            </a:endParaRPr>
          </a:p>
        </p:txBody>
      </p:sp>
      <p:sp>
        <p:nvSpPr>
          <p:cNvPr id="4" name="Key points"/>
          <p:cNvSpPr>
            <a:spLocks noGrp="1"/>
          </p:cNvSpPr>
          <p:nvPr userDrawn="1">
            <p:ph type="body" sz="quarter" idx="11"/>
          </p:nvPr>
        </p:nvSpPr>
        <p:spPr>
          <a:xfrm>
            <a:off x="4875533" y="1399032"/>
            <a:ext cx="6730683" cy="4443814"/>
          </a:xfrm>
          <a:prstGeom prst="rect">
            <a:avLst/>
          </a:prstGeom>
        </p:spPr>
        <p:txBody>
          <a:bodyPr lIns="91440" tIns="45720" rIns="91440" bIns="45720" anchor="ctr" anchorCtr="0">
            <a:noAutofit/>
          </a:bodyPr>
          <a:lstStyle>
            <a:lvl1pPr marL="319752" indent="-319752">
              <a:lnSpc>
                <a:spcPct val="95000"/>
              </a:lnSpc>
              <a:buSzPct val="85000"/>
              <a:buFont typeface="Calibri" panose="020F0502020204030204" pitchFamily="34" charset="0"/>
              <a:buChar char="•"/>
              <a:defRPr sz="3197" baseline="0">
                <a:solidFill>
                  <a:schemeClr val="tx1"/>
                </a:solidFill>
                <a:latin typeface="+mn-lt"/>
              </a:defRPr>
            </a:lvl1pPr>
            <a:lvl2pPr marL="666912" indent="-237531">
              <a:lnSpc>
                <a:spcPct val="95000"/>
              </a:lnSpc>
              <a:defRPr sz="2697"/>
            </a:lvl2pPr>
            <a:lvl3pPr>
              <a:defRPr sz="2697"/>
            </a:lvl3pPr>
            <a:lvl4pPr>
              <a:defRPr sz="2697"/>
            </a:lvl4pPr>
            <a:lvl5pPr>
              <a:defRPr sz="2697"/>
            </a:lvl5pPr>
          </a:lstStyle>
          <a:p>
            <a:pPr lvl="0"/>
            <a:r>
              <a:rPr lang="en-US"/>
              <a:t>Click to edit Master text styles</a:t>
            </a:r>
          </a:p>
          <a:p>
            <a:pPr lvl="1"/>
            <a:r>
              <a:rPr lang="en-US"/>
              <a:t>Second level</a:t>
            </a:r>
          </a:p>
        </p:txBody>
      </p:sp>
      <p:sp>
        <p:nvSpPr>
          <p:cNvPr id="6" name="Slide Title"/>
          <p:cNvSpPr>
            <a:spLocks noGrp="1"/>
          </p:cNvSpPr>
          <p:nvPr userDrawn="1">
            <p:ph type="title"/>
          </p:nvPr>
        </p:nvSpPr>
        <p:spPr>
          <a:xfrm>
            <a:off x="368300" y="1947672"/>
            <a:ext cx="3372166" cy="3020519"/>
          </a:xfrm>
        </p:spPr>
        <p:txBody>
          <a:bodyPr vert="horz" lIns="91440" tIns="45720" rIns="91440" bIns="45720" rtlCol="0" anchor="ctr" anchorCtr="0">
            <a:noAutofit/>
          </a:bodyPr>
          <a:lstStyle>
            <a:lvl1pPr marL="0" indent="0" algn="r" defTabSz="1217686" rtl="0" eaLnBrk="1" latinLnBrk="0" hangingPunct="1">
              <a:lnSpc>
                <a:spcPct val="80000"/>
              </a:lnSpc>
              <a:spcBef>
                <a:spcPct val="0"/>
              </a:spcBef>
              <a:buClr>
                <a:schemeClr val="tx1"/>
              </a:buClr>
              <a:buFont typeface="Ciscolight" pitchFamily="2" charset="0"/>
              <a:buNone/>
              <a:defRPr lang="en-US" sz="3997" b="0" kern="1200" spc="0" baseline="0" dirty="0">
                <a:solidFill>
                  <a:schemeClr val="accent1"/>
                </a:solidFill>
                <a:latin typeface="+mj-lt"/>
                <a:ea typeface="+mj-ea"/>
                <a:cs typeface="+mj-cs"/>
              </a:defRPr>
            </a:lvl1pPr>
          </a:lstStyle>
          <a:p>
            <a:r>
              <a:rPr lang="en-US"/>
              <a:t>Click to edit Master title style</a:t>
            </a:r>
            <a:endParaRPr lang="en-US" dirty="0"/>
          </a:p>
        </p:txBody>
      </p:sp>
    </p:spTree>
    <p:extLst>
      <p:ext uri="{BB962C8B-B14F-4D97-AF65-F5344CB8AC3E}">
        <p14:creationId xmlns:p14="http://schemas.microsoft.com/office/powerpoint/2010/main" val="1495890740"/>
      </p:ext>
    </p:extLst>
  </p:cSld>
  <p:clrMapOvr>
    <a:masterClrMapping/>
  </p:clrMapOvr>
  <p:transition>
    <p:fade/>
  </p:transition>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pic>
        <p:nvPicPr>
          <p:cNvPr id="3" name="Image 6"/>
          <p:cNvPicPr>
            <a:picLocks noChangeAspect="1"/>
          </p:cNvPicPr>
          <p:nvPr/>
        </p:nvPicPr>
        <p:blipFill>
          <a:blip r:embed="rId8" cstate="print"/>
          <a:stretch>
            <a:fillRect/>
          </a:stretch>
        </p:blipFill>
        <p:spPr>
          <a:xfrm>
            <a:off x="1587" y="1588"/>
            <a:ext cx="1588" cy="1588"/>
          </a:xfrm>
          <a:prstGeom prst="rect">
            <a:avLst/>
          </a:prstGeom>
        </p:spPr>
      </p:pic>
      <p:sp>
        <p:nvSpPr>
          <p:cNvPr id="5" name="Rectangle 1" hidden="1">
            <a:extLst>
              <a:ext uri="{FF2B5EF4-FFF2-40B4-BE49-F238E27FC236}">
                <a16:creationId xmlns:a16="http://schemas.microsoft.com/office/drawing/2014/main" id="{FCC3A0E6-E630-4C26-B008-93BA0B5B1109}"/>
              </a:ext>
            </a:extLst>
          </p:cNvPr>
          <p:cNvSpPr/>
          <p:nvPr userDrawn="1">
            <p:custDataLst>
              <p:tags r:id="rId1"/>
            </p:custDataLst>
          </p:nvPr>
        </p:nvSpPr>
        <p:spPr>
          <a:xfrm>
            <a:off x="3" y="0"/>
            <a:ext cx="158709"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96" b="1" i="0" baseline="0" dirty="0" err="1">
              <a:solidFill>
                <a:schemeClr val="bg1"/>
              </a:solidFill>
              <a:latin typeface="Calibri" panose="020F050202020403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592" y="172219"/>
            <a:ext cx="11079642" cy="444737"/>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592" y="591919"/>
            <a:ext cx="11079642" cy="2630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796" b="0" dirty="0"/>
            </a:lvl1pPr>
          </a:lstStyle>
          <a:p>
            <a:pPr lvl="0"/>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594" y="6295561"/>
            <a:ext cx="727596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latin typeface="Calibri" panose="020F0502020204030204" pitchFamily="34" charset="0"/>
                <a:cs typeface="Calibri" panose="020F050202020403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594" y="41604"/>
            <a:ext cx="3842337" cy="116955"/>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21" name="Slide Number">
            <a:extLst>
              <a:ext uri="{FF2B5EF4-FFF2-40B4-BE49-F238E27FC236}">
                <a16:creationId xmlns:a16="http://schemas.microsoft.com/office/drawing/2014/main" id="{CD7AFF01-B3FD-4587-9617-18DC74BE064D}"/>
              </a:ext>
            </a:extLst>
          </p:cNvPr>
          <p:cNvSpPr>
            <a:spLocks noChangeArrowheads="1"/>
          </p:cNvSpPr>
          <p:nvPr userDrawn="1">
            <p:custDataLst>
              <p:tags r:id="rId6"/>
            </p:custDataLst>
          </p:nvPr>
        </p:nvSpPr>
        <p:spPr bwMode="black">
          <a:xfrm>
            <a:off x="11309583" y="6593333"/>
            <a:ext cx="325416" cy="138499"/>
          </a:xfrm>
          <a:prstGeom prst="rect">
            <a:avLst/>
          </a:prstGeom>
          <a:noFill/>
          <a:ln w="9525" algn="ctr">
            <a:noFill/>
            <a:miter lim="800000"/>
            <a:headEnd/>
            <a:tailEnd/>
          </a:ln>
          <a:effectLst/>
        </p:spPr>
        <p:txBody>
          <a:bodyPr wrap="square" lIns="0" tIns="0" rIns="0" bIns="0" anchor="b">
            <a:spAutoFit/>
          </a:bodyPr>
          <a:lstStyle/>
          <a:p>
            <a:pPr algn="r" defTabSz="610012" fontAlgn="auto">
              <a:spcBef>
                <a:spcPts val="0"/>
              </a:spcBef>
              <a:spcAft>
                <a:spcPts val="0"/>
              </a:spcAft>
              <a:defRPr/>
            </a:pPr>
            <a:fld id="{4ABDCABE-3F10-B64C-92F1-862014417034}" type="slidenum">
              <a:rPr lang="en-US" sz="900" b="0" smtClean="0">
                <a:solidFill>
                  <a:schemeClr val="tx1"/>
                </a:solidFill>
                <a:latin typeface="+mn-lt"/>
                <a:ea typeface="+mn-ea"/>
                <a:cs typeface="Calibri" panose="020F0502020204030204" pitchFamily="34" charset="0"/>
              </a:rPr>
              <a:pPr algn="r" defTabSz="610012" fontAlgn="auto">
                <a:spcBef>
                  <a:spcPts val="0"/>
                </a:spcBef>
                <a:spcAft>
                  <a:spcPts val="0"/>
                </a:spcAft>
                <a:defRPr/>
              </a:pPr>
              <a:t>‹#›</a:t>
            </a:fld>
            <a:endParaRPr lang="en-US" sz="900" b="0" dirty="0">
              <a:solidFill>
                <a:schemeClr val="tx1"/>
              </a:solidFill>
              <a:latin typeface="+mn-lt"/>
              <a:ea typeface="+mn-ea"/>
              <a:cs typeface="Calibri" panose="020F0502020204030204" pitchFamily="34" charset="0"/>
            </a:endParaRPr>
          </a:p>
        </p:txBody>
      </p:sp>
      <p:sp>
        <p:nvSpPr>
          <p:cNvPr id="2" name="Footer Placeholder 1" hidden="1"/>
          <p:cNvSpPr>
            <a:spLocks noGrp="1"/>
          </p:cNvSpPr>
          <p:nvPr>
            <p:ph type="ftr" sz="quarter" idx="11"/>
          </p:nvPr>
        </p:nvSpPr>
        <p:spPr>
          <a:xfrm>
            <a:off x="4037549" y="6356357"/>
            <a:ext cx="4113728" cy="365125"/>
          </a:xfrm>
          <a:prstGeom prst="rect">
            <a:avLst/>
          </a:prstGeom>
        </p:spPr>
        <p:txBody>
          <a:bodyPr/>
          <a:lstStyle>
            <a:lvl1pPr>
              <a:defRPr/>
            </a:lvl1pPr>
          </a:lstStyle>
          <a:p>
            <a:endParaRPr lang="en-US" dirty="0"/>
          </a:p>
        </p:txBody>
      </p:sp>
      <p:sp>
        <p:nvSpPr>
          <p:cNvPr id="4" name="Date Placeholder 3"/>
          <p:cNvSpPr>
            <a:spLocks noGrp="1"/>
          </p:cNvSpPr>
          <p:nvPr>
            <p:ph type="dt" sz="quarter" idx="12"/>
          </p:nvPr>
        </p:nvSpPr>
        <p:spPr>
          <a:xfrm>
            <a:off x="837982" y="6356357"/>
            <a:ext cx="2742486" cy="365125"/>
          </a:xfrm>
          <a:prstGeom prst="rect">
            <a:avLst/>
          </a:prstGeom>
        </p:spPr>
        <p:txBody>
          <a:bodyPr/>
          <a:lstStyle>
            <a:lvl1pPr>
              <a:defRPr/>
            </a:lvl1pPr>
          </a:lstStyle>
          <a:p>
            <a:fld id="{68E1B65A-FD49-4C38-8172-3BE349F37D34}" type="datetimeFigureOut">
              <a:rPr lang="en-US" smtClean="0"/>
              <a:pPr/>
              <a:t>29-Feb-24</a:t>
            </a:fld>
            <a:endParaRPr lang="en-US" dirty="0"/>
          </a:p>
        </p:txBody>
      </p:sp>
    </p:spTree>
    <p:extLst>
      <p:ext uri="{BB962C8B-B14F-4D97-AF65-F5344CB8AC3E}">
        <p14:creationId xmlns:p14="http://schemas.microsoft.com/office/powerpoint/2010/main" val="1024084605"/>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tandard title and bullets">
    <p:spTree>
      <p:nvGrpSpPr>
        <p:cNvPr id="1" name=""/>
        <p:cNvGrpSpPr/>
        <p:nvPr/>
      </p:nvGrpSpPr>
      <p:grpSpPr>
        <a:xfrm>
          <a:off x="0" y="0"/>
          <a:ext cx="0" cy="0"/>
          <a:chOff x="0" y="0"/>
          <a:chExt cx="0" cy="0"/>
        </a:xfrm>
      </p:grpSpPr>
      <p:sp>
        <p:nvSpPr>
          <p:cNvPr id="3" name="Footer_security classification" hidden="1"/>
          <p:cNvSpPr>
            <a:spLocks noGrp="1"/>
          </p:cNvSpPr>
          <p:nvPr>
            <p:ph type="ftr" sz="quarter" idx="10"/>
          </p:nvPr>
        </p:nvSpPr>
        <p:spPr/>
        <p:txBody>
          <a:bodyPr/>
          <a:lstStyle>
            <a:lvl1pPr>
              <a:defRPr/>
            </a:lvl1pPr>
          </a:lstStyle>
          <a:p>
            <a:pPr defTabSz="913578">
              <a:buClr>
                <a:srgbClr val="FF0000"/>
              </a:buClr>
              <a:defRPr/>
            </a:pPr>
            <a:endParaRPr lang="en-US" dirty="0">
              <a:solidFill>
                <a:srgbClr val="FFFFFF">
                  <a:lumMod val="75000"/>
                </a:srgbClr>
              </a:solidFill>
            </a:endParaRPr>
          </a:p>
        </p:txBody>
      </p:sp>
      <p:sp>
        <p:nvSpPr>
          <p:cNvPr id="4" name="Date" hidden="1"/>
          <p:cNvSpPr>
            <a:spLocks noGrp="1"/>
          </p:cNvSpPr>
          <p:nvPr>
            <p:ph type="dt" sz="quarter" idx="12"/>
          </p:nvPr>
        </p:nvSpPr>
        <p:spPr>
          <a:xfrm>
            <a:off x="609600" y="6356356"/>
            <a:ext cx="2843213" cy="365125"/>
          </a:xfrm>
          <a:prstGeom prst="rect">
            <a:avLst/>
          </a:prstGeom>
        </p:spPr>
        <p:txBody>
          <a:bodyPr/>
          <a:lstStyle>
            <a:lvl1pPr>
              <a:defRPr/>
            </a:lvl1pPr>
          </a:lstStyle>
          <a:p>
            <a:pPr defTabSz="913578">
              <a:buClr>
                <a:srgbClr val="FF0000"/>
              </a:buClr>
              <a:defRPr/>
            </a:pPr>
            <a:fld id="{1C396E99-728E-4BC1-9827-5FA2D157E6FB}" type="datetimeFigureOut">
              <a:rPr lang="en-US" smtClean="0">
                <a:solidFill>
                  <a:srgbClr val="4D4D4F">
                    <a:tint val="75000"/>
                  </a:srgbClr>
                </a:solidFill>
              </a:rPr>
              <a:pPr defTabSz="913578">
                <a:buClr>
                  <a:srgbClr val="FF0000"/>
                </a:buClr>
                <a:defRPr/>
              </a:pPr>
              <a:t>29-Feb-24</a:t>
            </a:fld>
            <a:endParaRPr lang="en-US" dirty="0">
              <a:solidFill>
                <a:srgbClr val="4D4D4F">
                  <a:tint val="75000"/>
                </a:srgbClr>
              </a:solidFill>
            </a:endParaRPr>
          </a:p>
        </p:txBody>
      </p:sp>
      <p:sp>
        <p:nvSpPr>
          <p:cNvPr id="13" name="Bullet text"/>
          <p:cNvSpPr>
            <a:spLocks noGrp="1"/>
          </p:cNvSpPr>
          <p:nvPr>
            <p:ph sz="quarter" idx="11"/>
          </p:nvPr>
        </p:nvSpPr>
        <p:spPr>
          <a:xfrm>
            <a:off x="583074" y="1457960"/>
            <a:ext cx="11000914" cy="4676140"/>
          </a:xfrm>
        </p:spPr>
        <p:txBody>
          <a:bodyPr/>
          <a:lstStyle/>
          <a:p>
            <a:pPr lvl="0"/>
            <a:r>
              <a:rPr lang="en-US"/>
              <a:t>Edit Master text styles</a:t>
            </a:r>
          </a:p>
          <a:p>
            <a:pPr lvl="1"/>
            <a:r>
              <a:rPr lang="en-US"/>
              <a:t>Second level</a:t>
            </a:r>
          </a:p>
          <a:p>
            <a:pPr lvl="2"/>
            <a:r>
              <a:rPr lang="en-US"/>
              <a:t>Third level</a:t>
            </a:r>
          </a:p>
        </p:txBody>
      </p:sp>
      <p:sp>
        <p:nvSpPr>
          <p:cNvPr id="2" name="Slide Title"/>
          <p:cNvSpPr>
            <a:spLocks noGrp="1"/>
          </p:cNvSpPr>
          <p:nvPr>
            <p:ph type="title"/>
          </p:nvPr>
        </p:nvSpPr>
        <p:spPr>
          <a:xfrm>
            <a:off x="583845" y="460552"/>
            <a:ext cx="9857339" cy="923748"/>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754678696"/>
      </p:ext>
    </p:extLst>
  </p:cSld>
  <p:clrMapOvr>
    <a:masterClrMapping/>
  </p:clrMapOvr>
  <p:transition>
    <p:fade/>
  </p:transition>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pic>
        <p:nvPicPr>
          <p:cNvPr id="29" name="Picture 28" descr="A person with a bicycle in front of a building&#10;&#10;Description automatically generated">
            <a:extLst>
              <a:ext uri="{FF2B5EF4-FFF2-40B4-BE49-F238E27FC236}">
                <a16:creationId xmlns:a16="http://schemas.microsoft.com/office/drawing/2014/main" id="{4DB2C67B-19FA-4A50-A262-FC148AA03E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209" y="0"/>
            <a:ext cx="12167616" cy="6858000"/>
          </a:xfrm>
          <a:prstGeom prst="rect">
            <a:avLst/>
          </a:prstGeom>
        </p:spPr>
      </p:pic>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3"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sp>
        <p:nvSpPr>
          <p:cNvPr id="26" name="Rectangle 25">
            <a:extLst>
              <a:ext uri="{FF2B5EF4-FFF2-40B4-BE49-F238E27FC236}">
                <a16:creationId xmlns:a16="http://schemas.microsoft.com/office/drawing/2014/main" id="{F8CC2EC0-229E-448F-B629-040AF791D178}"/>
              </a:ext>
            </a:extLst>
          </p:cNvPr>
          <p:cNvSpPr/>
          <p:nvPr userDrawn="1"/>
        </p:nvSpPr>
        <p:spPr bwMode="auto">
          <a:xfrm>
            <a:off x="0" y="-4793"/>
            <a:ext cx="12239145" cy="6857999"/>
          </a:xfrm>
          <a:prstGeom prst="rect">
            <a:avLst/>
          </a:prstGeom>
          <a:solidFill>
            <a:schemeClr val="accent6">
              <a:alpha val="35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4" cstate="screen">
            <a:grayscl/>
            <a:alphaModFix amt="70000"/>
            <a:extLst>
              <a:ext uri="{28A0092B-C50C-407E-A947-70E740481C1C}">
                <a14:useLocalDpi xmlns:a14="http://schemas.microsoft.com/office/drawing/2010/main"/>
              </a:ext>
            </a:extLst>
          </a:blip>
          <a:srcRect/>
          <a:stretch/>
        </p:blipFill>
        <p:spPr>
          <a:xfrm>
            <a:off x="8630500" y="-1405915"/>
            <a:ext cx="4802094" cy="2251739"/>
          </a:xfrm>
          <a:prstGeom prst="rect">
            <a:avLst/>
          </a:prstGeom>
        </p:spPr>
      </p:pic>
      <p:pic>
        <p:nvPicPr>
          <p:cNvPr id="17" name="Picture 16" descr="A picture containing comb&#10;&#10;Description automatically generated">
            <a:extLst>
              <a:ext uri="{FF2B5EF4-FFF2-40B4-BE49-F238E27FC236}">
                <a16:creationId xmlns:a16="http://schemas.microsoft.com/office/drawing/2014/main" id="{B73E91CB-9BDB-4070-A647-827134A27200}"/>
              </a:ext>
            </a:extLst>
          </p:cNvPr>
          <p:cNvPicPr>
            <a:picLocks noChangeAspect="1"/>
          </p:cNvPicPr>
          <p:nvPr userDrawn="1"/>
        </p:nvPicPr>
        <p:blipFill rotWithShape="1">
          <a:blip r:embed="rId5" cstate="print">
            <a:alphaModFix amt="70000"/>
            <a:biLevel thresh="25000"/>
            <a:extLst>
              <a:ext uri="{28A0092B-C50C-407E-A947-70E740481C1C}">
                <a14:useLocalDpi xmlns:a14="http://schemas.microsoft.com/office/drawing/2010/main"/>
              </a:ext>
            </a:extLst>
          </a:blip>
          <a:srcRect t="-5181"/>
          <a:stretch/>
        </p:blipFill>
        <p:spPr>
          <a:xfrm flipH="1">
            <a:off x="-106094" y="4124759"/>
            <a:ext cx="3121449" cy="1748800"/>
          </a:xfrm>
          <a:prstGeom prst="rect">
            <a:avLst/>
          </a:prstGeom>
        </p:spPr>
      </p:pic>
      <p:pic>
        <p:nvPicPr>
          <p:cNvPr id="24" name="Picture 23" descr="A picture containing object, comb&#10;&#10;Description automatically generated">
            <a:extLst>
              <a:ext uri="{FF2B5EF4-FFF2-40B4-BE49-F238E27FC236}">
                <a16:creationId xmlns:a16="http://schemas.microsoft.com/office/drawing/2014/main" id="{7EE510AA-5A9D-4084-A606-8ED53F68829A}"/>
              </a:ext>
            </a:extLst>
          </p:cNvPr>
          <p:cNvPicPr>
            <a:picLocks noChangeAspect="1"/>
          </p:cNvPicPr>
          <p:nvPr userDrawn="1"/>
        </p:nvPicPr>
        <p:blipFill rotWithShape="1">
          <a:blip r:embed="rId6" cstate="screen">
            <a:duotone>
              <a:prstClr val="black"/>
              <a:schemeClr val="accent1">
                <a:tint val="45000"/>
                <a:satMod val="400000"/>
              </a:schemeClr>
            </a:duotone>
            <a:alphaModFix/>
            <a:extLst>
              <a:ext uri="{28A0092B-C50C-407E-A947-70E740481C1C}">
                <a14:useLocalDpi xmlns:a14="http://schemas.microsoft.com/office/drawing/2010/main"/>
              </a:ext>
            </a:extLst>
          </a:blip>
          <a:srcRect/>
          <a:stretch/>
        </p:blipFill>
        <p:spPr>
          <a:xfrm>
            <a:off x="-150811" y="5677023"/>
            <a:ext cx="6038251" cy="1225953"/>
          </a:xfrm>
          <a:prstGeom prst="rect">
            <a:avLst/>
          </a:prstGeom>
        </p:spPr>
      </p:pic>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8C968F5C-3BA0-4D89-916A-3025CE596C4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96066009"/>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lide_1">
    <p:spTree>
      <p:nvGrpSpPr>
        <p:cNvPr id="1" name=""/>
        <p:cNvGrpSpPr/>
        <p:nvPr/>
      </p:nvGrpSpPr>
      <p:grpSpPr>
        <a:xfrm>
          <a:off x="0" y="0"/>
          <a:ext cx="0" cy="0"/>
          <a:chOff x="0" y="0"/>
          <a:chExt cx="0" cy="0"/>
        </a:xfrm>
      </p:grpSpPr>
      <p:pic>
        <p:nvPicPr>
          <p:cNvPr id="9" name="Picture 8" descr="A person sitting at a table looking at a cell phone&#10;&#10;Description automatically generated">
            <a:extLst>
              <a:ext uri="{FF2B5EF4-FFF2-40B4-BE49-F238E27FC236}">
                <a16:creationId xmlns:a16="http://schemas.microsoft.com/office/drawing/2014/main" id="{CCF38036-B8FC-48FC-B552-00A03CF4A92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428" y="-63153"/>
            <a:ext cx="12272253" cy="6916976"/>
          </a:xfrm>
          <a:prstGeom prst="rect">
            <a:avLst/>
          </a:prstGeom>
        </p:spPr>
      </p:pic>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18" name="Picture 17" descr="A picture containing comb&#10;&#10;Description automatically generated">
            <a:extLst>
              <a:ext uri="{FF2B5EF4-FFF2-40B4-BE49-F238E27FC236}">
                <a16:creationId xmlns:a16="http://schemas.microsoft.com/office/drawing/2014/main" id="{B86D5C25-1392-4184-A86E-8F107D8CDC5A}"/>
              </a:ext>
            </a:extLst>
          </p:cNvPr>
          <p:cNvPicPr>
            <a:picLocks noChangeAspect="1"/>
          </p:cNvPicPr>
          <p:nvPr userDrawn="1"/>
        </p:nvPicPr>
        <p:blipFill rotWithShape="1">
          <a:blip r:embed="rId3" cstate="screen">
            <a:duotone>
              <a:prstClr val="black"/>
              <a:schemeClr val="accent6">
                <a:tint val="45000"/>
                <a:satMod val="400000"/>
              </a:schemeClr>
            </a:duotone>
            <a:alphaModFix amt="5000"/>
            <a:extLst>
              <a:ext uri="{28A0092B-C50C-407E-A947-70E740481C1C}">
                <a14:useLocalDpi xmlns:a14="http://schemas.microsoft.com/office/drawing/2010/main"/>
              </a:ext>
            </a:extLst>
          </a:blip>
          <a:srcRect/>
          <a:stretch/>
        </p:blipFill>
        <p:spPr>
          <a:xfrm flipH="1">
            <a:off x="7970818" y="5628719"/>
            <a:ext cx="3269010" cy="1372232"/>
          </a:xfrm>
          <a:prstGeom prst="rect">
            <a:avLst/>
          </a:prstGeom>
        </p:spPr>
      </p:pic>
      <p:sp>
        <p:nvSpPr>
          <p:cNvPr id="21" name="Rectangle 20">
            <a:extLst>
              <a:ext uri="{FF2B5EF4-FFF2-40B4-BE49-F238E27FC236}">
                <a16:creationId xmlns:a16="http://schemas.microsoft.com/office/drawing/2014/main" id="{2EA6343F-C071-46A6-8C07-8306BECD49A8}"/>
              </a:ext>
            </a:extLst>
          </p:cNvPr>
          <p:cNvSpPr/>
          <p:nvPr userDrawn="1"/>
        </p:nvSpPr>
        <p:spPr bwMode="auto">
          <a:xfrm>
            <a:off x="2072907" y="4137223"/>
            <a:ext cx="709636" cy="2701360"/>
          </a:xfrm>
          <a:prstGeom prst="rect">
            <a:avLst/>
          </a:prstGeom>
          <a:gradFill flip="none" rotWithShape="1">
            <a:gsLst>
              <a:gs pos="91000">
                <a:srgbClr val="654F41"/>
              </a:gs>
              <a:gs pos="49000">
                <a:srgbClr val="504237"/>
              </a:gs>
            </a:gsLst>
            <a:lin ang="0" scaled="1"/>
            <a:tileRect/>
          </a:gradFill>
          <a:ln w="12700" algn="ctr">
            <a:noFill/>
            <a:miter lim="800000"/>
            <a:headEnd/>
            <a:tailEnd/>
          </a:ln>
          <a:effectLst>
            <a:softEdge rad="1270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5" name="Rectangle 4">
            <a:extLst>
              <a:ext uri="{FF2B5EF4-FFF2-40B4-BE49-F238E27FC236}">
                <a16:creationId xmlns:a16="http://schemas.microsoft.com/office/drawing/2014/main" id="{8F7F7CF8-7525-47C5-AAB6-142E37132EF1}"/>
              </a:ext>
            </a:extLst>
          </p:cNvPr>
          <p:cNvSpPr/>
          <p:nvPr userDrawn="1"/>
        </p:nvSpPr>
        <p:spPr bwMode="auto">
          <a:xfrm>
            <a:off x="-83428" y="-41543"/>
            <a:ext cx="12272253" cy="6981369"/>
          </a:xfrm>
          <a:prstGeom prst="rect">
            <a:avLst/>
          </a:prstGeom>
          <a:gradFill flip="none" rotWithShape="1">
            <a:gsLst>
              <a:gs pos="100000">
                <a:srgbClr val="00153E">
                  <a:alpha val="58000"/>
                </a:srgbClr>
              </a:gs>
              <a:gs pos="60000">
                <a:schemeClr val="accent6">
                  <a:alpha val="35000"/>
                </a:schemeClr>
              </a:gs>
            </a:gsLst>
            <a:lin ang="108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9" name="Picture 18" descr="A picture containing comb&#10;&#10;Description automatically generated">
            <a:extLst>
              <a:ext uri="{FF2B5EF4-FFF2-40B4-BE49-F238E27FC236}">
                <a16:creationId xmlns:a16="http://schemas.microsoft.com/office/drawing/2014/main" id="{F0ECE4B7-FFF6-4DCE-84B2-DC798CC47533}"/>
              </a:ext>
            </a:extLst>
          </p:cNvPr>
          <p:cNvPicPr>
            <a:picLocks noChangeAspect="1"/>
          </p:cNvPicPr>
          <p:nvPr userDrawn="1"/>
        </p:nvPicPr>
        <p:blipFill rotWithShape="1">
          <a:blip r:embed="rId4" cstate="print">
            <a:grayscl/>
            <a:alphaModFix amt="70000"/>
            <a:extLst>
              <a:ext uri="{28A0092B-C50C-407E-A947-70E740481C1C}">
                <a14:useLocalDpi xmlns:a14="http://schemas.microsoft.com/office/drawing/2010/main"/>
              </a:ext>
            </a:extLst>
          </a:blip>
          <a:srcRect/>
          <a:stretch/>
        </p:blipFill>
        <p:spPr>
          <a:xfrm>
            <a:off x="8630500" y="-1405915"/>
            <a:ext cx="4802094" cy="2251739"/>
          </a:xfrm>
          <a:prstGeom prst="rect">
            <a:avLst/>
          </a:prstGeom>
        </p:spPr>
      </p:pic>
      <p:pic>
        <p:nvPicPr>
          <p:cNvPr id="17" name="Picture 16" descr="A picture containing comb&#10;&#10;Description automatically generated">
            <a:extLst>
              <a:ext uri="{FF2B5EF4-FFF2-40B4-BE49-F238E27FC236}">
                <a16:creationId xmlns:a16="http://schemas.microsoft.com/office/drawing/2014/main" id="{B73E91CB-9BDB-4070-A647-827134A27200}"/>
              </a:ext>
            </a:extLst>
          </p:cNvPr>
          <p:cNvPicPr>
            <a:picLocks noChangeAspect="1"/>
          </p:cNvPicPr>
          <p:nvPr userDrawn="1"/>
        </p:nvPicPr>
        <p:blipFill rotWithShape="1">
          <a:blip r:embed="rId5" cstate="print">
            <a:alphaModFix amt="70000"/>
            <a:duotone>
              <a:prstClr val="black"/>
              <a:schemeClr val="accent6">
                <a:tint val="45000"/>
                <a:satMod val="400000"/>
              </a:schemeClr>
            </a:duotone>
            <a:extLst>
              <a:ext uri="{28A0092B-C50C-407E-A947-70E740481C1C}">
                <a14:useLocalDpi xmlns:a14="http://schemas.microsoft.com/office/drawing/2010/main"/>
              </a:ext>
            </a:extLst>
          </a:blip>
          <a:srcRect t="-5181"/>
          <a:stretch/>
        </p:blipFill>
        <p:spPr>
          <a:xfrm flipH="1">
            <a:off x="-106094" y="4124759"/>
            <a:ext cx="3121449" cy="1748800"/>
          </a:xfrm>
          <a:prstGeom prst="rect">
            <a:avLst/>
          </a:prstGeom>
        </p:spPr>
      </p:pic>
      <p:pic>
        <p:nvPicPr>
          <p:cNvPr id="24" name="Picture 23" descr="A picture containing object, comb&#10;&#10;Description automatically generated">
            <a:extLst>
              <a:ext uri="{FF2B5EF4-FFF2-40B4-BE49-F238E27FC236}">
                <a16:creationId xmlns:a16="http://schemas.microsoft.com/office/drawing/2014/main" id="{7EE510AA-5A9D-4084-A606-8ED53F68829A}"/>
              </a:ext>
            </a:extLst>
          </p:cNvPr>
          <p:cNvPicPr>
            <a:picLocks noChangeAspect="1"/>
          </p:cNvPicPr>
          <p:nvPr userDrawn="1"/>
        </p:nvPicPr>
        <p:blipFill rotWithShape="1">
          <a:blip r:embed="rId6" cstate="print">
            <a:duotone>
              <a:prstClr val="black"/>
              <a:schemeClr val="accent1">
                <a:tint val="45000"/>
                <a:satMod val="400000"/>
              </a:schemeClr>
            </a:duotone>
            <a:alphaModFix amt="50000"/>
            <a:extLst>
              <a:ext uri="{28A0092B-C50C-407E-A947-70E740481C1C}">
                <a14:useLocalDpi xmlns:a14="http://schemas.microsoft.com/office/drawing/2010/main"/>
              </a:ext>
            </a:extLst>
          </a:blip>
          <a:srcRect/>
          <a:stretch/>
        </p:blipFill>
        <p:spPr>
          <a:xfrm>
            <a:off x="-150811" y="5677023"/>
            <a:ext cx="6038251" cy="1225953"/>
          </a:xfrm>
          <a:prstGeom prst="rect">
            <a:avLst/>
          </a:prstGeom>
        </p:spPr>
      </p:pic>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BACB0C39-AABC-4609-8BCC-DE0E90CAC4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975932904"/>
      </p:ext>
    </p:extLst>
  </p:cSld>
  <p:clrMapOvr>
    <a:masterClrMapping/>
  </p:clrMapOvr>
  <p:transition>
    <p:fade/>
  </p:transition>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owth (for internal use)">
    <p:spTree>
      <p:nvGrpSpPr>
        <p:cNvPr id="1" name=""/>
        <p:cNvGrpSpPr/>
        <p:nvPr/>
      </p:nvGrpSpPr>
      <p:grpSpPr>
        <a:xfrm>
          <a:off x="0" y="0"/>
          <a:ext cx="0" cy="0"/>
          <a:chOff x="0" y="0"/>
          <a:chExt cx="0" cy="0"/>
        </a:xfrm>
      </p:grpSpPr>
      <p:grpSp>
        <p:nvGrpSpPr>
          <p:cNvPr id="16" name="Group 15"/>
          <p:cNvGrpSpPr/>
          <p:nvPr userDrawn="1"/>
        </p:nvGrpSpPr>
        <p:grpSpPr>
          <a:xfrm>
            <a:off x="0" y="-2263"/>
            <a:ext cx="12189439" cy="6856214"/>
            <a:chOff x="0" y="1786"/>
            <a:chExt cx="12189439" cy="6856214"/>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4" y="1786"/>
              <a:ext cx="12188825" cy="6856214"/>
            </a:xfrm>
            <a:prstGeom prst="rect">
              <a:avLst/>
            </a:prstGeom>
          </p:spPr>
        </p:pic>
        <p:sp>
          <p:nvSpPr>
            <p:cNvPr id="11" name="Rectangle 10"/>
            <p:cNvSpPr/>
            <p:nvPr userDrawn="1"/>
          </p:nvSpPr>
          <p:spPr bwMode="auto">
            <a:xfrm>
              <a:off x="0" y="1958278"/>
              <a:ext cx="12188825" cy="2310310"/>
            </a:xfrm>
            <a:prstGeom prst="rect">
              <a:avLst/>
            </a:prstGeom>
            <a:gradFill flip="none" rotWithShape="1">
              <a:gsLst>
                <a:gs pos="46000">
                  <a:schemeClr val="bg1">
                    <a:alpha val="0"/>
                  </a:schemeClr>
                </a:gs>
                <a:gs pos="100000">
                  <a:schemeClr val="bg1">
                    <a:alpha val="68000"/>
                  </a:schemeClr>
                </a:gs>
              </a:gsLst>
              <a:lin ang="108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3" name="Picture 2"/>
            <p:cNvPicPr>
              <a:picLocks noChangeAspect="1"/>
            </p:cNvPicPr>
            <p:nvPr userDrawn="1"/>
          </p:nvPicPr>
          <p:blipFill>
            <a:blip r:embed="rId3"/>
            <a:stretch>
              <a:fillRect/>
            </a:stretch>
          </p:blipFill>
          <p:spPr>
            <a:xfrm>
              <a:off x="1187217" y="739109"/>
              <a:ext cx="2768536" cy="468876"/>
            </a:xfrm>
            <a:prstGeom prst="rect">
              <a:avLst/>
            </a:prstGeom>
          </p:spPr>
        </p:pic>
      </p:grpSp>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13" name="Speaker name and date"/>
          <p:cNvSpPr>
            <a:spLocks noGrp="1"/>
          </p:cNvSpPr>
          <p:nvPr userDrawn="1">
            <p:ph type="subTitle" idx="1" hasCustomPrompt="1"/>
          </p:nvPr>
        </p:nvSpPr>
        <p:spPr>
          <a:xfrm>
            <a:off x="10532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tx1">
                    <a:lumMod val="75000"/>
                  </a:schemeClr>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4" name="Sub-title"/>
          <p:cNvSpPr>
            <a:spLocks noGrp="1"/>
          </p:cNvSpPr>
          <p:nvPr userDrawn="1">
            <p:ph type="body" sz="quarter" idx="13" hasCustomPrompt="1"/>
          </p:nvPr>
        </p:nvSpPr>
        <p:spPr>
          <a:xfrm>
            <a:off x="1053260"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tx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15" name="Title"/>
          <p:cNvSpPr>
            <a:spLocks noGrp="1"/>
          </p:cNvSpPr>
          <p:nvPr userDrawn="1">
            <p:ph type="body" sz="quarter" idx="14" hasCustomPrompt="1"/>
          </p:nvPr>
        </p:nvSpPr>
        <p:spPr>
          <a:xfrm>
            <a:off x="105326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tx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2" name="Date Placeholder 1"/>
          <p:cNvSpPr>
            <a:spLocks noGrp="1"/>
          </p:cNvSpPr>
          <p:nvPr>
            <p:ph type="dt" sz="half" idx="15"/>
          </p:nvPr>
        </p:nvSpPr>
        <p:spPr>
          <a:xfrm>
            <a:off x="-3048000" y="6356350"/>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grpSp>
        <p:nvGrpSpPr>
          <p:cNvPr id="12" name="Group 11"/>
          <p:cNvGrpSpPr/>
          <p:nvPr userDrawn="1"/>
        </p:nvGrpSpPr>
        <p:grpSpPr>
          <a:xfrm>
            <a:off x="7351712" y="1642085"/>
            <a:ext cx="3429000" cy="3429000"/>
            <a:chOff x="7351712" y="1642085"/>
            <a:chExt cx="3429000" cy="3429000"/>
          </a:xfrm>
        </p:grpSpPr>
        <p:sp>
          <p:nvSpPr>
            <p:cNvPr id="17" name="Oval 16"/>
            <p:cNvSpPr/>
            <p:nvPr/>
          </p:nvSpPr>
          <p:spPr bwMode="auto">
            <a:xfrm>
              <a:off x="7351712" y="1642085"/>
              <a:ext cx="3429000" cy="3429000"/>
            </a:xfrm>
            <a:prstGeom prst="ellipse">
              <a:avLst/>
            </a:prstGeom>
            <a:solidFill>
              <a:schemeClr val="bg1"/>
            </a:solidFill>
            <a:ln w="76200" algn="ctr">
              <a:solidFill>
                <a:schemeClr val="bg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8"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606220" y="2727065"/>
              <a:ext cx="2919984" cy="1025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16538095"/>
      </p:ext>
    </p:extLst>
  </p:cSld>
  <p:clrMapOvr>
    <a:masterClrMapping/>
  </p:clrMapOvr>
  <p:transition>
    <p:fade/>
  </p:transition>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ew Customer (for internal use)">
    <p:spTree>
      <p:nvGrpSpPr>
        <p:cNvPr id="1" name=""/>
        <p:cNvGrpSpPr/>
        <p:nvPr/>
      </p:nvGrpSpPr>
      <p:grpSpPr>
        <a:xfrm>
          <a:off x="0" y="0"/>
          <a:ext cx="0" cy="0"/>
          <a:chOff x="0" y="0"/>
          <a:chExt cx="0" cy="0"/>
        </a:xfrm>
      </p:grpSpPr>
      <p:grpSp>
        <p:nvGrpSpPr>
          <p:cNvPr id="16" name="Group 15"/>
          <p:cNvGrpSpPr/>
          <p:nvPr userDrawn="1"/>
        </p:nvGrpSpPr>
        <p:grpSpPr>
          <a:xfrm>
            <a:off x="0" y="-2263"/>
            <a:ext cx="12189439" cy="6856214"/>
            <a:chOff x="0" y="1786"/>
            <a:chExt cx="12189439" cy="6856214"/>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4" y="1786"/>
              <a:ext cx="12188825" cy="6856214"/>
            </a:xfrm>
            <a:prstGeom prst="rect">
              <a:avLst/>
            </a:prstGeom>
          </p:spPr>
        </p:pic>
        <p:sp>
          <p:nvSpPr>
            <p:cNvPr id="11" name="Rectangle 10"/>
            <p:cNvSpPr/>
            <p:nvPr userDrawn="1"/>
          </p:nvSpPr>
          <p:spPr bwMode="auto">
            <a:xfrm>
              <a:off x="0" y="1958278"/>
              <a:ext cx="12188825" cy="2310310"/>
            </a:xfrm>
            <a:prstGeom prst="rect">
              <a:avLst/>
            </a:prstGeom>
            <a:gradFill flip="none" rotWithShape="1">
              <a:gsLst>
                <a:gs pos="46000">
                  <a:schemeClr val="bg1">
                    <a:alpha val="0"/>
                  </a:schemeClr>
                </a:gs>
                <a:gs pos="100000">
                  <a:schemeClr val="bg1">
                    <a:alpha val="68000"/>
                  </a:schemeClr>
                </a:gs>
              </a:gsLst>
              <a:lin ang="108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3" name="Picture 2"/>
            <p:cNvPicPr>
              <a:picLocks noChangeAspect="1"/>
            </p:cNvPicPr>
            <p:nvPr userDrawn="1"/>
          </p:nvPicPr>
          <p:blipFill>
            <a:blip r:embed="rId3"/>
            <a:stretch>
              <a:fillRect/>
            </a:stretch>
          </p:blipFill>
          <p:spPr>
            <a:xfrm>
              <a:off x="1187217" y="739109"/>
              <a:ext cx="2768536" cy="468876"/>
            </a:xfrm>
            <a:prstGeom prst="rect">
              <a:avLst/>
            </a:prstGeom>
          </p:spPr>
        </p:pic>
      </p:grpSp>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13" name="Speaker name and date"/>
          <p:cNvSpPr>
            <a:spLocks noGrp="1"/>
          </p:cNvSpPr>
          <p:nvPr userDrawn="1">
            <p:ph type="subTitle" idx="1" hasCustomPrompt="1"/>
          </p:nvPr>
        </p:nvSpPr>
        <p:spPr>
          <a:xfrm>
            <a:off x="10532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tx1">
                    <a:lumMod val="75000"/>
                  </a:schemeClr>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4" name="Sub-title"/>
          <p:cNvSpPr>
            <a:spLocks noGrp="1"/>
          </p:cNvSpPr>
          <p:nvPr userDrawn="1">
            <p:ph type="body" sz="quarter" idx="13" hasCustomPrompt="1"/>
          </p:nvPr>
        </p:nvSpPr>
        <p:spPr>
          <a:xfrm>
            <a:off x="1053260"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tx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15" name="Title"/>
          <p:cNvSpPr>
            <a:spLocks noGrp="1"/>
          </p:cNvSpPr>
          <p:nvPr userDrawn="1">
            <p:ph type="body" sz="quarter" idx="14" hasCustomPrompt="1"/>
          </p:nvPr>
        </p:nvSpPr>
        <p:spPr>
          <a:xfrm>
            <a:off x="105326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tx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2" name="Date Placeholder 1"/>
          <p:cNvSpPr>
            <a:spLocks noGrp="1"/>
          </p:cNvSpPr>
          <p:nvPr>
            <p:ph type="dt" sz="half" idx="15"/>
          </p:nvPr>
        </p:nvSpPr>
        <p:spPr>
          <a:xfrm>
            <a:off x="-3048000" y="6356350"/>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grpSp>
        <p:nvGrpSpPr>
          <p:cNvPr id="7" name="Group 6"/>
          <p:cNvGrpSpPr/>
          <p:nvPr userDrawn="1"/>
        </p:nvGrpSpPr>
        <p:grpSpPr>
          <a:xfrm>
            <a:off x="7483196" y="1252637"/>
            <a:ext cx="4354513" cy="4354513"/>
            <a:chOff x="7483196" y="1252637"/>
            <a:chExt cx="4354513" cy="4354513"/>
          </a:xfrm>
        </p:grpSpPr>
        <p:sp>
          <p:nvSpPr>
            <p:cNvPr id="19" name="Oval 18"/>
            <p:cNvSpPr/>
            <p:nvPr userDrawn="1"/>
          </p:nvSpPr>
          <p:spPr bwMode="auto">
            <a:xfrm>
              <a:off x="7483196" y="1252637"/>
              <a:ext cx="4354513" cy="4354513"/>
            </a:xfrm>
            <a:prstGeom prst="ellipse">
              <a:avLst/>
            </a:prstGeom>
            <a:solidFill>
              <a:schemeClr val="bg1"/>
            </a:solidFill>
            <a:ln w="76200" algn="ctr">
              <a:solidFill>
                <a:schemeClr val="bg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38790" y="2719387"/>
              <a:ext cx="3823584" cy="1538288"/>
            </a:xfrm>
            <a:prstGeom prst="rect">
              <a:avLst/>
            </a:prstGeom>
          </p:spPr>
        </p:pic>
      </p:grpSp>
    </p:spTree>
    <p:extLst>
      <p:ext uri="{BB962C8B-B14F-4D97-AF65-F5344CB8AC3E}">
        <p14:creationId xmlns:p14="http://schemas.microsoft.com/office/powerpoint/2010/main" val="3968385603"/>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Agenda list"/>
          <p:cNvSpPr>
            <a:spLocks noGrp="1"/>
          </p:cNvSpPr>
          <p:nvPr>
            <p:ph sz="quarter" idx="13"/>
          </p:nvPr>
        </p:nvSpPr>
        <p:spPr>
          <a:xfrm>
            <a:off x="2243780" y="1752898"/>
            <a:ext cx="9211620" cy="4163242"/>
          </a:xfrm>
        </p:spPr>
        <p:txBody>
          <a:bodyPr/>
          <a:lstStyle>
            <a:lvl1pPr marL="228600" indent="-228600">
              <a:lnSpc>
                <a:spcPct val="120000"/>
              </a:lnSpc>
              <a:buFont typeface="Calibri" panose="020F0502020204030204" pitchFamily="34" charset="0"/>
              <a:buChar char="•"/>
              <a:defRPr sz="2400">
                <a:solidFill>
                  <a:schemeClr val="tx1">
                    <a:lumMod val="50000"/>
                  </a:schemeClr>
                </a:solidFill>
              </a:defRPr>
            </a:lvl1pPr>
            <a:lvl2pPr marL="576072" indent="-228600">
              <a:buFont typeface="Calibri" panose="020F0502020204030204" pitchFamily="34" charset="0"/>
              <a:buChar char="̶"/>
              <a:defRPr>
                <a:solidFill>
                  <a:schemeClr val="tx1">
                    <a:lumMod val="50000"/>
                  </a:schemeClr>
                </a:solidFill>
              </a:defRPr>
            </a:lvl2pPr>
          </a:lstStyle>
          <a:p>
            <a:pPr lvl="0"/>
            <a:r>
              <a:rPr lang="en-US"/>
              <a:t>Edit Master text styles</a:t>
            </a:r>
          </a:p>
          <a:p>
            <a:pPr lvl="1"/>
            <a:r>
              <a:rPr lang="en-US"/>
              <a:t>Second level</a:t>
            </a:r>
          </a:p>
        </p:txBody>
      </p:sp>
      <p:sp>
        <p:nvSpPr>
          <p:cNvPr id="6" name="Slide Title"/>
          <p:cNvSpPr>
            <a:spLocks noGrp="1"/>
          </p:cNvSpPr>
          <p:nvPr>
            <p:ph type="title"/>
          </p:nvPr>
        </p:nvSpPr>
        <p:spPr>
          <a:xfrm>
            <a:off x="1166812" y="976680"/>
            <a:ext cx="10288587" cy="707289"/>
          </a:xfrm>
        </p:spPr>
        <p:txBody>
          <a:bodyPr/>
          <a:lstStyle>
            <a:lvl1pPr>
              <a:defRPr>
                <a:solidFill>
                  <a:schemeClr val="bg2"/>
                </a:solidFill>
              </a:defRPr>
            </a:lvl1pPr>
          </a:lstStyle>
          <a:p>
            <a:r>
              <a:rPr lang="en-US"/>
              <a:t>Click to edit Master title style</a:t>
            </a:r>
            <a:endParaRPr lang="en-US" dirty="0"/>
          </a:p>
        </p:txBody>
      </p:sp>
      <p:sp>
        <p:nvSpPr>
          <p:cNvPr id="2" name="Date Placeholder 1"/>
          <p:cNvSpPr>
            <a:spLocks noGrp="1"/>
          </p:cNvSpPr>
          <p:nvPr>
            <p:ph type="dt" sz="half" idx="14"/>
          </p:nvPr>
        </p:nvSpPr>
        <p:spPr>
          <a:xfrm>
            <a:off x="-2976664" y="6356350"/>
            <a:ext cx="2843213" cy="365125"/>
          </a:xfrm>
        </p:spPr>
        <p:txBody>
          <a:bodyPr/>
          <a:lstStyle>
            <a:lvl1pPr>
              <a:defRPr>
                <a:latin typeface="Calibri" panose="020F0502020204030204" pitchFamily="34" charset="0"/>
              </a:defRPr>
            </a:lvl1pPr>
          </a:lstStyle>
          <a:p>
            <a:pPr>
              <a:buClr>
                <a:srgbClr val="FF0000"/>
              </a:buClr>
            </a:pPr>
            <a:fld id="{1B14FBC4-36FA-423D-BDD2-47F855CE7E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236751357"/>
      </p:ext>
    </p:extLst>
  </p:cSld>
  <p:clrMapOvr>
    <a:masterClrMapping/>
  </p:clrMapOvr>
  <p:transition>
    <p:fade/>
  </p:transition>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07803623"/>
      </p:ext>
    </p:extLst>
  </p:cSld>
  <p:clrMapOvr>
    <a:masterClrMapping/>
  </p:clrMapOvr>
  <p:transition>
    <p:fade/>
  </p:transition>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2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22371" cy="914400"/>
          </a:xfrm>
        </p:spPr>
        <p:txBody>
          <a:bodyPr/>
          <a:lstStyle>
            <a:lvl1pPr>
              <a:defRPr>
                <a:solidFill>
                  <a:schemeClr val="bg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7" name="Rectangle 6">
            <a:extLst>
              <a:ext uri="{FF2B5EF4-FFF2-40B4-BE49-F238E27FC236}">
                <a16:creationId xmlns:a16="http://schemas.microsoft.com/office/drawing/2014/main" id="{FB193DC0-30E1-45E1-BC11-F05782F4EA9E}"/>
              </a:ext>
            </a:extLst>
          </p:cNvPr>
          <p:cNvSpPr/>
          <p:nvPr userDrawn="1"/>
        </p:nvSpPr>
        <p:spPr bwMode="auto">
          <a:xfrm>
            <a:off x="0" y="1449377"/>
            <a:ext cx="12188825" cy="4724309"/>
          </a:xfrm>
          <a:prstGeom prst="rect">
            <a:avLst/>
          </a:prstGeom>
          <a:gradFill flip="none" rotWithShape="1">
            <a:gsLst>
              <a:gs pos="680">
                <a:schemeClr val="accent6"/>
              </a:gs>
              <a:gs pos="100000">
                <a:srgbClr val="920053"/>
              </a:gs>
              <a:gs pos="0">
                <a:schemeClr val="accent6"/>
              </a:gs>
            </a:gsLst>
            <a:lin ang="108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1408608549"/>
      </p:ext>
    </p:extLst>
  </p:cSld>
  <p:clrMapOvr>
    <a:masterClrMapping/>
  </p:clrMapOvr>
  <p:transition>
    <p:fade/>
  </p:transition>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Standard Title and Bullets">
  <p:cSld name="5_Standard Title and Bullets">
    <p:spTree>
      <p:nvGrpSpPr>
        <p:cNvPr id="1" name="Shape 55"/>
        <p:cNvGrpSpPr/>
        <p:nvPr/>
      </p:nvGrpSpPr>
      <p:grpSpPr>
        <a:xfrm>
          <a:off x="0" y="0"/>
          <a:ext cx="0" cy="0"/>
          <a:chOff x="0" y="0"/>
          <a:chExt cx="0" cy="0"/>
        </a:xfrm>
      </p:grpSpPr>
      <p:sp>
        <p:nvSpPr>
          <p:cNvPr id="56" name="Google Shape;56;p65"/>
          <p:cNvSpPr txBox="1">
            <a:spLocks noGrp="1"/>
          </p:cNvSpPr>
          <p:nvPr>
            <p:ph type="title"/>
          </p:nvPr>
        </p:nvSpPr>
        <p:spPr>
          <a:xfrm>
            <a:off x="583842" y="460552"/>
            <a:ext cx="11022371" cy="914400"/>
          </a:xfrm>
          <a:prstGeom prst="rect">
            <a:avLst/>
          </a:prstGeom>
          <a:noFill/>
          <a:ln>
            <a:noFill/>
          </a:ln>
        </p:spPr>
        <p:txBody>
          <a:bodyPr spcFirstLastPara="1" wrap="square" lIns="91425" tIns="45700" rIns="91425" bIns="45700" anchor="t" anchorCtr="0">
            <a:noAutofit/>
          </a:bodyPr>
          <a:lstStyle>
            <a:lvl1pPr lvl="0" algn="l">
              <a:lnSpc>
                <a:spcPct val="85000"/>
              </a:lnSpc>
              <a:spcBef>
                <a:spcPts val="0"/>
              </a:spcBef>
              <a:spcAft>
                <a:spcPts val="0"/>
              </a:spcAft>
              <a:buSzPts val="1400"/>
              <a:buNone/>
              <a:defRPr>
                <a:solidFill>
                  <a:schemeClr val="dk2"/>
                </a:solidFill>
              </a:defRPr>
            </a:lvl1pPr>
            <a:lvl2pPr lvl="1" algn="l">
              <a:lnSpc>
                <a:spcPct val="85000"/>
              </a:lnSpc>
              <a:spcBef>
                <a:spcPts val="0"/>
              </a:spcBef>
              <a:spcAft>
                <a:spcPts val="0"/>
              </a:spcAft>
              <a:buSzPts val="1400"/>
              <a:buNone/>
              <a:defRPr/>
            </a:lvl2pPr>
            <a:lvl3pPr lvl="2" algn="l">
              <a:lnSpc>
                <a:spcPct val="85000"/>
              </a:lnSpc>
              <a:spcBef>
                <a:spcPts val="0"/>
              </a:spcBef>
              <a:spcAft>
                <a:spcPts val="0"/>
              </a:spcAft>
              <a:buSzPts val="1400"/>
              <a:buNone/>
              <a:defRPr/>
            </a:lvl3pPr>
            <a:lvl4pPr lvl="3" algn="l">
              <a:lnSpc>
                <a:spcPct val="85000"/>
              </a:lnSpc>
              <a:spcBef>
                <a:spcPts val="0"/>
              </a:spcBef>
              <a:spcAft>
                <a:spcPts val="0"/>
              </a:spcAft>
              <a:buSzPts val="1400"/>
              <a:buNone/>
              <a:defRPr/>
            </a:lvl4pPr>
            <a:lvl5pPr lvl="4" algn="l">
              <a:lnSpc>
                <a:spcPct val="85000"/>
              </a:lnSpc>
              <a:spcBef>
                <a:spcPts val="0"/>
              </a:spcBef>
              <a:spcAft>
                <a:spcPts val="0"/>
              </a:spcAft>
              <a:buSzPts val="1400"/>
              <a:buNone/>
              <a:defRPr/>
            </a:lvl5pPr>
            <a:lvl6pPr lvl="5" algn="l">
              <a:lnSpc>
                <a:spcPct val="85000"/>
              </a:lnSpc>
              <a:spcBef>
                <a:spcPts val="0"/>
              </a:spcBef>
              <a:spcAft>
                <a:spcPts val="0"/>
              </a:spcAft>
              <a:buSzPts val="1400"/>
              <a:buNone/>
              <a:defRPr/>
            </a:lvl6pPr>
            <a:lvl7pPr lvl="6" algn="l">
              <a:lnSpc>
                <a:spcPct val="85000"/>
              </a:lnSpc>
              <a:spcBef>
                <a:spcPts val="0"/>
              </a:spcBef>
              <a:spcAft>
                <a:spcPts val="0"/>
              </a:spcAft>
              <a:buSzPts val="1400"/>
              <a:buNone/>
              <a:defRPr/>
            </a:lvl7pPr>
            <a:lvl8pPr lvl="7" algn="l">
              <a:lnSpc>
                <a:spcPct val="85000"/>
              </a:lnSpc>
              <a:spcBef>
                <a:spcPts val="0"/>
              </a:spcBef>
              <a:spcAft>
                <a:spcPts val="0"/>
              </a:spcAft>
              <a:buSzPts val="1400"/>
              <a:buNone/>
              <a:defRPr/>
            </a:lvl8pPr>
            <a:lvl9pPr lvl="8" algn="l">
              <a:lnSpc>
                <a:spcPct val="85000"/>
              </a:lnSpc>
              <a:spcBef>
                <a:spcPts val="0"/>
              </a:spcBef>
              <a:spcAft>
                <a:spcPts val="0"/>
              </a:spcAft>
              <a:buSzPts val="1400"/>
              <a:buNone/>
              <a:defRPr/>
            </a:lvl9pPr>
          </a:lstStyle>
          <a:p>
            <a:endParaRPr/>
          </a:p>
        </p:txBody>
      </p:sp>
      <p:sp>
        <p:nvSpPr>
          <p:cNvPr id="57" name="Google Shape;57;p65"/>
          <p:cNvSpPr txBox="1">
            <a:spLocks noGrp="1"/>
          </p:cNvSpPr>
          <p:nvPr>
            <p:ph type="body" idx="1"/>
          </p:nvPr>
        </p:nvSpPr>
        <p:spPr>
          <a:xfrm>
            <a:off x="583842" y="1534473"/>
            <a:ext cx="11022371" cy="4767267"/>
          </a:xfrm>
          <a:prstGeom prst="rect">
            <a:avLst/>
          </a:prstGeom>
          <a:noFill/>
          <a:ln>
            <a:noFill/>
          </a:ln>
        </p:spPr>
        <p:txBody>
          <a:bodyPr spcFirstLastPara="1" wrap="square" lIns="91425" tIns="45700" rIns="91425" bIns="45700" anchor="t" anchorCtr="0">
            <a:noAutofit/>
          </a:bodyPr>
          <a:lstStyle>
            <a:lvl1pPr marL="457200" lvl="0" indent="-325755" algn="l">
              <a:lnSpc>
                <a:spcPct val="95000"/>
              </a:lnSpc>
              <a:spcBef>
                <a:spcPts val="1000"/>
              </a:spcBef>
              <a:spcAft>
                <a:spcPts val="0"/>
              </a:spcAft>
              <a:buSzPts val="1530"/>
              <a:buChar char="•"/>
              <a:defRPr/>
            </a:lvl1pPr>
            <a:lvl2pPr marL="914400" lvl="1" indent="-342900" algn="l">
              <a:lnSpc>
                <a:spcPct val="95000"/>
              </a:lnSpc>
              <a:spcBef>
                <a:spcPts val="800"/>
              </a:spcBef>
              <a:spcAft>
                <a:spcPts val="0"/>
              </a:spcAft>
              <a:buSzPts val="1800"/>
              <a:buChar char="•"/>
              <a:defRPr/>
            </a:lvl2pPr>
            <a:lvl3pPr marL="1371600" lvl="2" indent="-342900" algn="l">
              <a:lnSpc>
                <a:spcPct val="95000"/>
              </a:lnSpc>
              <a:spcBef>
                <a:spcPts val="800"/>
              </a:spcBef>
              <a:spcAft>
                <a:spcPts val="0"/>
              </a:spcAft>
              <a:buSzPts val="1800"/>
              <a:buChar char="•"/>
              <a:defRPr/>
            </a:lvl3pPr>
            <a:lvl4pPr marL="1828800" lvl="3" indent="-342900" algn="l">
              <a:lnSpc>
                <a:spcPct val="90000"/>
              </a:lnSpc>
              <a:spcBef>
                <a:spcPts val="800"/>
              </a:spcBef>
              <a:spcAft>
                <a:spcPts val="0"/>
              </a:spcAft>
              <a:buSzPts val="1800"/>
              <a:buChar char="̶"/>
              <a:defRPr/>
            </a:lvl4pPr>
            <a:lvl5pPr marL="2286000" lvl="4" indent="-342900" algn="l">
              <a:lnSpc>
                <a:spcPct val="90000"/>
              </a:lnSpc>
              <a:spcBef>
                <a:spcPts val="80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58" name="Google Shape;58;p65" hidden="1"/>
          <p:cNvSpPr txBox="1">
            <a:spLocks noGrp="1"/>
          </p:cNvSpPr>
          <p:nvPr>
            <p:ph type="dt" idx="10"/>
          </p:nvPr>
        </p:nvSpPr>
        <p:spPr>
          <a:xfrm>
            <a:off x="609600" y="6356350"/>
            <a:ext cx="2843213" cy="365125"/>
          </a:xfrm>
          <a:prstGeom prst="rect">
            <a:avLst/>
          </a:prstGeom>
          <a:noFill/>
          <a:ln>
            <a:noFill/>
          </a:ln>
        </p:spPr>
        <p:txBody>
          <a:bodyPr spcFirstLastPara="1" wrap="square" lIns="91425" tIns="45700" rIns="91425" bIns="45700" anchor="ctr" anchorCtr="0">
            <a:noAutofit/>
          </a:bodyPr>
          <a:lstStyle>
            <a:lvl1pPr lvl="0" algn="l">
              <a:spcBef>
                <a:spcPts val="360"/>
              </a:spcBef>
              <a:spcAft>
                <a:spcPts val="0"/>
              </a:spcAft>
              <a:buSzPts val="1400"/>
              <a:buNone/>
              <a:defRPr/>
            </a:lvl1pPr>
            <a:lvl2pPr lvl="1" algn="l">
              <a:spcBef>
                <a:spcPts val="360"/>
              </a:spcBef>
              <a:spcAft>
                <a:spcPts val="0"/>
              </a:spcAft>
              <a:buSzPts val="1400"/>
              <a:buNone/>
              <a:defRPr/>
            </a:lvl2pPr>
            <a:lvl3pPr lvl="2" algn="l">
              <a:spcBef>
                <a:spcPts val="360"/>
              </a:spcBef>
              <a:spcAft>
                <a:spcPts val="0"/>
              </a:spcAft>
              <a:buSzPts val="1400"/>
              <a:buNone/>
              <a:defRPr/>
            </a:lvl3pPr>
            <a:lvl4pPr lvl="3" algn="l">
              <a:spcBef>
                <a:spcPts val="360"/>
              </a:spcBef>
              <a:spcAft>
                <a:spcPts val="0"/>
              </a:spcAft>
              <a:buSzPts val="1400"/>
              <a:buNone/>
              <a:defRPr/>
            </a:lvl4pPr>
            <a:lvl5pPr lvl="4" algn="l">
              <a:spcBef>
                <a:spcPts val="36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 name="Footer Placeholder 1" hidden="1"/>
          <p:cNvSpPr>
            <a:spLocks noGrp="1"/>
          </p:cNvSpPr>
          <p:nvPr>
            <p:ph type="ftr" sz="quarter" idx="11"/>
          </p:nvPr>
        </p:nvSpPr>
        <p:spPr>
          <a:xfrm>
            <a:off x="4037013" y="6356350"/>
            <a:ext cx="41148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583989"/>
      </p:ext>
    </p:extLst>
  </p:cSld>
  <p:clrMapOvr>
    <a:masterClrMapping/>
  </p:clrMapOvr>
  <p:transition>
    <p:fade/>
  </p:transition>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pic>
        <p:nvPicPr>
          <p:cNvPr id="7" name="Picture 6">
            <a:extLst>
              <a:ext uri="{FF2B5EF4-FFF2-40B4-BE49-F238E27FC236}">
                <a16:creationId xmlns:a16="http://schemas.microsoft.com/office/drawing/2014/main" id="{21D266BF-92F8-4D07-89EB-834FC7ACF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21"/>
            <a:ext cx="12188825" cy="6537695"/>
          </a:xfrm>
          <a:prstGeom prst="rect">
            <a:avLst/>
          </a:prstGeom>
        </p:spPr>
      </p:pic>
      <p:sp>
        <p:nvSpPr>
          <p:cNvPr id="9" name="Rectangle 8">
            <a:extLst>
              <a:ext uri="{FF2B5EF4-FFF2-40B4-BE49-F238E27FC236}">
                <a16:creationId xmlns:a16="http://schemas.microsoft.com/office/drawing/2014/main" id="{0FB71E04-7B6A-40F3-BC30-8D4EB12314D4}"/>
              </a:ext>
            </a:extLst>
          </p:cNvPr>
          <p:cNvSpPr/>
          <p:nvPr userDrawn="1"/>
        </p:nvSpPr>
        <p:spPr bwMode="auto">
          <a:xfrm>
            <a:off x="-1" y="-27710"/>
            <a:ext cx="12188826" cy="6563884"/>
          </a:xfrm>
          <a:prstGeom prst="rect">
            <a:avLst/>
          </a:prstGeom>
          <a:solidFill>
            <a:schemeClr val="tx1">
              <a:lumMod val="50000"/>
              <a:alpha val="57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3997049504"/>
      </p:ext>
    </p:extLst>
  </p:cSld>
  <p:clrMapOvr>
    <a:masterClrMapping/>
  </p:clrMapOvr>
  <p:transition>
    <p:fade/>
  </p:transition>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pic>
        <p:nvPicPr>
          <p:cNvPr id="7" name="Content Placeholder 38" descr="A person sitting at a table using a computer&#10;&#10;Description automatically generated">
            <a:extLst>
              <a:ext uri="{FF2B5EF4-FFF2-40B4-BE49-F238E27FC236}">
                <a16:creationId xmlns:a16="http://schemas.microsoft.com/office/drawing/2014/main" id="{8DD4190E-E75D-4106-896E-51605FEED9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7204"/>
          <a:stretch/>
        </p:blipFill>
        <p:spPr bwMode="auto">
          <a:xfrm flipH="1">
            <a:off x="0" y="-61161"/>
            <a:ext cx="12239145"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Content Placeholder 38" descr="A person sitting at a table using a computer&#10;&#10;Description automatically generated">
            <a:extLst>
              <a:ext uri="{FF2B5EF4-FFF2-40B4-BE49-F238E27FC236}">
                <a16:creationId xmlns:a16="http://schemas.microsoft.com/office/drawing/2014/main" id="{226CAAE4-4EB8-4769-B01C-460DA1F7AAB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flipH="1">
            <a:off x="9631678" y="-61161"/>
            <a:ext cx="2565450" cy="6565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615A9E37-867B-4A0B-A4F4-03BA8FCC78A6}"/>
              </a:ext>
            </a:extLst>
          </p:cNvPr>
          <p:cNvSpPr/>
          <p:nvPr userDrawn="1"/>
        </p:nvSpPr>
        <p:spPr bwMode="auto">
          <a:xfrm>
            <a:off x="-50321" y="-71552"/>
            <a:ext cx="12239145" cy="65757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2970052934"/>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7" name="Rectangle 6">
            <a:extLst>
              <a:ext uri="{FF2B5EF4-FFF2-40B4-BE49-F238E27FC236}">
                <a16:creationId xmlns:a16="http://schemas.microsoft.com/office/drawing/2014/main" id="{C92912BA-C7F3-47CF-8716-251ABB961FB4}"/>
              </a:ext>
            </a:extLst>
          </p:cNvPr>
          <p:cNvSpPr/>
          <p:nvPr userDrawn="1"/>
        </p:nvSpPr>
        <p:spPr bwMode="auto">
          <a:xfrm>
            <a:off x="0" y="-10993"/>
            <a:ext cx="12281197" cy="6535023"/>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0" name="Picture 9" descr="A picture containing comb&#10;&#10;Description automatically generated">
            <a:extLst>
              <a:ext uri="{FF2B5EF4-FFF2-40B4-BE49-F238E27FC236}">
                <a16:creationId xmlns:a16="http://schemas.microsoft.com/office/drawing/2014/main" id="{F4FE5F97-146D-4CA4-930E-0408ACB38F6D}"/>
              </a:ext>
            </a:extLst>
          </p:cNvPr>
          <p:cNvPicPr>
            <a:picLocks noChangeAspect="1"/>
          </p:cNvPicPr>
          <p:nvPr/>
        </p:nvPicPr>
        <p:blipFill rotWithShape="1">
          <a:blip r:embed="rId2" cstate="screen">
            <a:lum bright="70000" contrast="-70000"/>
            <a:alphaModFix/>
            <a:extLst>
              <a:ext uri="{28A0092B-C50C-407E-A947-70E740481C1C}">
                <a14:useLocalDpi xmlns:a14="http://schemas.microsoft.com/office/drawing/2010/main"/>
              </a:ext>
            </a:extLst>
          </a:blip>
          <a:srcRect/>
          <a:stretch/>
        </p:blipFill>
        <p:spPr>
          <a:xfrm>
            <a:off x="3578995" y="116310"/>
            <a:ext cx="2926443" cy="1372232"/>
          </a:xfrm>
          <a:prstGeom prst="rect">
            <a:avLst/>
          </a:prstGeom>
        </p:spPr>
      </p:pic>
      <p:pic>
        <p:nvPicPr>
          <p:cNvPr id="11" name="Picture 10" descr="A picture containing comb&#10;&#10;Description automatically generated">
            <a:extLst>
              <a:ext uri="{FF2B5EF4-FFF2-40B4-BE49-F238E27FC236}">
                <a16:creationId xmlns:a16="http://schemas.microsoft.com/office/drawing/2014/main" id="{D2C1876E-B148-42B6-BB96-2F90C8680721}"/>
              </a:ext>
            </a:extLst>
          </p:cNvPr>
          <p:cNvPicPr>
            <a:picLocks noChangeAspect="1"/>
          </p:cNvPicPr>
          <p:nvPr userDrawn="1"/>
        </p:nvPicPr>
        <p:blipFill rotWithShape="1">
          <a:blip r:embed="rId3" cstate="screen">
            <a:duotone>
              <a:prstClr val="black"/>
              <a:schemeClr val="tx2">
                <a:tint val="45000"/>
                <a:satMod val="400000"/>
              </a:schemeClr>
            </a:duotone>
            <a:alphaModFix amt="85000"/>
            <a:extLst>
              <a:ext uri="{28A0092B-C50C-407E-A947-70E740481C1C}">
                <a14:useLocalDpi xmlns:a14="http://schemas.microsoft.com/office/drawing/2010/main"/>
              </a:ext>
            </a:extLst>
          </a:blip>
          <a:srcRect/>
          <a:stretch/>
        </p:blipFill>
        <p:spPr>
          <a:xfrm flipH="1">
            <a:off x="0" y="4175777"/>
            <a:ext cx="3269010" cy="1372232"/>
          </a:xfrm>
          <a:prstGeom prst="rect">
            <a:avLst/>
          </a:prstGeom>
        </p:spPr>
      </p:pic>
    </p:spTree>
    <p:extLst>
      <p:ext uri="{BB962C8B-B14F-4D97-AF65-F5344CB8AC3E}">
        <p14:creationId xmlns:p14="http://schemas.microsoft.com/office/powerpoint/2010/main" val="4226467433"/>
      </p:ext>
    </p:extLst>
  </p:cSld>
  <p:clrMapOvr>
    <a:masterClrMapping/>
  </p:clrMapOvr>
  <p:transition>
    <p:fade/>
  </p:transition>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pic>
        <p:nvPicPr>
          <p:cNvPr id="7" name="Picture 6" descr="A person sitting in front of a building&#10;&#10;Description automatically generated">
            <a:extLst>
              <a:ext uri="{FF2B5EF4-FFF2-40B4-BE49-F238E27FC236}">
                <a16:creationId xmlns:a16="http://schemas.microsoft.com/office/drawing/2014/main" id="{6AEBA8B7-4955-4263-AB3A-53337A95BE5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30480"/>
            <a:ext cx="12188824" cy="6536175"/>
          </a:xfrm>
          <a:prstGeom prst="rect">
            <a:avLst/>
          </a:prstGeom>
        </p:spPr>
      </p:pic>
      <p:sp>
        <p:nvSpPr>
          <p:cNvPr id="8" name="Rectangle 7">
            <a:extLst>
              <a:ext uri="{FF2B5EF4-FFF2-40B4-BE49-F238E27FC236}">
                <a16:creationId xmlns:a16="http://schemas.microsoft.com/office/drawing/2014/main" id="{E756A239-DC06-46AD-AEA3-550F22C145F5}"/>
              </a:ext>
            </a:extLst>
          </p:cNvPr>
          <p:cNvSpPr/>
          <p:nvPr userDrawn="1"/>
        </p:nvSpPr>
        <p:spPr bwMode="auto">
          <a:xfrm>
            <a:off x="-24202" y="-30480"/>
            <a:ext cx="12222161" cy="6536175"/>
          </a:xfrm>
          <a:prstGeom prst="rect">
            <a:avLst/>
          </a:prstGeom>
          <a:solidFill>
            <a:schemeClr val="accent6">
              <a:alpha val="67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76249379"/>
      </p:ext>
    </p:extLst>
  </p:cSld>
  <p:clrMapOvr>
    <a:masterClrMapping/>
  </p:clrMapOvr>
  <p:transition>
    <p:fade/>
  </p:transition>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tandard Title and Bullets">
    <p:spTree>
      <p:nvGrpSpPr>
        <p:cNvPr id="1" name=""/>
        <p:cNvGrpSpPr/>
        <p:nvPr/>
      </p:nvGrpSpPr>
      <p:grpSpPr>
        <a:xfrm>
          <a:off x="0" y="0"/>
          <a:ext cx="0" cy="0"/>
          <a:chOff x="0" y="0"/>
          <a:chExt cx="0" cy="0"/>
        </a:xfrm>
      </p:grpSpPr>
      <p:pic>
        <p:nvPicPr>
          <p:cNvPr id="8" name="Picture 7" descr="A picture containing outdoor, person, building, person&#10;&#10;Description automatically generated">
            <a:extLst>
              <a:ext uri="{FF2B5EF4-FFF2-40B4-BE49-F238E27FC236}">
                <a16:creationId xmlns:a16="http://schemas.microsoft.com/office/drawing/2014/main" id="{6183CDA4-0500-4D54-8060-6AE889F934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11575"/>
            <a:ext cx="12188825" cy="6535694"/>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2" y="481"/>
            <a:ext cx="12188825" cy="6535694"/>
          </a:xfrm>
          <a:prstGeom prst="rect">
            <a:avLst/>
          </a:prstGeom>
          <a:gradFill>
            <a:gsLst>
              <a:gs pos="98000">
                <a:srgbClr val="00153E"/>
              </a:gs>
              <a:gs pos="53000">
                <a:schemeClr val="accent6">
                  <a:alpha val="51000"/>
                </a:schemeClr>
              </a:gs>
            </a:gsLst>
            <a:lin ang="5400000" scaled="1"/>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2417104250"/>
      </p:ext>
    </p:extLst>
  </p:cSld>
  <p:clrMapOvr>
    <a:masterClrMapping/>
  </p:clrMapOvr>
  <p:transition>
    <p:fade/>
  </p:transition>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Standard Title and Bullets">
    <p:spTree>
      <p:nvGrpSpPr>
        <p:cNvPr id="1" name=""/>
        <p:cNvGrpSpPr/>
        <p:nvPr/>
      </p:nvGrpSpPr>
      <p:grpSpPr>
        <a:xfrm>
          <a:off x="0" y="0"/>
          <a:ext cx="0" cy="0"/>
          <a:chOff x="0" y="0"/>
          <a:chExt cx="0" cy="0"/>
        </a:xfrm>
      </p:grpSpPr>
      <p:pic>
        <p:nvPicPr>
          <p:cNvPr id="11" name="Picture 10" descr="A person sitting on a bench talking on a cell phone&#10;&#10;Description automatically generated">
            <a:extLst>
              <a:ext uri="{FF2B5EF4-FFF2-40B4-BE49-F238E27FC236}">
                <a16:creationId xmlns:a16="http://schemas.microsoft.com/office/drawing/2014/main" id="{57990645-8350-4F63-BA84-BF625A9DE0D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632"/>
          <a:stretch/>
        </p:blipFill>
        <p:spPr>
          <a:xfrm flipH="1">
            <a:off x="2011680" y="-38101"/>
            <a:ext cx="11816862" cy="6536176"/>
          </a:xfrm>
          <a:prstGeom prst="rect">
            <a:avLst/>
          </a:prstGeom>
        </p:spPr>
      </p:pic>
      <p:pic>
        <p:nvPicPr>
          <p:cNvPr id="10" name="Picture 9" descr="A person sitting on a bench talking on a cell phone&#10;&#10;Description automatically generated">
            <a:extLst>
              <a:ext uri="{FF2B5EF4-FFF2-40B4-BE49-F238E27FC236}">
                <a16:creationId xmlns:a16="http://schemas.microsoft.com/office/drawing/2014/main" id="{0A288011-D1AE-4F1E-A77A-E3436352B32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5318"/>
          <a:stretch/>
        </p:blipFill>
        <p:spPr>
          <a:xfrm flipH="1">
            <a:off x="0" y="-27710"/>
            <a:ext cx="11816862" cy="6536176"/>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2991244" y="6356350"/>
            <a:ext cx="2843213" cy="365125"/>
          </a:xfrm>
        </p:spPr>
        <p:txBody>
          <a:bodyPr/>
          <a:lstStyle>
            <a:lvl1pPr>
              <a:defRPr>
                <a:latin typeface="Calibri" panose="020F0502020204030204" pitchFamily="34" charset="0"/>
              </a:defRPr>
            </a:lvl1pPr>
          </a:lstStyle>
          <a:p>
            <a:pPr>
              <a:buClr>
                <a:srgbClr val="FF0000"/>
              </a:buClr>
            </a:pPr>
            <a:fld id="{CF0E1690-FFBA-4DAF-B44A-36E39ACA034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9" name="Rectangle 8">
            <a:extLst>
              <a:ext uri="{FF2B5EF4-FFF2-40B4-BE49-F238E27FC236}">
                <a16:creationId xmlns:a16="http://schemas.microsoft.com/office/drawing/2014/main" id="{8A30B141-8EB9-4E12-A851-1D72AC5AD2F7}"/>
              </a:ext>
            </a:extLst>
          </p:cNvPr>
          <p:cNvSpPr/>
          <p:nvPr userDrawn="1"/>
        </p:nvSpPr>
        <p:spPr bwMode="auto">
          <a:xfrm>
            <a:off x="-1" y="-27710"/>
            <a:ext cx="12188826" cy="6536176"/>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6" name="Rectangle 5">
            <a:extLst>
              <a:ext uri="{FF2B5EF4-FFF2-40B4-BE49-F238E27FC236}">
                <a16:creationId xmlns:a16="http://schemas.microsoft.com/office/drawing/2014/main" id="{C0B7BB4A-670A-4FD0-B578-7D3EE4B0F1AE}"/>
              </a:ext>
            </a:extLst>
          </p:cNvPr>
          <p:cNvSpPr/>
          <p:nvPr userDrawn="1"/>
        </p:nvSpPr>
        <p:spPr bwMode="auto">
          <a:xfrm>
            <a:off x="-371962" y="4637942"/>
            <a:ext cx="8906362" cy="1879183"/>
          </a:xfrm>
          <a:prstGeom prst="rect">
            <a:avLst/>
          </a:prstGeom>
          <a:solidFill>
            <a:srgbClr val="111F46">
              <a:alpha val="85000"/>
            </a:srgbClr>
          </a:solidFill>
          <a:ln w="12700" algn="ctr">
            <a:noFill/>
            <a:miter lim="800000"/>
            <a:headEnd/>
            <a:tailEnd/>
          </a:ln>
          <a:effectLst>
            <a:softEdge rad="444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Tree>
    <p:extLst>
      <p:ext uri="{BB962C8B-B14F-4D97-AF65-F5344CB8AC3E}">
        <p14:creationId xmlns:p14="http://schemas.microsoft.com/office/powerpoint/2010/main" val="1497567213"/>
      </p:ext>
    </p:extLst>
  </p:cSld>
  <p:clrMapOvr>
    <a:masterClrMapping/>
  </p:clrMapOvr>
  <p:transition>
    <p:fade/>
  </p:transition>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6" name="Picture 5" descr="A view of a city&#10;&#10;Description automatically generated">
            <a:extLst>
              <a:ext uri="{FF2B5EF4-FFF2-40B4-BE49-F238E27FC236}">
                <a16:creationId xmlns:a16="http://schemas.microsoft.com/office/drawing/2014/main" id="{700375A9-F852-48BD-B8EB-CD66D9E4E4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9989"/>
            <a:ext cx="12188824" cy="6535694"/>
          </a:xfrm>
          <a:prstGeom prst="rect">
            <a:avLst/>
          </a:prstGeom>
        </p:spPr>
      </p:pic>
      <p:pic>
        <p:nvPicPr>
          <p:cNvPr id="11" name="Picture 10" descr="A person wearing a suit and tie&#10;&#10;Description automatically generated">
            <a:extLst>
              <a:ext uri="{FF2B5EF4-FFF2-40B4-BE49-F238E27FC236}">
                <a16:creationId xmlns:a16="http://schemas.microsoft.com/office/drawing/2014/main" id="{4817A60C-0883-4E3C-9C59-DD049611194E}"/>
              </a:ext>
            </a:extLst>
          </p:cNvPr>
          <p:cNvPicPr>
            <a:picLocks noChangeAspect="1"/>
          </p:cNvPicPr>
          <p:nvPr userDrawn="1"/>
        </p:nvPicPr>
        <p:blipFill>
          <a:blip r:embed="rId3" cstate="print">
            <a:clrChange>
              <a:clrFrom>
                <a:srgbClr val="E9EAEF"/>
              </a:clrFrom>
              <a:clrTo>
                <a:srgbClr val="E9EAEF">
                  <a:alpha val="0"/>
                </a:srgbClr>
              </a:clrTo>
            </a:clrChange>
            <a:extLst>
              <a:ext uri="{BEBA8EAE-BF5A-486C-A8C5-ECC9F3942E4B}">
                <a14:imgProps xmlns:a14="http://schemas.microsoft.com/office/drawing/2010/main">
                  <a14:imgLayer r:embed="rId4">
                    <a14:imgEffect>
                      <a14:backgroundRemoval t="9976" b="96607" l="9994" r="89885">
                        <a14:foregroundMark x1="39370" y1="90670" x2="42701" y2="89338"/>
                        <a14:foregroundMark x1="53059" y1="90226" x2="48758" y2="96607"/>
                        <a14:foregroundMark x1="48758" y1="96607" x2="55360" y2="93780"/>
                      </a14:backgroundRemoval>
                    </a14:imgEffect>
                  </a14:imgLayer>
                </a14:imgProps>
              </a:ext>
              <a:ext uri="{28A0092B-C50C-407E-A947-70E740481C1C}">
                <a14:useLocalDpi xmlns:a14="http://schemas.microsoft.com/office/drawing/2010/main"/>
              </a:ext>
            </a:extLst>
          </a:blip>
          <a:stretch>
            <a:fillRect/>
          </a:stretch>
        </p:blipFill>
        <p:spPr>
          <a:xfrm>
            <a:off x="5143984" y="3709305"/>
            <a:ext cx="1402631" cy="2103947"/>
          </a:xfrm>
          <a:prstGeom prst="rect">
            <a:avLst/>
          </a:prstGeom>
          <a:effectLst>
            <a:outerShdw blurRad="50800" dist="38100" dir="5400000" algn="t" rotWithShape="0">
              <a:schemeClr val="tx1">
                <a:lumMod val="60000"/>
                <a:lumOff val="40000"/>
                <a:alpha val="40000"/>
              </a:schemeClr>
            </a:outerShdw>
          </a:effectLst>
        </p:spPr>
      </p:pic>
      <p:grpSp>
        <p:nvGrpSpPr>
          <p:cNvPr id="22" name="Group 21">
            <a:extLst>
              <a:ext uri="{FF2B5EF4-FFF2-40B4-BE49-F238E27FC236}">
                <a16:creationId xmlns:a16="http://schemas.microsoft.com/office/drawing/2014/main" id="{5F8E0043-605A-40A2-A717-E2BBDA201EED}"/>
              </a:ext>
            </a:extLst>
          </p:cNvPr>
          <p:cNvGrpSpPr/>
          <p:nvPr userDrawn="1"/>
        </p:nvGrpSpPr>
        <p:grpSpPr>
          <a:xfrm>
            <a:off x="-466732" y="4287441"/>
            <a:ext cx="2322989" cy="1555395"/>
            <a:chOff x="-466733" y="3627463"/>
            <a:chExt cx="3308671" cy="2215374"/>
          </a:xfrm>
        </p:grpSpPr>
        <p:pic>
          <p:nvPicPr>
            <p:cNvPr id="20" name="Picture 19" descr="A person standing in front of it&#10;&#10;Description automatically generated">
              <a:extLst>
                <a:ext uri="{FF2B5EF4-FFF2-40B4-BE49-F238E27FC236}">
                  <a16:creationId xmlns:a16="http://schemas.microsoft.com/office/drawing/2014/main" id="{4FD098B5-12A0-4C2E-AF5B-FADAF3762E9C}"/>
                </a:ext>
              </a:extLst>
            </p:cNvPr>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66733" y="3627463"/>
              <a:ext cx="3308671" cy="2205781"/>
            </a:xfrm>
            <a:prstGeom prst="rect">
              <a:avLst/>
            </a:prstGeom>
            <a:effectLst>
              <a:outerShdw blurRad="50800" dist="38100" dir="5400000" algn="t" rotWithShape="0">
                <a:prstClr val="black">
                  <a:alpha val="40000"/>
                </a:prstClr>
              </a:outerShdw>
            </a:effectLst>
          </p:spPr>
        </p:pic>
        <p:sp>
          <p:nvSpPr>
            <p:cNvPr id="21" name="Oval 20">
              <a:extLst>
                <a:ext uri="{FF2B5EF4-FFF2-40B4-BE49-F238E27FC236}">
                  <a16:creationId xmlns:a16="http://schemas.microsoft.com/office/drawing/2014/main" id="{F4A2DD40-102D-4448-B8FF-EDF3AA0EF539}"/>
                </a:ext>
              </a:extLst>
            </p:cNvPr>
            <p:cNvSpPr/>
            <p:nvPr userDrawn="1"/>
          </p:nvSpPr>
          <p:spPr bwMode="auto">
            <a:xfrm>
              <a:off x="285750" y="5636963"/>
              <a:ext cx="53340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6" name="Oval 25">
              <a:extLst>
                <a:ext uri="{FF2B5EF4-FFF2-40B4-BE49-F238E27FC236}">
                  <a16:creationId xmlns:a16="http://schemas.microsoft.com/office/drawing/2014/main" id="{B7806BAC-AEDF-4616-A677-D0F96C2C2A59}"/>
                </a:ext>
              </a:extLst>
            </p:cNvPr>
            <p:cNvSpPr/>
            <p:nvPr userDrawn="1"/>
          </p:nvSpPr>
          <p:spPr bwMode="auto">
            <a:xfrm>
              <a:off x="1529584" y="5619952"/>
              <a:ext cx="53340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grpSp>
        <p:nvGrpSpPr>
          <p:cNvPr id="23" name="Group 22">
            <a:extLst>
              <a:ext uri="{FF2B5EF4-FFF2-40B4-BE49-F238E27FC236}">
                <a16:creationId xmlns:a16="http://schemas.microsoft.com/office/drawing/2014/main" id="{28AB0165-E103-4442-AAE5-7AEACCDE1AB4}"/>
              </a:ext>
            </a:extLst>
          </p:cNvPr>
          <p:cNvGrpSpPr/>
          <p:nvPr userDrawn="1"/>
        </p:nvGrpSpPr>
        <p:grpSpPr>
          <a:xfrm>
            <a:off x="1154898" y="3522639"/>
            <a:ext cx="2108099" cy="3013536"/>
            <a:chOff x="1373860" y="3093720"/>
            <a:chExt cx="2408146" cy="3442455"/>
          </a:xfrm>
        </p:grpSpPr>
        <p:pic>
          <p:nvPicPr>
            <p:cNvPr id="16" name="Picture 15" descr="A person wearing a costume&#10;&#10;Description automatically generated">
              <a:extLst>
                <a:ext uri="{FF2B5EF4-FFF2-40B4-BE49-F238E27FC236}">
                  <a16:creationId xmlns:a16="http://schemas.microsoft.com/office/drawing/2014/main" id="{17B2FEA7-5178-436E-8AB3-0656F1348CBC}"/>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373860" y="3093720"/>
              <a:ext cx="2408146" cy="3442455"/>
            </a:xfrm>
            <a:prstGeom prst="rect">
              <a:avLst/>
            </a:prstGeom>
            <a:effectLst>
              <a:outerShdw blurRad="50800" dist="38100" dir="5400000" algn="t" rotWithShape="0">
                <a:schemeClr val="tx1">
                  <a:alpha val="40000"/>
                </a:schemeClr>
              </a:outerShdw>
            </a:effectLst>
          </p:spPr>
        </p:pic>
        <p:sp>
          <p:nvSpPr>
            <p:cNvPr id="27" name="Oval 26">
              <a:extLst>
                <a:ext uri="{FF2B5EF4-FFF2-40B4-BE49-F238E27FC236}">
                  <a16:creationId xmlns:a16="http://schemas.microsoft.com/office/drawing/2014/main" id="{B1B1F0F7-7B99-422E-8003-4C36D6D9A460}"/>
                </a:ext>
              </a:extLst>
            </p:cNvPr>
            <p:cNvSpPr/>
            <p:nvPr userDrawn="1"/>
          </p:nvSpPr>
          <p:spPr bwMode="auto">
            <a:xfrm>
              <a:off x="1595386" y="6283495"/>
              <a:ext cx="64008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8" name="Oval 27">
              <a:extLst>
                <a:ext uri="{FF2B5EF4-FFF2-40B4-BE49-F238E27FC236}">
                  <a16:creationId xmlns:a16="http://schemas.microsoft.com/office/drawing/2014/main" id="{5029FF4C-1923-4755-8649-3878F573B477}"/>
                </a:ext>
              </a:extLst>
            </p:cNvPr>
            <p:cNvSpPr/>
            <p:nvPr userDrawn="1"/>
          </p:nvSpPr>
          <p:spPr bwMode="auto">
            <a:xfrm>
              <a:off x="2944794" y="6253413"/>
              <a:ext cx="64008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sp>
        <p:nvSpPr>
          <p:cNvPr id="30" name="Oval 29">
            <a:extLst>
              <a:ext uri="{FF2B5EF4-FFF2-40B4-BE49-F238E27FC236}">
                <a16:creationId xmlns:a16="http://schemas.microsoft.com/office/drawing/2014/main" id="{7C97361B-6825-4771-9E86-DC3C9EBE50C1}"/>
              </a:ext>
            </a:extLst>
          </p:cNvPr>
          <p:cNvSpPr/>
          <p:nvPr userDrawn="1"/>
        </p:nvSpPr>
        <p:spPr bwMode="auto">
          <a:xfrm>
            <a:off x="5474454" y="5636962"/>
            <a:ext cx="640080" cy="176289"/>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nvGrpSpPr>
          <p:cNvPr id="24" name="Group 23">
            <a:extLst>
              <a:ext uri="{FF2B5EF4-FFF2-40B4-BE49-F238E27FC236}">
                <a16:creationId xmlns:a16="http://schemas.microsoft.com/office/drawing/2014/main" id="{AC6DC6BB-A42C-42A3-AF06-D572A5004B9E}"/>
              </a:ext>
            </a:extLst>
          </p:cNvPr>
          <p:cNvGrpSpPr/>
          <p:nvPr userDrawn="1"/>
        </p:nvGrpSpPr>
        <p:grpSpPr>
          <a:xfrm>
            <a:off x="6484674" y="3935399"/>
            <a:ext cx="1083927" cy="1701563"/>
            <a:chOff x="6484674" y="3935399"/>
            <a:chExt cx="1083927" cy="1701563"/>
          </a:xfrm>
        </p:grpSpPr>
        <p:pic>
          <p:nvPicPr>
            <p:cNvPr id="18" name="Picture 17" descr="A picture containing riding, person, young, board&#10;&#10;Description automatically generated">
              <a:extLst>
                <a:ext uri="{FF2B5EF4-FFF2-40B4-BE49-F238E27FC236}">
                  <a16:creationId xmlns:a16="http://schemas.microsoft.com/office/drawing/2014/main" id="{554210B4-A437-4450-96FD-07CABB427A67}"/>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6484674" y="3935399"/>
              <a:ext cx="1061694" cy="1664676"/>
            </a:xfrm>
            <a:prstGeom prst="rect">
              <a:avLst/>
            </a:prstGeom>
            <a:effectLst>
              <a:outerShdw blurRad="50800" dist="38100" algn="l" rotWithShape="0">
                <a:schemeClr val="tx1">
                  <a:lumMod val="60000"/>
                  <a:lumOff val="40000"/>
                  <a:alpha val="40000"/>
                </a:schemeClr>
              </a:outerShdw>
            </a:effectLst>
          </p:spPr>
        </p:pic>
        <p:sp>
          <p:nvSpPr>
            <p:cNvPr id="31" name="Oval 30">
              <a:extLst>
                <a:ext uri="{FF2B5EF4-FFF2-40B4-BE49-F238E27FC236}">
                  <a16:creationId xmlns:a16="http://schemas.microsoft.com/office/drawing/2014/main" id="{D54A010A-95D3-4472-BAAE-49B6C86128B3}"/>
                </a:ext>
              </a:extLst>
            </p:cNvPr>
            <p:cNvSpPr/>
            <p:nvPr userDrawn="1"/>
          </p:nvSpPr>
          <p:spPr bwMode="auto">
            <a:xfrm>
              <a:off x="6511223" y="5460673"/>
              <a:ext cx="502866" cy="176289"/>
            </a:xfrm>
            <a:prstGeom prst="ellipse">
              <a:avLst/>
            </a:prstGeom>
            <a:solidFill>
              <a:schemeClr val="tx1">
                <a:alpha val="95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32" name="Oval 31">
              <a:extLst>
                <a:ext uri="{FF2B5EF4-FFF2-40B4-BE49-F238E27FC236}">
                  <a16:creationId xmlns:a16="http://schemas.microsoft.com/office/drawing/2014/main" id="{BB10D790-60BF-4AD5-B7EF-44788D18BDE3}"/>
                </a:ext>
              </a:extLst>
            </p:cNvPr>
            <p:cNvSpPr/>
            <p:nvPr userDrawn="1"/>
          </p:nvSpPr>
          <p:spPr bwMode="auto">
            <a:xfrm>
              <a:off x="7128026" y="5460673"/>
              <a:ext cx="440575" cy="159278"/>
            </a:xfrm>
            <a:prstGeom prst="ellipse">
              <a:avLst/>
            </a:prstGeom>
            <a:solidFill>
              <a:schemeClr val="tx1">
                <a:alpha val="91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sp>
        <p:nvSpPr>
          <p:cNvPr id="36" name="Oval 35">
            <a:extLst>
              <a:ext uri="{FF2B5EF4-FFF2-40B4-BE49-F238E27FC236}">
                <a16:creationId xmlns:a16="http://schemas.microsoft.com/office/drawing/2014/main" id="{10FB3312-03A7-4D40-9C98-6942EC6D6C21}"/>
              </a:ext>
            </a:extLst>
          </p:cNvPr>
          <p:cNvSpPr/>
          <p:nvPr userDrawn="1"/>
        </p:nvSpPr>
        <p:spPr bwMode="auto">
          <a:xfrm>
            <a:off x="3487540" y="5921716"/>
            <a:ext cx="64008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37" name="Oval 36">
            <a:extLst>
              <a:ext uri="{FF2B5EF4-FFF2-40B4-BE49-F238E27FC236}">
                <a16:creationId xmlns:a16="http://schemas.microsoft.com/office/drawing/2014/main" id="{E5D8F219-6C5F-4DFF-86CA-6B2716FCBCD5}"/>
              </a:ext>
            </a:extLst>
          </p:cNvPr>
          <p:cNvSpPr/>
          <p:nvPr userDrawn="1"/>
        </p:nvSpPr>
        <p:spPr bwMode="auto">
          <a:xfrm>
            <a:off x="4347277" y="5921716"/>
            <a:ext cx="640080" cy="205874"/>
          </a:xfrm>
          <a:prstGeom prst="ellipse">
            <a:avLst/>
          </a:prstGeom>
          <a:solidFill>
            <a:schemeClr val="tx1">
              <a:alpha val="80000"/>
            </a:schemeClr>
          </a:solidFill>
          <a:ln w="12700" algn="ctr">
            <a:noFill/>
            <a:miter lim="800000"/>
            <a:headEnd/>
            <a:tailEnd/>
          </a:ln>
          <a:effectLst>
            <a:softEdge rad="635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13" name="Picture 12" descr="A picture containing suit&#10;&#10;Description automatically generated">
            <a:extLst>
              <a:ext uri="{FF2B5EF4-FFF2-40B4-BE49-F238E27FC236}">
                <a16:creationId xmlns:a16="http://schemas.microsoft.com/office/drawing/2014/main" id="{6D5C1A7F-3B34-456F-B19A-640C2333F8E5}"/>
              </a:ext>
            </a:extLst>
          </p:cNvPr>
          <p:cNvPicPr>
            <a:picLocks noChangeAspect="1"/>
          </p:cNvPicPr>
          <p:nvPr userDrawn="1"/>
        </p:nvPicPr>
        <p:blipFill rotWithShape="1">
          <a:blip r:embed="rId8" cstate="print">
            <a:clrChange>
              <a:clrFrom>
                <a:srgbClr val="FFFFFF"/>
              </a:clrFrom>
              <a:clrTo>
                <a:srgbClr val="FFFFFF">
                  <a:alpha val="0"/>
                </a:srgbClr>
              </a:clrTo>
            </a:clrChange>
            <a:extLst>
              <a:ext uri="{BEBA8EAE-BF5A-486C-A8C5-ECC9F3942E4B}">
                <a14:imgProps xmlns:a14="http://schemas.microsoft.com/office/drawing/2010/main">
                  <a14:imgLayer r:embed="rId9">
                    <a14:imgEffect>
                      <a14:backgroundRemoval t="6733" b="96996" l="9058" r="89877">
                        <a14:foregroundMark x1="43915" y1="18612" x2="70948" y2="20632"/>
                        <a14:foregroundMark x1="53561" y1="6785" x2="56562" y2="16765"/>
                        <a14:foregroundMark x1="53561" y1="9375" x2="52973" y2="16195"/>
                        <a14:foregroundMark x1="52973" y1="23222" x2="57151" y2="44147"/>
                        <a14:foregroundMark x1="57151" y1="44147" x2="57151" y2="44147"/>
                        <a14:foregroundMark x1="33427" y1="50604" x2="34016" y2="47462"/>
                        <a14:foregroundMark x1="60432" y1="15107" x2="67667" y2="16402"/>
                        <a14:foregroundMark x1="15115" y1="88898" x2="12086" y2="92973"/>
                        <a14:foregroundMark x1="18732" y1="95925" x2="27117" y2="96081"/>
                        <a14:foregroundMark x1="9086" y1="91678" x2="9394" y2="94061"/>
                        <a14:foregroundMark x1="70948" y1="97013" x2="74285" y2="95718"/>
                      </a14:backgroundRemoval>
                    </a14:imgEffect>
                  </a14:imgLayer>
                </a14:imgProps>
              </a:ext>
              <a:ext uri="{28A0092B-C50C-407E-A947-70E740481C1C}">
                <a14:useLocalDpi xmlns:a14="http://schemas.microsoft.com/office/drawing/2010/main"/>
              </a:ext>
            </a:extLst>
          </a:blip>
          <a:srcRect/>
          <a:stretch/>
        </p:blipFill>
        <p:spPr>
          <a:xfrm>
            <a:off x="3392290" y="3359498"/>
            <a:ext cx="1691233" cy="2747069"/>
          </a:xfrm>
          <a:prstGeom prst="rect">
            <a:avLst/>
          </a:prstGeom>
          <a:effectLst>
            <a:outerShdw blurRad="50800" dist="38100" dir="5400000" algn="t" rotWithShape="0">
              <a:schemeClr val="tx1">
                <a:lumMod val="75000"/>
                <a:alpha val="40000"/>
              </a:schemeClr>
            </a:outerShdw>
          </a:effectLst>
        </p:spPr>
      </p:pic>
      <p:sp>
        <p:nvSpPr>
          <p:cNvPr id="14" name="Rectangle 13">
            <a:extLst>
              <a:ext uri="{FF2B5EF4-FFF2-40B4-BE49-F238E27FC236}">
                <a16:creationId xmlns:a16="http://schemas.microsoft.com/office/drawing/2014/main" id="{631244DA-28D3-462C-84D3-29E58A8ACE52}"/>
              </a:ext>
            </a:extLst>
          </p:cNvPr>
          <p:cNvSpPr/>
          <p:nvPr userDrawn="1"/>
        </p:nvSpPr>
        <p:spPr bwMode="auto">
          <a:xfrm>
            <a:off x="1" y="-322019"/>
            <a:ext cx="12208946" cy="6827724"/>
          </a:xfrm>
          <a:prstGeom prst="rect">
            <a:avLst/>
          </a:prstGeom>
          <a:gradFill flip="none" rotWithShape="1">
            <a:gsLst>
              <a:gs pos="98000">
                <a:schemeClr val="accent6"/>
              </a:gs>
              <a:gs pos="53000">
                <a:schemeClr val="accent6">
                  <a:alpha val="5100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FA592D1A-E15F-4241-9353-5B065473FCA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671467783"/>
      </p:ext>
    </p:extLst>
  </p:cSld>
  <p:clrMapOvr>
    <a:masterClrMapping/>
  </p:clrMapOvr>
  <p:transition>
    <p:fade/>
  </p:transition>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25" name="Picture 24"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2377440" y="-37087"/>
            <a:ext cx="9811385" cy="6548033"/>
          </a:xfrm>
          <a:prstGeom prst="rect">
            <a:avLst/>
          </a:prstGeom>
        </p:spPr>
      </p:pic>
      <p:pic>
        <p:nvPicPr>
          <p:cNvPr id="33" name="Picture 32" descr="A person sitting in front of a building&#10;&#10;Description automatically generated">
            <a:extLst>
              <a:ext uri="{FF2B5EF4-FFF2-40B4-BE49-F238E27FC236}">
                <a16:creationId xmlns:a16="http://schemas.microsoft.com/office/drawing/2014/main" id="{440C44E5-97D4-46EC-8312-058626078A8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0" y="-24473"/>
            <a:ext cx="2377440" cy="6548033"/>
          </a:xfrm>
          <a:prstGeom prst="rect">
            <a:avLst/>
          </a:prstGeom>
        </p:spPr>
      </p:pic>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87B03C6D-DCFA-4BFE-846C-133AFE97B5A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375117765"/>
      </p:ext>
    </p:extLst>
  </p:cSld>
  <p:clrMapOvr>
    <a:masterClrMapping/>
  </p:clrMapOvr>
  <p:transition>
    <p:fade/>
  </p:transition>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Standard Title and Bullets">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pic>
        <p:nvPicPr>
          <p:cNvPr id="25" name="Picture 24"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4809744" y="-24473"/>
            <a:ext cx="9811385" cy="6548033"/>
          </a:xfrm>
          <a:prstGeom prst="rect">
            <a:avLst/>
          </a:prstGeom>
        </p:spPr>
      </p:pic>
      <p:pic>
        <p:nvPicPr>
          <p:cNvPr id="33" name="Picture 32" descr="A person sitting in front of a building&#10;&#10;Description automatically generated">
            <a:extLst>
              <a:ext uri="{FF2B5EF4-FFF2-40B4-BE49-F238E27FC236}">
                <a16:creationId xmlns:a16="http://schemas.microsoft.com/office/drawing/2014/main" id="{440C44E5-97D4-46EC-8312-058626078A8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2433542" y="0"/>
            <a:ext cx="2377440" cy="6548033"/>
          </a:xfrm>
          <a:prstGeom prst="rect">
            <a:avLst/>
          </a:prstGeom>
        </p:spPr>
      </p:pic>
      <p:sp>
        <p:nvSpPr>
          <p:cNvPr id="2" name="Date Placeholder 1"/>
          <p:cNvSpPr>
            <a:spLocks noGrp="1"/>
          </p:cNvSpPr>
          <p:nvPr>
            <p:ph type="dt" sz="half" idx="12"/>
          </p:nvPr>
        </p:nvSpPr>
        <p:spPr/>
        <p:txBody>
          <a:bodyPr/>
          <a:lstStyle>
            <a:lvl1pPr>
              <a:defRPr>
                <a:latin typeface="Calibri" panose="020F0502020204030204" pitchFamily="34" charset="0"/>
              </a:defRPr>
            </a:lvl1pPr>
          </a:lstStyle>
          <a:p>
            <a:pPr>
              <a:buClr>
                <a:srgbClr val="FF0000"/>
              </a:buClr>
            </a:pPr>
            <a:fld id="{87B03C6D-DCFA-4BFE-846C-133AFE97B5A6}"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pic>
        <p:nvPicPr>
          <p:cNvPr id="6" name="Picture 5" descr="A person sitting in front of a building&#10;&#10;Description automatically generated">
            <a:extLst>
              <a:ext uri="{FF2B5EF4-FFF2-40B4-BE49-F238E27FC236}">
                <a16:creationId xmlns:a16="http://schemas.microsoft.com/office/drawing/2014/main" id="{440C44E5-97D4-46EC-8312-058626078A8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56102" y="0"/>
            <a:ext cx="2377440" cy="6548033"/>
          </a:xfrm>
          <a:prstGeom prst="rect">
            <a:avLst/>
          </a:prstGeom>
        </p:spPr>
      </p:pic>
    </p:spTree>
    <p:extLst>
      <p:ext uri="{BB962C8B-B14F-4D97-AF65-F5344CB8AC3E}">
        <p14:creationId xmlns:p14="http://schemas.microsoft.com/office/powerpoint/2010/main" val="3699109919"/>
      </p:ext>
    </p:extLst>
  </p:cSld>
  <p:clrMapOvr>
    <a:masterClrMapping/>
  </p:clrMapOvr>
  <p:transition>
    <p:fade/>
  </p:transition>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lide Title"/>
          <p:cNvSpPr>
            <a:spLocks noGrp="1"/>
          </p:cNvSpPr>
          <p:nvPr>
            <p:ph type="title"/>
          </p:nvPr>
        </p:nvSpPr>
        <p:spPr>
          <a:xfrm>
            <a:off x="583842" y="460552"/>
            <a:ext cx="11037611" cy="914400"/>
          </a:xfrm>
        </p:spPr>
        <p:txBody>
          <a:bodyPr/>
          <a:lstStyle>
            <a:lvl1pPr>
              <a:defRPr>
                <a:solidFill>
                  <a:schemeClr val="bg2"/>
                </a:solidFill>
              </a:defRPr>
            </a:lvl1pPr>
          </a:lstStyle>
          <a:p>
            <a:r>
              <a:rPr lang="en-US"/>
              <a:t>Click to edit Master title style</a:t>
            </a:r>
            <a:endParaRPr lang="en-US" dirty="0"/>
          </a:p>
        </p:txBody>
      </p:sp>
      <p:sp>
        <p:nvSpPr>
          <p:cNvPr id="6" name="Bullet text_left"/>
          <p:cNvSpPr>
            <a:spLocks noGrp="1"/>
          </p:cNvSpPr>
          <p:nvPr>
            <p:ph sz="half" idx="2"/>
          </p:nvPr>
        </p:nvSpPr>
        <p:spPr>
          <a:xfrm>
            <a:off x="583842" y="1525588"/>
            <a:ext cx="5120640" cy="4533380"/>
          </a:xfrm>
          <a:prstGeom prst="rect">
            <a:avLst/>
          </a:prstGeom>
        </p:spPr>
        <p:txBody>
          <a:bodyPr lIns="91440" tIns="45720" rIns="91440" bIns="45720">
            <a:noAutofit/>
          </a:bodyPr>
          <a:lstStyle>
            <a:lvl1pPr marL="228600" indent="-228600">
              <a:lnSpc>
                <a:spcPct val="95000"/>
              </a:lnSpc>
              <a:spcBef>
                <a:spcPts val="1000"/>
              </a:spcBef>
              <a:buClr>
                <a:schemeClr val="tx2"/>
              </a:buClr>
              <a:buSzPct val="85000"/>
              <a:buFont typeface="Arial" panose="020B0604020202020204" pitchFamily="34" charset="0"/>
              <a:buChar char="•"/>
              <a:defRPr sz="24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2000">
                <a:solidFill>
                  <a:schemeClr val="tx1"/>
                </a:solidFill>
              </a:defRPr>
            </a:lvl2pPr>
            <a:lvl3pPr marL="704088" indent="-155448">
              <a:lnSpc>
                <a:spcPct val="95000"/>
              </a:lnSpc>
              <a:spcBef>
                <a:spcPts val="800"/>
              </a:spcBef>
              <a:buClr>
                <a:schemeClr val="tx2"/>
              </a:buClr>
              <a:buFont typeface="Arial" panose="020B0604020202020204" pitchFamily="34" charset="0"/>
              <a:buChar char="•"/>
              <a:defRPr sz="1800">
                <a:solidFill>
                  <a:schemeClr val="tx1"/>
                </a:solidFill>
              </a:defRPr>
            </a:lvl3pPr>
            <a:lvl4pPr marL="905256" indent="-155448">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7" name="Bullet text_left"/>
          <p:cNvSpPr>
            <a:spLocks noGrp="1"/>
          </p:cNvSpPr>
          <p:nvPr>
            <p:ph sz="half" idx="12"/>
          </p:nvPr>
        </p:nvSpPr>
        <p:spPr>
          <a:xfrm>
            <a:off x="6500813" y="1525588"/>
            <a:ext cx="5120640" cy="4533380"/>
          </a:xfrm>
          <a:prstGeom prst="rect">
            <a:avLst/>
          </a:prstGeom>
        </p:spPr>
        <p:txBody>
          <a:bodyPr lIns="91440" tIns="45720" rIns="91440" bIns="45720">
            <a:noAutofit/>
          </a:bodyPr>
          <a:lstStyle>
            <a:lvl1pPr marL="228600" indent="-228600">
              <a:lnSpc>
                <a:spcPct val="95000"/>
              </a:lnSpc>
              <a:spcBef>
                <a:spcPts val="1000"/>
              </a:spcBef>
              <a:buClr>
                <a:schemeClr val="tx2"/>
              </a:buClr>
              <a:buSzPct val="85000"/>
              <a:buFont typeface="Arial" panose="020B0604020202020204" pitchFamily="34" charset="0"/>
              <a:buChar char="•"/>
              <a:defRPr sz="24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2000">
                <a:solidFill>
                  <a:schemeClr val="tx1"/>
                </a:solidFill>
              </a:defRPr>
            </a:lvl2pPr>
            <a:lvl3pPr marL="704088" indent="-155448">
              <a:lnSpc>
                <a:spcPct val="95000"/>
              </a:lnSpc>
              <a:spcBef>
                <a:spcPts val="800"/>
              </a:spcBef>
              <a:buClr>
                <a:schemeClr val="tx2"/>
              </a:buClr>
              <a:buFont typeface="Arial" panose="020B0604020202020204" pitchFamily="34" charset="0"/>
              <a:buChar char="•"/>
              <a:defRPr sz="1800">
                <a:solidFill>
                  <a:schemeClr val="tx1"/>
                </a:solidFill>
              </a:defRPr>
            </a:lvl3pPr>
            <a:lvl4pPr marL="905256" indent="-155448">
              <a:lnSpc>
                <a:spcPct val="95000"/>
              </a:lnSpc>
              <a:spcBef>
                <a:spcPts val="800"/>
              </a:spcBef>
              <a:buClr>
                <a:schemeClr val="tx2"/>
              </a:buClr>
              <a:buFont typeface="Arial" panose="020B0604020202020204" pitchFamily="34" charset="0"/>
              <a:buChar char="•"/>
              <a:defRPr sz="16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13"/>
          </p:nvPr>
        </p:nvSpPr>
        <p:spPr>
          <a:xfrm>
            <a:off x="-2996629" y="6356350"/>
            <a:ext cx="2843213" cy="365125"/>
          </a:xfrm>
        </p:spPr>
        <p:txBody>
          <a:bodyPr/>
          <a:lstStyle>
            <a:lvl1pPr>
              <a:defRPr>
                <a:latin typeface="Calibri" panose="020F0502020204030204" pitchFamily="34" charset="0"/>
              </a:defRPr>
            </a:lvl1pPr>
          </a:lstStyle>
          <a:p>
            <a:pPr>
              <a:buClr>
                <a:srgbClr val="FF0000"/>
              </a:buClr>
            </a:pPr>
            <a:fld id="{8F2A6A3B-A6C9-4C0C-BBE8-3BEF53BED0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537070948"/>
      </p:ext>
    </p:extLst>
  </p:cSld>
  <p:clrMapOvr>
    <a:masterClrMapping/>
  </p:clrMapOvr>
  <p:transition>
    <p:fade/>
  </p:transition>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gue-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3685"/>
            <a:ext cx="12356105" cy="6949440"/>
          </a:xfrm>
          <a:prstGeom prst="rect">
            <a:avLst/>
          </a:prstGeom>
        </p:spPr>
      </p:pic>
      <p:sp>
        <p:nvSpPr>
          <p:cNvPr id="4" name="Footer Placeholder 3" hidden="1"/>
          <p:cNvSpPr>
            <a:spLocks noGrp="1"/>
          </p:cNvSpPr>
          <p:nvPr>
            <p:ph type="ftr" sz="quarter" idx="11"/>
          </p:nvPr>
        </p:nvSpPr>
        <p:spPr/>
        <p:txBody>
          <a:bodyPr/>
          <a:lstStyle>
            <a:lvl1pPr>
              <a:defRPr/>
            </a:lvl1pPr>
          </a:lstStyle>
          <a:p>
            <a:endParaRPr lang="en-US" dirty="0"/>
          </a:p>
        </p:txBody>
      </p:sp>
      <p:sp>
        <p:nvSpPr>
          <p:cNvPr id="6" name="Section title"/>
          <p:cNvSpPr>
            <a:spLocks noGrp="1"/>
          </p:cNvSpPr>
          <p:nvPr>
            <p:ph type="body" sz="quarter" idx="13" hasCustomPrompt="1"/>
          </p:nvPr>
        </p:nvSpPr>
        <p:spPr bwMode="white">
          <a:xfrm>
            <a:off x="637179" y="2171235"/>
            <a:ext cx="6454501" cy="3027783"/>
          </a:xfrm>
          <a:prstGeom prst="rect">
            <a:avLst/>
          </a:prstGeom>
        </p:spPr>
        <p:txBody>
          <a:bodyPr wrap="square" anchor="t" anchorCtr="0">
            <a:noAutofit/>
          </a:bodyPr>
          <a:lstStyle>
            <a:lvl1pPr marL="0" indent="0" algn="l">
              <a:lnSpc>
                <a:spcPct val="100000"/>
              </a:lnSpc>
              <a:spcBef>
                <a:spcPts val="0"/>
              </a:spcBef>
              <a:buNone/>
              <a:defRPr sz="3400" b="0" cap="all" baseline="0">
                <a:solidFill>
                  <a:schemeClr val="bg1"/>
                </a:solidFill>
              </a:defRPr>
            </a:lvl1pPr>
            <a:lvl5pPr marL="1371360"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19" y="963868"/>
            <a:ext cx="4649659" cy="891075"/>
          </a:xfrm>
          <a:prstGeom prst="rect">
            <a:avLst/>
          </a:prstGeom>
        </p:spPr>
        <p:txBody>
          <a:bodyPr anchor="t" anchorCtr="0">
            <a:noAutofit/>
          </a:bodyPr>
          <a:lstStyle>
            <a:lvl1pPr marL="0" indent="0" algn="l">
              <a:lnSpc>
                <a:spcPct val="100000"/>
              </a:lnSpc>
              <a:spcBef>
                <a:spcPts val="0"/>
              </a:spcBef>
              <a:buNone/>
              <a:defRPr sz="3600" b="1" baseline="0">
                <a:solidFill>
                  <a:schemeClr val="bg2"/>
                </a:solidFill>
              </a:defRPr>
            </a:lvl1pPr>
            <a:lvl5pPr marL="1371360" indent="0">
              <a:buNone/>
              <a:defRPr/>
            </a:lvl5pPr>
          </a:lstStyle>
          <a:p>
            <a:pPr lvl="0"/>
            <a:r>
              <a:rPr lang="en-US" dirty="0"/>
              <a:t>Click to Edit</a:t>
            </a:r>
          </a:p>
        </p:txBody>
      </p:sp>
      <p:sp>
        <p:nvSpPr>
          <p:cNvPr id="2" name="Date Placeholder 1"/>
          <p:cNvSpPr>
            <a:spLocks noGrp="1"/>
          </p:cNvSpPr>
          <p:nvPr>
            <p:ph type="dt" sz="half" idx="17"/>
          </p:nvPr>
        </p:nvSpPr>
        <p:spPr>
          <a:xfrm>
            <a:off x="-3156888" y="6356350"/>
            <a:ext cx="2843213" cy="365125"/>
          </a:xfrm>
        </p:spPr>
        <p:txBody>
          <a:bodyPr/>
          <a:lstStyle>
            <a:lvl1pPr>
              <a:defRPr/>
            </a:lvl1pPr>
          </a:lstStyle>
          <a:p>
            <a:fld id="{BFD34698-4CB0-4260-A437-6B0E52C5ABA4}" type="datetimeFigureOut">
              <a:rPr lang="en-US" smtClean="0"/>
              <a:pPr/>
              <a:t>29-Feb-24</a:t>
            </a:fld>
            <a:endParaRPr lang="en-US" dirty="0"/>
          </a:p>
        </p:txBody>
      </p:sp>
    </p:spTree>
    <p:extLst>
      <p:ext uri="{BB962C8B-B14F-4D97-AF65-F5344CB8AC3E}">
        <p14:creationId xmlns:p14="http://schemas.microsoft.com/office/powerpoint/2010/main" val="3252564582"/>
      </p:ext>
    </p:extLst>
  </p:cSld>
  <p:clrMapOvr>
    <a:masterClrMapping/>
  </p:clrMapOvr>
  <p:transition>
    <p:fade/>
  </p:transition>
  <p:hf sldNum="0"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Sub-title_column 3"/>
          <p:cNvSpPr>
            <a:spLocks noGrp="1"/>
          </p:cNvSpPr>
          <p:nvPr>
            <p:ph type="body" sz="quarter" idx="16"/>
          </p:nvPr>
        </p:nvSpPr>
        <p:spPr>
          <a:xfrm>
            <a:off x="8289002" y="1525707"/>
            <a:ext cx="3345117"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Edit Master text styles</a:t>
            </a:r>
          </a:p>
        </p:txBody>
      </p:sp>
      <p:sp>
        <p:nvSpPr>
          <p:cNvPr id="6" name="Sub-title_column 2"/>
          <p:cNvSpPr>
            <a:spLocks noGrp="1"/>
          </p:cNvSpPr>
          <p:nvPr>
            <p:ph type="body" sz="quarter" idx="14"/>
          </p:nvPr>
        </p:nvSpPr>
        <p:spPr>
          <a:xfrm>
            <a:off x="4438649" y="1525707"/>
            <a:ext cx="3374116"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Edit Master text styles</a:t>
            </a:r>
          </a:p>
        </p:txBody>
      </p:sp>
      <p:sp>
        <p:nvSpPr>
          <p:cNvPr id="7" name="Sub-title_column 1"/>
          <p:cNvSpPr>
            <a:spLocks noGrp="1"/>
          </p:cNvSpPr>
          <p:nvPr>
            <p:ph type="body" sz="quarter" idx="12"/>
          </p:nvPr>
        </p:nvSpPr>
        <p:spPr>
          <a:xfrm>
            <a:off x="584737" y="1525707"/>
            <a:ext cx="3402012" cy="776499"/>
          </a:xfrm>
          <a:prstGeom prst="rect">
            <a:avLst/>
          </a:prstGeom>
        </p:spPr>
        <p:txBody>
          <a:bodyPr lIns="91440" tIns="45720" rIns="91440" bIns="45720" anchor="t" anchorCtr="0">
            <a:noAutofit/>
          </a:bodyPr>
          <a:lstStyle>
            <a:lvl1pPr marL="0" indent="0">
              <a:lnSpc>
                <a:spcPct val="85000"/>
              </a:lnSpc>
              <a:buNone/>
              <a:defRPr sz="2800">
                <a:solidFill>
                  <a:srgbClr val="4D4D4F"/>
                </a:solidFill>
              </a:defRPr>
            </a:lvl1pPr>
          </a:lstStyle>
          <a:p>
            <a:pPr lvl="0"/>
            <a:r>
              <a:rPr lang="en-US"/>
              <a:t>Edit Master text styles</a:t>
            </a:r>
          </a:p>
        </p:txBody>
      </p:sp>
      <p:sp>
        <p:nvSpPr>
          <p:cNvPr id="8" name="Slide Title"/>
          <p:cNvSpPr>
            <a:spLocks noGrp="1"/>
          </p:cNvSpPr>
          <p:nvPr>
            <p:ph type="title"/>
          </p:nvPr>
        </p:nvSpPr>
        <p:spPr>
          <a:xfrm>
            <a:off x="585216" y="460552"/>
            <a:ext cx="11035714" cy="914400"/>
          </a:xfrm>
        </p:spPr>
        <p:txBody>
          <a:bodyPr/>
          <a:lstStyle>
            <a:lvl1pPr>
              <a:defRPr/>
            </a:lvl1pPr>
          </a:lstStyle>
          <a:p>
            <a:r>
              <a:rPr lang="en-US"/>
              <a:t>Click to edit Master title style</a:t>
            </a:r>
            <a:endParaRPr lang="en-US" dirty="0"/>
          </a:p>
        </p:txBody>
      </p:sp>
      <p:sp>
        <p:nvSpPr>
          <p:cNvPr id="9" name="Text_column 2"/>
          <p:cNvSpPr>
            <a:spLocks noGrp="1"/>
          </p:cNvSpPr>
          <p:nvPr>
            <p:ph sz="half" idx="20"/>
          </p:nvPr>
        </p:nvSpPr>
        <p:spPr>
          <a:xfrm>
            <a:off x="582848"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rgbClr val="4D4D4F"/>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_column 2"/>
          <p:cNvSpPr>
            <a:spLocks noGrp="1"/>
          </p:cNvSpPr>
          <p:nvPr>
            <p:ph sz="half" idx="21"/>
          </p:nvPr>
        </p:nvSpPr>
        <p:spPr>
          <a:xfrm>
            <a:off x="4434154"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_column 2"/>
          <p:cNvSpPr>
            <a:spLocks noGrp="1"/>
          </p:cNvSpPr>
          <p:nvPr>
            <p:ph sz="half" idx="22"/>
          </p:nvPr>
        </p:nvSpPr>
        <p:spPr>
          <a:xfrm>
            <a:off x="8283370" y="2560972"/>
            <a:ext cx="3337560" cy="3601231"/>
          </a:xfrm>
          <a:prstGeom prst="rect">
            <a:avLst/>
          </a:prstGeom>
        </p:spPr>
        <p:txBody>
          <a:bodyPr lIns="91440" tIns="91440" rIns="91440" bIns="91440">
            <a:noAutofit/>
          </a:bodyPr>
          <a:lstStyle>
            <a:lvl1pPr marL="228600" indent="-228600">
              <a:lnSpc>
                <a:spcPct val="95000"/>
              </a:lnSpc>
              <a:spcBef>
                <a:spcPts val="1000"/>
              </a:spcBef>
              <a:buClr>
                <a:schemeClr val="tx2"/>
              </a:buClr>
              <a:buSzPct val="85000"/>
              <a:buFont typeface="Arial" panose="020B0604020202020204" pitchFamily="34" charset="0"/>
              <a:buChar char="•"/>
              <a:defRPr sz="2000">
                <a:solidFill>
                  <a:schemeClr val="tx1"/>
                </a:solidFill>
              </a:defRPr>
            </a:lvl1pPr>
            <a:lvl2pPr marL="475488" indent="-228600">
              <a:lnSpc>
                <a:spcPct val="95000"/>
              </a:lnSpc>
              <a:spcBef>
                <a:spcPts val="800"/>
              </a:spcBef>
              <a:buClr>
                <a:schemeClr val="tx2"/>
              </a:buClr>
              <a:buFont typeface="Arial" panose="020B0604020202020204" pitchFamily="34" charset="0"/>
              <a:buChar char="•"/>
              <a:defRPr sz="1800">
                <a:solidFill>
                  <a:schemeClr val="tx1"/>
                </a:solidFill>
              </a:defRPr>
            </a:lvl2pPr>
            <a:lvl3pPr marL="685800" indent="-155448">
              <a:lnSpc>
                <a:spcPct val="95000"/>
              </a:lnSpc>
              <a:spcBef>
                <a:spcPts val="800"/>
              </a:spcBef>
              <a:buClr>
                <a:schemeClr val="tx2"/>
              </a:buClr>
              <a:buFont typeface="Arial" panose="020B0604020202020204" pitchFamily="34" charset="0"/>
              <a:buChar char="•"/>
              <a:tabLst>
                <a:tab pos="688975" algn="l"/>
              </a:tabLst>
              <a:defRPr sz="1600">
                <a:solidFill>
                  <a:schemeClr val="tx1"/>
                </a:solidFill>
              </a:defRPr>
            </a:lvl3pPr>
            <a:lvl4pPr marL="886968" indent="-155448">
              <a:lnSpc>
                <a:spcPct val="95000"/>
              </a:lnSpc>
              <a:spcBef>
                <a:spcPts val="800"/>
              </a:spcBef>
              <a:buClr>
                <a:schemeClr val="tx2"/>
              </a:buClr>
              <a:buFont typeface="Arial" panose="020B0604020202020204" pitchFamily="34" charset="0"/>
              <a:buChar char="•"/>
              <a:defRPr sz="1400">
                <a:solidFill>
                  <a:schemeClr val="tx1"/>
                </a:solidFill>
              </a:defRPr>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2" name="Date Placeholder 1"/>
          <p:cNvSpPr>
            <a:spLocks noGrp="1"/>
          </p:cNvSpPr>
          <p:nvPr>
            <p:ph type="dt" sz="half" idx="23"/>
          </p:nvPr>
        </p:nvSpPr>
        <p:spPr>
          <a:xfrm>
            <a:off x="-3119919" y="6356350"/>
            <a:ext cx="2843213" cy="365125"/>
          </a:xfrm>
        </p:spPr>
        <p:txBody>
          <a:bodyPr/>
          <a:lstStyle>
            <a:lvl1pPr>
              <a:defRPr>
                <a:latin typeface="Calibri" panose="020F0502020204030204" pitchFamily="34" charset="0"/>
              </a:defRPr>
            </a:lvl1pPr>
          </a:lstStyle>
          <a:p>
            <a:pPr>
              <a:buClr>
                <a:srgbClr val="FF0000"/>
              </a:buClr>
            </a:pPr>
            <a:fld id="{B4E2EE95-4511-40DC-8811-39B6C5014E5F}"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512580763"/>
      </p:ext>
    </p:extLst>
  </p:cSld>
  <p:clrMapOvr>
    <a:masterClrMapping/>
  </p:clrMapOvr>
  <p:transition>
    <p:fade/>
  </p:transition>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3" name="Date Placeholder 2"/>
          <p:cNvSpPr>
            <a:spLocks noGrp="1"/>
          </p:cNvSpPr>
          <p:nvPr>
            <p:ph type="dt" sz="half" idx="12"/>
          </p:nvPr>
        </p:nvSpPr>
        <p:spPr>
          <a:xfrm>
            <a:off x="-3068549" y="6356350"/>
            <a:ext cx="2843213" cy="365125"/>
          </a:xfrm>
        </p:spPr>
        <p:txBody>
          <a:bodyPr/>
          <a:lstStyle>
            <a:lvl1pPr>
              <a:defRPr>
                <a:latin typeface="Calibri" panose="020F0502020204030204" pitchFamily="34" charset="0"/>
              </a:defRPr>
            </a:lvl1pPr>
          </a:lstStyle>
          <a:p>
            <a:pPr>
              <a:buClr>
                <a:srgbClr val="FF0000"/>
              </a:buClr>
            </a:pPr>
            <a:fld id="{BA761656-1249-4F38-99F8-ACF2559DA4D2}"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134962523"/>
      </p:ext>
    </p:extLst>
  </p:cSld>
  <p:clrMapOvr>
    <a:masterClrMapping/>
  </p:clrMapOvr>
  <p:transition>
    <p:fade/>
  </p:transition>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a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2"/>
          </p:nvPr>
        </p:nvSpPr>
        <p:spPr>
          <a:xfrm>
            <a:off x="-3017177" y="6356350"/>
            <a:ext cx="2843213" cy="365125"/>
          </a:xfrm>
        </p:spPr>
        <p:txBody>
          <a:bodyPr/>
          <a:lstStyle>
            <a:lvl1pPr>
              <a:defRPr>
                <a:latin typeface="Calibri" panose="020F0502020204030204" pitchFamily="34" charset="0"/>
              </a:defRPr>
            </a:lvl1pPr>
          </a:lstStyle>
          <a:p>
            <a:pPr>
              <a:buClr>
                <a:srgbClr val="FF0000"/>
              </a:buClr>
            </a:pPr>
            <a:fld id="{C21F6912-E12D-42E4-A1B4-78CBD40CB479}"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093180527"/>
      </p:ext>
    </p:extLst>
  </p:cSld>
  <p:clrMapOvr>
    <a:masterClrMapping/>
  </p:clrMapOvr>
  <p:transition>
    <p:fade/>
  </p:transition>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ullets + Pull Quote">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grpSp>
        <p:nvGrpSpPr>
          <p:cNvPr id="5" name="Pink Background"/>
          <p:cNvGrpSpPr/>
          <p:nvPr userDrawn="1"/>
        </p:nvGrpSpPr>
        <p:grpSpPr>
          <a:xfrm>
            <a:off x="5929630" y="1639737"/>
            <a:ext cx="6259195" cy="3807666"/>
            <a:chOff x="6127749" y="1639737"/>
            <a:chExt cx="5344256" cy="3783164"/>
          </a:xfrm>
        </p:grpSpPr>
        <p:sp>
          <p:nvSpPr>
            <p:cNvPr id="6" name="Pink: 43%"/>
            <p:cNvSpPr/>
            <p:nvPr userDrawn="1"/>
          </p:nvSpPr>
          <p:spPr bwMode="gray">
            <a:xfrm>
              <a:off x="11365581" y="1639737"/>
              <a:ext cx="106424" cy="3783164"/>
            </a:xfrm>
            <a:prstGeom prst="rect">
              <a:avLst/>
            </a:prstGeom>
            <a:solidFill>
              <a:schemeClr val="tx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600"/>
                </a:spcBef>
                <a:buClr>
                  <a:srgbClr val="FF0000"/>
                </a:buClr>
                <a:buSzPct val="115000"/>
                <a:buFont typeface="Wingdings" pitchFamily="2" charset="2"/>
                <a:buNone/>
              </a:pPr>
              <a:endParaRPr lang="en-US" sz="3200" kern="1200" dirty="0">
                <a:solidFill>
                  <a:srgbClr val="4D4D4F"/>
                </a:solidFill>
                <a:latin typeface="Calibri"/>
                <a:ea typeface="+mn-ea"/>
                <a:cs typeface="Calibri" panose="020F0502020204030204" pitchFamily="34" charset="0"/>
              </a:endParaRPr>
            </a:p>
          </p:txBody>
        </p:sp>
        <p:sp>
          <p:nvSpPr>
            <p:cNvPr id="7" name="Background pink"/>
            <p:cNvSpPr/>
            <p:nvPr userDrawn="1"/>
          </p:nvSpPr>
          <p:spPr bwMode="auto">
            <a:xfrm>
              <a:off x="6127749" y="1639737"/>
              <a:ext cx="5237832" cy="3783164"/>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fontAlgn="base">
                <a:lnSpc>
                  <a:spcPct val="80000"/>
                </a:lnSpc>
                <a:spcBef>
                  <a:spcPts val="1600"/>
                </a:spcBef>
                <a:buClr>
                  <a:srgbClr val="FF0000"/>
                </a:buClr>
                <a:buSzPct val="115000"/>
                <a:buFont typeface="Wingdings" pitchFamily="2" charset="2"/>
                <a:buNone/>
              </a:pPr>
              <a:endParaRPr lang="en-US" sz="3200" kern="1200" dirty="0">
                <a:solidFill>
                  <a:srgbClr val="4D4D4F"/>
                </a:solidFill>
                <a:latin typeface="Calibri"/>
                <a:ea typeface="+mn-ea"/>
                <a:cs typeface="Calibri" panose="020F0502020204030204" pitchFamily="34" charset="0"/>
              </a:endParaRPr>
            </a:p>
          </p:txBody>
        </p:sp>
      </p:grpSp>
      <p:sp>
        <p:nvSpPr>
          <p:cNvPr id="8" name="Credit text"/>
          <p:cNvSpPr>
            <a:spLocks noGrp="1"/>
          </p:cNvSpPr>
          <p:nvPr>
            <p:ph type="body" sz="quarter" idx="14" hasCustomPrompt="1"/>
          </p:nvPr>
        </p:nvSpPr>
        <p:spPr bwMode="white">
          <a:xfrm>
            <a:off x="6478069" y="4736592"/>
            <a:ext cx="4395989" cy="338328"/>
          </a:xfrm>
          <a:prstGeom prst="rect">
            <a:avLst/>
          </a:prstGeom>
          <a:noFill/>
        </p:spPr>
        <p:txBody>
          <a:bodyPr wrap="square" lIns="91440" tIns="45720" rIns="91440" bIns="45720" anchor="ctr">
            <a:noAutofit/>
          </a:bodyPr>
          <a:lstStyle>
            <a:lvl1pPr marL="0" indent="0">
              <a:lnSpc>
                <a:spcPct val="100000"/>
              </a:lnSpc>
              <a:spcBef>
                <a:spcPts val="0"/>
              </a:spcBef>
              <a:buClr>
                <a:schemeClr val="tx2"/>
              </a:buClr>
              <a:buFontTx/>
              <a:buNone/>
              <a:defRPr sz="1600">
                <a:solidFill>
                  <a:schemeClr val="tx1"/>
                </a:solidFill>
                <a:latin typeface="Calibri" panose="020F0502020204030204" pitchFamily="34" charset="0"/>
                <a:cs typeface="Calibri" panose="020F0502020204030204" pitchFamily="34" charset="0"/>
              </a:defRPr>
            </a:lvl1pPr>
          </a:lstStyle>
          <a:p>
            <a:pPr lvl="0"/>
            <a:r>
              <a:rPr lang="en-US" dirty="0"/>
              <a:t>Source Name</a:t>
            </a:r>
          </a:p>
        </p:txBody>
      </p:sp>
      <p:sp>
        <p:nvSpPr>
          <p:cNvPr id="9" name="Quote text"/>
          <p:cNvSpPr>
            <a:spLocks noGrp="1"/>
          </p:cNvSpPr>
          <p:nvPr>
            <p:ph type="body" sz="quarter" idx="15"/>
          </p:nvPr>
        </p:nvSpPr>
        <p:spPr bwMode="white">
          <a:xfrm>
            <a:off x="6318303" y="2011680"/>
            <a:ext cx="4563058" cy="2440001"/>
          </a:xfrm>
          <a:prstGeom prst="rect">
            <a:avLst/>
          </a:prstGeom>
        </p:spPr>
        <p:txBody>
          <a:bodyPr lIns="91440" tIns="45720" rIns="91440" bIns="45720" anchor="ctr">
            <a:noAutofit/>
          </a:bodyPr>
          <a:lstStyle>
            <a:lvl1pPr marL="152345" indent="-152345" algn="l" defTabSz="1218732" rtl="0" eaLnBrk="1" latinLnBrk="0" hangingPunct="1">
              <a:lnSpc>
                <a:spcPct val="95000"/>
              </a:lnSpc>
              <a:spcBef>
                <a:spcPts val="0"/>
              </a:spcBef>
              <a:buNone/>
              <a:defRPr lang="en-US" sz="2800" b="1" kern="1200" dirty="0" smtClean="0">
                <a:solidFill>
                  <a:schemeClr val="tx1"/>
                </a:solidFill>
                <a:latin typeface="Calibri" panose="020F0502020204030204" pitchFamily="34" charset="0"/>
                <a:ea typeface="+mn-ea"/>
                <a:cs typeface="Calibri" panose="020F0502020204030204" pitchFamily="34" charset="0"/>
              </a:defRPr>
            </a:lvl1pPr>
            <a:lvl2pPr marL="152345" indent="-152345" algn="l" defTabSz="1218732" rtl="0" eaLnBrk="1" latinLnBrk="0" hangingPunct="1">
              <a:defRPr lang="en-US" sz="2700" kern="1200" dirty="0" smtClean="0">
                <a:solidFill>
                  <a:schemeClr val="accent2"/>
                </a:solidFill>
                <a:latin typeface="Ciscolight" pitchFamily="2" charset="0"/>
                <a:ea typeface="+mn-ea"/>
                <a:cs typeface="+mn-cs"/>
              </a:defRPr>
            </a:lvl2pPr>
            <a:lvl3pPr marL="152345" indent="-152345" algn="l" defTabSz="1218732" rtl="0" eaLnBrk="1" latinLnBrk="0" hangingPunct="1">
              <a:defRPr lang="en-US" sz="2700" kern="1200" dirty="0" smtClean="0">
                <a:solidFill>
                  <a:schemeClr val="accent2"/>
                </a:solidFill>
                <a:latin typeface="Ciscolight" pitchFamily="2" charset="0"/>
                <a:ea typeface="+mn-ea"/>
                <a:cs typeface="+mn-cs"/>
              </a:defRPr>
            </a:lvl3pPr>
            <a:lvl4pPr marL="152345" indent="-152345" algn="l" defTabSz="1218732" rtl="0" eaLnBrk="1" latinLnBrk="0" hangingPunct="1">
              <a:defRPr lang="en-US" sz="2700" kern="1200" dirty="0" smtClean="0">
                <a:solidFill>
                  <a:schemeClr val="accent2"/>
                </a:solidFill>
                <a:latin typeface="Ciscolight" pitchFamily="2" charset="0"/>
                <a:ea typeface="+mn-ea"/>
                <a:cs typeface="+mn-cs"/>
              </a:defRPr>
            </a:lvl4pPr>
            <a:lvl5pPr marL="152345" indent="-152345" algn="l" defTabSz="1218732" rtl="0" eaLnBrk="1" latinLnBrk="0" hangingPunct="1">
              <a:defRPr lang="en-US" sz="2700" kern="1200" dirty="0" smtClean="0">
                <a:solidFill>
                  <a:schemeClr val="accent2"/>
                </a:solidFill>
                <a:latin typeface="Ciscolight" pitchFamily="2" charset="0"/>
                <a:ea typeface="+mn-ea"/>
                <a:cs typeface="+mn-cs"/>
              </a:defRPr>
            </a:lvl5pPr>
          </a:lstStyle>
          <a:p>
            <a:pPr lvl="0"/>
            <a:r>
              <a:rPr lang="en-US" dirty="0"/>
              <a:t>Edit Master text styles</a:t>
            </a:r>
          </a:p>
        </p:txBody>
      </p:sp>
      <p:sp>
        <p:nvSpPr>
          <p:cNvPr id="10" name="Slide Title"/>
          <p:cNvSpPr>
            <a:spLocks noGrp="1"/>
          </p:cNvSpPr>
          <p:nvPr>
            <p:ph type="title"/>
          </p:nvPr>
        </p:nvSpPr>
        <p:spPr>
          <a:xfrm>
            <a:off x="583842" y="460552"/>
            <a:ext cx="11093293" cy="914400"/>
          </a:xfrm>
        </p:spPr>
        <p:txBody>
          <a:bodyPr/>
          <a:lstStyle/>
          <a:p>
            <a:r>
              <a:rPr lang="en-US"/>
              <a:t>Click to edit Master title style</a:t>
            </a:r>
            <a:endParaRPr lang="en-US" dirty="0"/>
          </a:p>
        </p:txBody>
      </p:sp>
      <p:sp>
        <p:nvSpPr>
          <p:cNvPr id="11" name="Bullet text"/>
          <p:cNvSpPr>
            <a:spLocks noGrp="1"/>
          </p:cNvSpPr>
          <p:nvPr>
            <p:ph type="body" sz="quarter" idx="16"/>
          </p:nvPr>
        </p:nvSpPr>
        <p:spPr>
          <a:xfrm>
            <a:off x="583843" y="1639737"/>
            <a:ext cx="5074008" cy="3783163"/>
          </a:xfrm>
          <a:prstGeom prst="rect">
            <a:avLst/>
          </a:prstGeom>
        </p:spPr>
        <p:txBody>
          <a:bodyPr>
            <a:noAutofit/>
          </a:bodyPr>
          <a:lstStyle>
            <a:lvl1pPr marL="224327" indent="-224327">
              <a:lnSpc>
                <a:spcPct val="95000"/>
              </a:lnSpc>
              <a:buSzPct val="85000"/>
              <a:buFont typeface="Calibri" panose="020F0502020204030204" pitchFamily="34" charset="0"/>
              <a:buChar char="•"/>
              <a:defRPr sz="2400">
                <a:solidFill>
                  <a:schemeClr val="tx1"/>
                </a:solidFill>
              </a:defRPr>
            </a:lvl1pPr>
            <a:lvl2pPr marL="458788" indent="-228600">
              <a:lnSpc>
                <a:spcPct val="95000"/>
              </a:lnSpc>
              <a:buFont typeface="Calibri" panose="020F0502020204030204" pitchFamily="34" charset="0"/>
              <a:buChar char="−"/>
              <a:defRPr sz="2000"/>
            </a:lvl2pPr>
            <a:lvl3pPr>
              <a:defRPr sz="2100"/>
            </a:lvl3pPr>
            <a:lvl4pPr>
              <a:defRPr sz="1900"/>
            </a:lvl4pPr>
            <a:lvl5pPr>
              <a:defRPr sz="1600"/>
            </a:lvl5pPr>
          </a:lstStyle>
          <a:p>
            <a:pPr lvl="0"/>
            <a:r>
              <a:rPr lang="en-US"/>
              <a:t>Edit Master text styles</a:t>
            </a:r>
          </a:p>
          <a:p>
            <a:pPr lvl="1"/>
            <a:r>
              <a:rPr lang="en-US"/>
              <a:t>Second level</a:t>
            </a:r>
          </a:p>
        </p:txBody>
      </p:sp>
      <p:sp>
        <p:nvSpPr>
          <p:cNvPr id="2" name="Date Placeholder 1"/>
          <p:cNvSpPr>
            <a:spLocks noGrp="1"/>
          </p:cNvSpPr>
          <p:nvPr>
            <p:ph type="dt" sz="half" idx="17"/>
          </p:nvPr>
        </p:nvSpPr>
        <p:spPr>
          <a:xfrm>
            <a:off x="-2945259" y="6356350"/>
            <a:ext cx="2843213" cy="365125"/>
          </a:xfrm>
        </p:spPr>
        <p:txBody>
          <a:bodyPr/>
          <a:lstStyle>
            <a:lvl1pPr>
              <a:defRPr>
                <a:latin typeface="Calibri" panose="020F0502020204030204" pitchFamily="34" charset="0"/>
              </a:defRPr>
            </a:lvl1pPr>
          </a:lstStyle>
          <a:p>
            <a:pPr>
              <a:buClr>
                <a:srgbClr val="FF0000"/>
              </a:buClr>
            </a:pPr>
            <a:fld id="{DEA4E619-B820-4E56-B835-00DD6E9C1F7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407896965"/>
      </p:ext>
    </p:extLst>
  </p:cSld>
  <p:clrMapOvr>
    <a:masterClrMapping/>
  </p:clrMapOvr>
  <p:transition>
    <p:fade/>
  </p:transition>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gu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786"/>
            <a:ext cx="12188825" cy="6856214"/>
          </a:xfrm>
          <a:prstGeom prst="rect">
            <a:avLst/>
          </a:prstGeom>
        </p:spPr>
      </p:pic>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6" name="Section title"/>
          <p:cNvSpPr>
            <a:spLocks noGrp="1"/>
          </p:cNvSpPr>
          <p:nvPr>
            <p:ph type="body" sz="quarter" idx="13" hasCustomPrompt="1"/>
          </p:nvPr>
        </p:nvSpPr>
        <p:spPr bwMode="white">
          <a:xfrm>
            <a:off x="637179" y="2171235"/>
            <a:ext cx="8321470" cy="3027783"/>
          </a:xfrm>
          <a:prstGeom prst="rect">
            <a:avLst/>
          </a:prstGeom>
        </p:spPr>
        <p:txBody>
          <a:bodyPr wrap="square" anchor="t" anchorCtr="0">
            <a:noAutofit/>
          </a:bodyPr>
          <a:lstStyle>
            <a:lvl1pPr marL="0" indent="0" algn="l">
              <a:lnSpc>
                <a:spcPct val="100000"/>
              </a:lnSpc>
              <a:spcBef>
                <a:spcPts val="0"/>
              </a:spcBef>
              <a:buNone/>
              <a:defRPr sz="3400" b="0" cap="all" baseline="0">
                <a:solidFill>
                  <a:schemeClr val="tx1"/>
                </a:solidFill>
              </a:defRPr>
            </a:lvl1pPr>
            <a:lvl5pPr marL="1371360" indent="0">
              <a:buNone/>
              <a:defRPr/>
            </a:lvl5pPr>
          </a:lstStyle>
          <a:p>
            <a:pPr lvl="0"/>
            <a:r>
              <a:rPr lang="en-US" dirty="0"/>
              <a:t>Click to Edit SECTION HEADER</a:t>
            </a:r>
          </a:p>
        </p:txBody>
      </p:sp>
      <p:sp>
        <p:nvSpPr>
          <p:cNvPr id="7" name="Section number"/>
          <p:cNvSpPr>
            <a:spLocks noGrp="1"/>
          </p:cNvSpPr>
          <p:nvPr>
            <p:ph type="body" sz="quarter" idx="16" hasCustomPrompt="1"/>
          </p:nvPr>
        </p:nvSpPr>
        <p:spPr bwMode="white">
          <a:xfrm>
            <a:off x="614319" y="1273872"/>
            <a:ext cx="4649659" cy="891075"/>
          </a:xfrm>
          <a:prstGeom prst="rect">
            <a:avLst/>
          </a:prstGeom>
        </p:spPr>
        <p:txBody>
          <a:bodyPr anchor="t" anchorCtr="0">
            <a:noAutofit/>
          </a:bodyPr>
          <a:lstStyle>
            <a:lvl1pPr marL="0" indent="0" algn="l">
              <a:lnSpc>
                <a:spcPct val="100000"/>
              </a:lnSpc>
              <a:spcBef>
                <a:spcPts val="0"/>
              </a:spcBef>
              <a:buNone/>
              <a:defRPr sz="2800" b="1" baseline="0">
                <a:solidFill>
                  <a:schemeClr val="bg2"/>
                </a:solidFill>
              </a:defRPr>
            </a:lvl1pPr>
            <a:lvl5pPr marL="1371360" indent="0">
              <a:buNone/>
              <a:defRPr/>
            </a:lvl5pPr>
          </a:lstStyle>
          <a:p>
            <a:pPr lvl="0"/>
            <a:r>
              <a:rPr lang="en-US" dirty="0"/>
              <a:t>Click to Edit</a:t>
            </a:r>
          </a:p>
        </p:txBody>
      </p:sp>
      <p:sp>
        <p:nvSpPr>
          <p:cNvPr id="2" name="Date Placeholder 1"/>
          <p:cNvSpPr>
            <a:spLocks noGrp="1"/>
          </p:cNvSpPr>
          <p:nvPr>
            <p:ph type="dt" sz="half" idx="17"/>
          </p:nvPr>
        </p:nvSpPr>
        <p:spPr>
          <a:xfrm>
            <a:off x="-3156888" y="6356350"/>
            <a:ext cx="2843213" cy="365125"/>
          </a:xfrm>
        </p:spPr>
        <p:txBody>
          <a:bodyPr/>
          <a:lstStyle>
            <a:lvl1pPr>
              <a:defRPr>
                <a:latin typeface="Calibri" panose="020F0502020204030204" pitchFamily="34" charset="0"/>
              </a:defRPr>
            </a:lvl1pPr>
          </a:lstStyle>
          <a:p>
            <a:pPr>
              <a:buClr>
                <a:srgbClr val="FF0000"/>
              </a:buClr>
            </a:pPr>
            <a:fld id="{BFD34698-4CB0-4260-A437-6B0E52C5ABA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805720017"/>
      </p:ext>
    </p:extLst>
  </p:cSld>
  <p:clrMapOvr>
    <a:masterClrMapping/>
  </p:clrMapOvr>
  <p:transition>
    <p:fade/>
  </p:transition>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5" name="Gray gradient"/>
          <p:cNvSpPr/>
          <p:nvPr userDrawn="1"/>
        </p:nvSpPr>
        <p:spPr bwMode="auto">
          <a:xfrm>
            <a:off x="4241060" y="0"/>
            <a:ext cx="8039205" cy="6533388"/>
          </a:xfrm>
          <a:prstGeom prst="rect">
            <a:avLst/>
          </a:prstGeom>
          <a:gradFill flip="none" rotWithShape="1">
            <a:gsLst>
              <a:gs pos="0">
                <a:schemeClr val="bg1">
                  <a:lumMod val="85000"/>
                  <a:alpha val="42000"/>
                </a:schemeClr>
              </a:gs>
              <a:gs pos="100000">
                <a:schemeClr val="bg1">
                  <a:lumMod val="95000"/>
                  <a:shade val="100000"/>
                  <a:satMod val="115000"/>
                  <a:alpha val="0"/>
                </a:schemeClr>
              </a:gs>
            </a:gsLst>
            <a:lin ang="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a:solidFill>
                <a:srgbClr val="4D4D4F"/>
              </a:solidFill>
              <a:latin typeface="Calibri"/>
              <a:ea typeface="+mn-ea"/>
              <a:cs typeface="Calibri" panose="020F0502020204030204" pitchFamily="34" charset="0"/>
            </a:endParaRPr>
          </a:p>
        </p:txBody>
      </p:sp>
      <p:cxnSp>
        <p:nvCxnSpPr>
          <p:cNvPr id="6" name="Pink vertical line"/>
          <p:cNvCxnSpPr/>
          <p:nvPr userDrawn="1"/>
        </p:nvCxnSpPr>
        <p:spPr bwMode="auto">
          <a:xfrm>
            <a:off x="4214166" y="786856"/>
            <a:ext cx="0" cy="4965032"/>
          </a:xfrm>
          <a:prstGeom prst="line">
            <a:avLst/>
          </a:prstGeom>
          <a:solidFill>
            <a:schemeClr val="bg1"/>
          </a:solidFill>
          <a:ln w="508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Key points"/>
          <p:cNvSpPr>
            <a:spLocks noGrp="1"/>
          </p:cNvSpPr>
          <p:nvPr>
            <p:ph type="body" sz="quarter" idx="12"/>
          </p:nvPr>
        </p:nvSpPr>
        <p:spPr>
          <a:xfrm>
            <a:off x="4875530" y="1399032"/>
            <a:ext cx="6730683" cy="4443814"/>
          </a:xfrm>
          <a:prstGeom prst="rect">
            <a:avLst/>
          </a:prstGeom>
        </p:spPr>
        <p:txBody>
          <a:bodyPr lIns="91440" tIns="45720" rIns="91440" bIns="45720" anchor="ctr" anchorCtr="0">
            <a:noAutofit/>
          </a:bodyPr>
          <a:lstStyle>
            <a:lvl1pPr marL="320040" indent="-320040">
              <a:lnSpc>
                <a:spcPct val="95000"/>
              </a:lnSpc>
              <a:buSzPct val="85000"/>
              <a:buFont typeface="Calibri" panose="020F0502020204030204" pitchFamily="34" charset="0"/>
              <a:buChar char="•"/>
              <a:defRPr sz="3200" baseline="0">
                <a:solidFill>
                  <a:schemeClr val="tx1"/>
                </a:solidFill>
                <a:latin typeface="Calibri" panose="020F0502020204030204" pitchFamily="34" charset="0"/>
                <a:cs typeface="Calibri" panose="020F0502020204030204" pitchFamily="34" charset="0"/>
              </a:defRPr>
            </a:lvl1pPr>
            <a:lvl2pPr marL="667512" indent="-237744">
              <a:lnSpc>
                <a:spcPct val="95000"/>
              </a:lnSpc>
              <a:defRPr sz="2700">
                <a:latin typeface="Calibri" panose="020F0502020204030204" pitchFamily="34" charset="0"/>
                <a:cs typeface="Calibri" panose="020F0502020204030204" pitchFamily="34" charset="0"/>
              </a:defRPr>
            </a:lvl2pPr>
            <a:lvl3pPr>
              <a:defRPr sz="2700"/>
            </a:lvl3pPr>
            <a:lvl4pPr>
              <a:defRPr sz="2700"/>
            </a:lvl4pPr>
            <a:lvl5pPr>
              <a:defRPr sz="2700"/>
            </a:lvl5pPr>
          </a:lstStyle>
          <a:p>
            <a:pPr lvl="0"/>
            <a:r>
              <a:rPr lang="en-US" dirty="0"/>
              <a:t>Edit Master text styles</a:t>
            </a:r>
          </a:p>
          <a:p>
            <a:pPr lvl="1"/>
            <a:r>
              <a:rPr lang="en-US" dirty="0"/>
              <a:t>Second level</a:t>
            </a:r>
          </a:p>
        </p:txBody>
      </p:sp>
      <p:sp>
        <p:nvSpPr>
          <p:cNvPr id="8" name="Slide Title"/>
          <p:cNvSpPr>
            <a:spLocks noGrp="1"/>
          </p:cNvSpPr>
          <p:nvPr>
            <p:ph type="title"/>
          </p:nvPr>
        </p:nvSpPr>
        <p:spPr>
          <a:xfrm>
            <a:off x="368300" y="1947672"/>
            <a:ext cx="3372166" cy="3020519"/>
          </a:xfrm>
        </p:spPr>
        <p:txBody>
          <a:bodyPr vert="horz" lIns="91440" tIns="45720" rIns="91440" bIns="45720" rtlCol="0" anchor="ctr" anchorCtr="0">
            <a:noAutofit/>
          </a:bodyPr>
          <a:lstStyle>
            <a:lvl1pPr marL="0" indent="0" algn="r" defTabSz="1218783" rtl="0" eaLnBrk="1" latinLnBrk="0" hangingPunct="1">
              <a:lnSpc>
                <a:spcPct val="80000"/>
              </a:lnSpc>
              <a:spcBef>
                <a:spcPct val="0"/>
              </a:spcBef>
              <a:buClr>
                <a:schemeClr val="tx1"/>
              </a:buClr>
              <a:buFont typeface="Ciscolight" pitchFamily="2" charset="0"/>
              <a:buNone/>
              <a:defRPr lang="en-US" sz="4000" b="0" kern="1200" spc="0" baseline="0" dirty="0">
                <a:solidFill>
                  <a:schemeClr val="bg2"/>
                </a:solidFill>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2" name="Date Placeholder 1"/>
          <p:cNvSpPr>
            <a:spLocks noGrp="1"/>
          </p:cNvSpPr>
          <p:nvPr>
            <p:ph type="dt" sz="half" idx="13"/>
          </p:nvPr>
        </p:nvSpPr>
        <p:spPr>
          <a:xfrm>
            <a:off x="-3017178" y="6356350"/>
            <a:ext cx="2843213" cy="365125"/>
          </a:xfrm>
        </p:spPr>
        <p:txBody>
          <a:bodyPr/>
          <a:lstStyle>
            <a:lvl1pPr>
              <a:defRPr>
                <a:latin typeface="Calibri" panose="020F0502020204030204" pitchFamily="34" charset="0"/>
              </a:defRPr>
            </a:lvl1pPr>
          </a:lstStyle>
          <a:p>
            <a:pPr>
              <a:buClr>
                <a:srgbClr val="FF0000"/>
              </a:buClr>
            </a:pPr>
            <a:fld id="{25B14EA0-D077-4AF7-BC7C-65CF8C1E39C3}"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3049855200"/>
      </p:ext>
    </p:extLst>
  </p:cSld>
  <p:clrMapOvr>
    <a:masterClrMapping/>
  </p:clrMapOvr>
  <p:transition>
    <p:fade/>
  </p:transition>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Standard Title and Bullets">
    <p:spTree>
      <p:nvGrpSpPr>
        <p:cNvPr id="1" name=""/>
        <p:cNvGrpSpPr/>
        <p:nvPr/>
      </p:nvGrpSpPr>
      <p:grpSpPr>
        <a:xfrm>
          <a:off x="0" y="0"/>
          <a:ext cx="0" cy="0"/>
          <a:chOff x="0" y="0"/>
          <a:chExt cx="0" cy="0"/>
        </a:xfrm>
      </p:grpSpPr>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atin typeface="Calibri" panose="020F0502020204030204" pitchFamily="34" charset="0"/>
              </a:defRPr>
            </a:lvl1pPr>
          </a:lstStyle>
          <a:p>
            <a:pPr>
              <a:buClr>
                <a:srgbClr val="FF0000"/>
              </a:buClr>
            </a:pPr>
            <a:fld id="{0D2C66B6-F570-4D48-9AB5-501EA47F26D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1180993049"/>
      </p:ext>
    </p:extLst>
  </p:cSld>
  <p:clrMapOvr>
    <a:masterClrMapping/>
  </p:clrMapOvr>
  <p:transition>
    <p:fade/>
  </p:transition>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0_Standard Title and Bullets">
    <p:spTree>
      <p:nvGrpSpPr>
        <p:cNvPr id="1" name=""/>
        <p:cNvGrpSpPr/>
        <p:nvPr/>
      </p:nvGrpSpPr>
      <p:grpSpPr>
        <a:xfrm>
          <a:off x="0" y="0"/>
          <a:ext cx="0" cy="0"/>
          <a:chOff x="0" y="0"/>
          <a:chExt cx="0" cy="0"/>
        </a:xfrm>
      </p:grpSpPr>
      <p:pic>
        <p:nvPicPr>
          <p:cNvPr id="8" name="Picture 7" descr="A picture containing outdoor, person, holding, drawing&#10;&#10;Description automatically generated">
            <a:extLst>
              <a:ext uri="{FF2B5EF4-FFF2-40B4-BE49-F238E27FC236}">
                <a16:creationId xmlns:a16="http://schemas.microsoft.com/office/drawing/2014/main" id="{1B78837F-643D-7549-99F2-0DAFF021468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88825" cy="6486273"/>
          </a:xfrm>
          <a:prstGeom prst="rect">
            <a:avLst/>
          </a:prstGeom>
        </p:spPr>
      </p:pic>
      <p:sp>
        <p:nvSpPr>
          <p:cNvPr id="4" name="Rectangle 3">
            <a:extLst>
              <a:ext uri="{FF2B5EF4-FFF2-40B4-BE49-F238E27FC236}">
                <a16:creationId xmlns:a16="http://schemas.microsoft.com/office/drawing/2014/main" id="{53AB380A-A884-2545-A397-F11FECBE70BD}"/>
              </a:ext>
            </a:extLst>
          </p:cNvPr>
          <p:cNvSpPr/>
          <p:nvPr userDrawn="1"/>
        </p:nvSpPr>
        <p:spPr bwMode="auto">
          <a:xfrm>
            <a:off x="0" y="0"/>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400" kern="1200" dirty="0">
              <a:solidFill>
                <a:srgbClr val="4D4D4F"/>
              </a:solidFill>
              <a:latin typeface="Calibri"/>
              <a:ea typeface="+mn-ea"/>
              <a:cs typeface="Calibri" panose="020F0502020204030204" pitchFamily="34" charset="0"/>
            </a:endParaRPr>
          </a:p>
        </p:txBody>
      </p:sp>
      <p:sp>
        <p:nvSpPr>
          <p:cNvPr id="9" name="Rectangle 8">
            <a:extLst>
              <a:ext uri="{FF2B5EF4-FFF2-40B4-BE49-F238E27FC236}">
                <a16:creationId xmlns:a16="http://schemas.microsoft.com/office/drawing/2014/main" id="{F94B2798-40FD-D744-9CA1-FF4F7F89390D}"/>
              </a:ext>
            </a:extLst>
          </p:cNvPr>
          <p:cNvSpPr/>
          <p:nvPr userDrawn="1"/>
        </p:nvSpPr>
        <p:spPr bwMode="auto">
          <a:xfrm rot="10800000">
            <a:off x="0" y="2871203"/>
            <a:ext cx="12188825" cy="3615070"/>
          </a:xfrm>
          <a:prstGeom prst="rect">
            <a:avLst/>
          </a:prstGeom>
          <a:gradFill flip="none" rotWithShape="1">
            <a:gsLst>
              <a:gs pos="74000">
                <a:schemeClr val="bg1"/>
              </a:gs>
              <a:gs pos="0">
                <a:schemeClr val="bg1">
                  <a:alpha val="0"/>
                </a:schemeClr>
              </a:gs>
            </a:gsLst>
            <a:lin ang="16200000" scaled="1"/>
            <a:tileRect/>
          </a:gra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1" fontAlgn="base">
              <a:lnSpc>
                <a:spcPct val="80000"/>
              </a:lnSpc>
              <a:spcBef>
                <a:spcPts val="1200"/>
              </a:spcBef>
              <a:buClr>
                <a:srgbClr val="FF0000"/>
              </a:buClr>
              <a:buSzPct val="115000"/>
              <a:buFont typeface="Wingdings" pitchFamily="2" charset="2"/>
              <a:buNone/>
            </a:pPr>
            <a:endParaRPr lang="en-US" sz="2400" kern="1200" dirty="0">
              <a:solidFill>
                <a:srgbClr val="4D4D4F"/>
              </a:solidFill>
              <a:latin typeface="Calibri"/>
              <a:ea typeface="+mn-ea"/>
              <a:cs typeface="Calibri" panose="020F0502020204030204" pitchFamily="34" charset="0"/>
            </a:endParaRPr>
          </a:p>
        </p:txBody>
      </p:sp>
      <p:sp>
        <p:nvSpPr>
          <p:cNvPr id="5" name="Slide Title"/>
          <p:cNvSpPr>
            <a:spLocks noGrp="1"/>
          </p:cNvSpPr>
          <p:nvPr>
            <p:ph type="title"/>
          </p:nvPr>
        </p:nvSpPr>
        <p:spPr>
          <a:xfrm>
            <a:off x="583842" y="460552"/>
            <a:ext cx="11022371" cy="914400"/>
          </a:xfrm>
        </p:spPr>
        <p:txBody>
          <a:bodyPr/>
          <a:lstStyle>
            <a:lvl1pPr>
              <a:defRPr>
                <a:solidFill>
                  <a:schemeClr val="tx2"/>
                </a:solidFill>
              </a:defRPr>
            </a:lvl1pPr>
          </a:lstStyle>
          <a:p>
            <a:r>
              <a:rPr lang="en-US"/>
              <a:t>Click to edit Master title style</a:t>
            </a:r>
            <a:endParaRPr lang="en-US" dirty="0"/>
          </a:p>
        </p:txBody>
      </p:sp>
      <p:sp>
        <p:nvSpPr>
          <p:cNvPr id="6" name="Bullet text"/>
          <p:cNvSpPr>
            <a:spLocks noGrp="1" noChangeArrowheads="1"/>
          </p:cNvSpPr>
          <p:nvPr>
            <p:ph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hidden="1"/>
          <p:cNvSpPr>
            <a:spLocks noGrp="1"/>
          </p:cNvSpPr>
          <p:nvPr>
            <p:ph type="ftr" sz="quarter" idx="13"/>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
        <p:nvSpPr>
          <p:cNvPr id="2" name="Date Placeholder 1"/>
          <p:cNvSpPr>
            <a:spLocks noGrp="1"/>
          </p:cNvSpPr>
          <p:nvPr>
            <p:ph type="dt" sz="half" idx="14"/>
          </p:nvPr>
        </p:nvSpPr>
        <p:spPr/>
        <p:txBody>
          <a:bodyPr/>
          <a:lstStyle>
            <a:lvl1pPr>
              <a:defRPr>
                <a:latin typeface="Calibri" panose="020F0502020204030204" pitchFamily="34" charset="0"/>
              </a:defRPr>
            </a:lvl1pPr>
          </a:lstStyle>
          <a:p>
            <a:pPr>
              <a:buClr>
                <a:srgbClr val="FF0000"/>
              </a:buClr>
            </a:pPr>
            <a:fld id="{074E79D6-FDEE-401D-A907-4831EE5E23E4}"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4162923580"/>
      </p:ext>
    </p:extLst>
  </p:cSld>
  <p:clrMapOvr>
    <a:masterClrMapping/>
  </p:clrMapOvr>
  <p:transition>
    <p:fade/>
  </p:transition>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5_Blank ">
    <p:spTree>
      <p:nvGrpSpPr>
        <p:cNvPr id="1" name=""/>
        <p:cNvGrpSpPr/>
        <p:nvPr/>
      </p:nvGrpSpPr>
      <p:grpSpPr>
        <a:xfrm>
          <a:off x="0" y="0"/>
          <a:ext cx="0" cy="0"/>
          <a:chOff x="0" y="0"/>
          <a:chExt cx="0" cy="0"/>
        </a:xfrm>
      </p:grpSpPr>
      <p:pic>
        <p:nvPicPr>
          <p:cNvPr id="5" name="Picture 4" descr="A person posing for the camera  Description automatically generated">
            <a:extLst>
              <a:ext uri="{FF2B5EF4-FFF2-40B4-BE49-F238E27FC236}">
                <a16:creationId xmlns:a16="http://schemas.microsoft.com/office/drawing/2014/main" id="{1D605E35-9CCF-424D-8841-387FE1786400}"/>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88824" cy="6165850"/>
          </a:xfrm>
          <a:prstGeom prst="rect">
            <a:avLst/>
          </a:prstGeom>
        </p:spPr>
      </p:pic>
      <p:sp>
        <p:nvSpPr>
          <p:cNvPr id="4" name="Date" hidden="1"/>
          <p:cNvSpPr>
            <a:spLocks noGrp="1"/>
          </p:cNvSpPr>
          <p:nvPr>
            <p:ph type="dt" sz="half" idx="11"/>
          </p:nvPr>
        </p:nvSpPr>
        <p:spPr/>
        <p:txBody>
          <a:bodyPr/>
          <a:lstStyle>
            <a:lvl1pPr>
              <a:defRPr>
                <a:latin typeface="Calibri" panose="020F0502020204030204" pitchFamily="34" charset="0"/>
              </a:defRPr>
            </a:lvl1pPr>
          </a:lstStyle>
          <a:p>
            <a:pPr>
              <a:buClr>
                <a:srgbClr val="FF0000"/>
              </a:buClr>
            </a:pPr>
            <a:fld id="{285138E8-3F3E-4DC5-A5FA-50868B94627A}"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
        <p:nvSpPr>
          <p:cNvPr id="2" name="Footer Placeholder 1" hidden="1"/>
          <p:cNvSpPr>
            <a:spLocks noGrp="1"/>
          </p:cNvSpPr>
          <p:nvPr>
            <p:ph type="ftr" sz="quarter" idx="12"/>
          </p:nvPr>
        </p:nvSpPr>
        <p:spPr>
          <a:xfrm>
            <a:off x="4037013" y="6356350"/>
            <a:ext cx="4114800" cy="365125"/>
          </a:xfrm>
          <a:prstGeom prst="rect">
            <a:avLst/>
          </a:prstGeom>
        </p:spPr>
        <p:txBody>
          <a:bodyPr/>
          <a:lstStyle>
            <a:lvl1pPr>
              <a:defRPr/>
            </a:lvl1pPr>
          </a:lstStyle>
          <a:p>
            <a:pPr>
              <a:buClr>
                <a:srgbClr val="FF0000"/>
              </a:buClr>
            </a:pPr>
            <a:endParaRPr lang="en-US" dirty="0">
              <a:solidFill>
                <a:srgbClr val="FFFFFF">
                  <a:lumMod val="75000"/>
                </a:srgbClr>
              </a:solidFill>
            </a:endParaRPr>
          </a:p>
        </p:txBody>
      </p:sp>
    </p:spTree>
    <p:extLst>
      <p:ext uri="{BB962C8B-B14F-4D97-AF65-F5344CB8AC3E}">
        <p14:creationId xmlns:p14="http://schemas.microsoft.com/office/powerpoint/2010/main" val="3651748771"/>
      </p:ext>
    </p:extLst>
  </p:cSld>
  <p:clrMapOvr>
    <a:masterClrMapping/>
  </p:clrMapOvr>
  <p:transition>
    <p:fade/>
  </p:transition>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4" y="1787"/>
            <a:ext cx="12188824" cy="6856213"/>
          </a:xfrm>
          <a:prstGeom prst="rect">
            <a:avLst/>
          </a:prstGeom>
        </p:spPr>
      </p:pic>
      <p:pic>
        <p:nvPicPr>
          <p:cNvPr id="3" name="Picture 2"/>
          <p:cNvPicPr>
            <a:picLocks noChangeAspect="1"/>
          </p:cNvPicPr>
          <p:nvPr userDrawn="1"/>
        </p:nvPicPr>
        <p:blipFill>
          <a:blip r:embed="rId3"/>
          <a:stretch>
            <a:fillRect/>
          </a:stretch>
        </p:blipFill>
        <p:spPr>
          <a:xfrm>
            <a:off x="1032480" y="739110"/>
            <a:ext cx="2768536" cy="468876"/>
          </a:xfrm>
          <a:prstGeom prst="rect">
            <a:avLst/>
          </a:prstGeom>
        </p:spPr>
      </p:pic>
      <p:sp>
        <p:nvSpPr>
          <p:cNvPr id="4" name="Footer Placeholder 3" hidden="1"/>
          <p:cNvSpPr>
            <a:spLocks noGrp="1"/>
          </p:cNvSpPr>
          <p:nvPr userDrawn="1">
            <p:ph type="ftr" sz="quarter" idx="11"/>
          </p:nvPr>
        </p:nvSpPr>
        <p:spPr/>
        <p:txBody>
          <a:bodyPr/>
          <a:lstStyle>
            <a:lvl1pPr>
              <a:defRPr/>
            </a:lvl1pPr>
          </a:lstStyle>
          <a:p>
            <a:pPr>
              <a:buClr>
                <a:srgbClr val="FF0000"/>
              </a:buClr>
            </a:pPr>
            <a:endParaRPr lang="en-US" dirty="0">
              <a:solidFill>
                <a:srgbClr val="FFFFFF">
                  <a:lumMod val="75000"/>
                </a:srgbClr>
              </a:solidFill>
            </a:endParaRPr>
          </a:p>
        </p:txBody>
      </p:sp>
      <p:sp>
        <p:nvSpPr>
          <p:cNvPr id="13" name="Speaker name and date"/>
          <p:cNvSpPr>
            <a:spLocks noGrp="1"/>
          </p:cNvSpPr>
          <p:nvPr userDrawn="1">
            <p:ph type="subTitle" idx="1" hasCustomPrompt="1"/>
          </p:nvPr>
        </p:nvSpPr>
        <p:spPr>
          <a:xfrm>
            <a:off x="926659" y="4870698"/>
            <a:ext cx="5804989" cy="692595"/>
          </a:xfrm>
          <a:prstGeom prst="rect">
            <a:avLst/>
          </a:prstGeom>
        </p:spPr>
        <p:txBody>
          <a:bodyPr lIns="91440" tIns="45720" rIns="91440" bIns="45720" anchor="t" anchorCtr="0">
            <a:noAutofit/>
          </a:bodyPr>
          <a:lstStyle>
            <a:lvl1pPr marL="0" indent="0" algn="l">
              <a:lnSpc>
                <a:spcPts val="2666"/>
              </a:lnSpc>
              <a:spcBef>
                <a:spcPts val="0"/>
              </a:spcBef>
              <a:buNone/>
              <a:defRPr sz="1400" b="0" i="0">
                <a:solidFill>
                  <a:schemeClr val="tx1">
                    <a:lumMod val="75000"/>
                  </a:schemeClr>
                </a:solidFill>
                <a:latin typeface="Calibri" panose="020F0502020204030204" pitchFamily="34" charset="0"/>
                <a:cs typeface="Calibri" panose="020F0502020204030204" pitchFamily="34" charset="0"/>
              </a:defRPr>
            </a:lvl1pPr>
            <a:lvl2pPr marL="609361" indent="0" algn="ctr">
              <a:buNone/>
              <a:defRPr>
                <a:solidFill>
                  <a:schemeClr val="tx1">
                    <a:tint val="75000"/>
                  </a:schemeClr>
                </a:solidFill>
              </a:defRPr>
            </a:lvl2pPr>
            <a:lvl3pPr marL="1218732" indent="0" algn="ctr">
              <a:buNone/>
              <a:defRPr>
                <a:solidFill>
                  <a:schemeClr val="tx1">
                    <a:tint val="75000"/>
                  </a:schemeClr>
                </a:solidFill>
              </a:defRPr>
            </a:lvl3pPr>
            <a:lvl4pPr marL="1828097" indent="0" algn="ctr">
              <a:buNone/>
              <a:defRPr>
                <a:solidFill>
                  <a:schemeClr val="tx1">
                    <a:tint val="75000"/>
                  </a:schemeClr>
                </a:solidFill>
              </a:defRPr>
            </a:lvl4pPr>
            <a:lvl5pPr marL="2437467" indent="0" algn="ctr">
              <a:buNone/>
              <a:defRPr>
                <a:solidFill>
                  <a:schemeClr val="tx1">
                    <a:tint val="75000"/>
                  </a:schemeClr>
                </a:solidFill>
              </a:defRPr>
            </a:lvl5pPr>
            <a:lvl6pPr marL="3046828" indent="0" algn="ctr">
              <a:buNone/>
              <a:defRPr>
                <a:solidFill>
                  <a:schemeClr val="tx1">
                    <a:tint val="75000"/>
                  </a:schemeClr>
                </a:solidFill>
              </a:defRPr>
            </a:lvl6pPr>
            <a:lvl7pPr marL="3656199" indent="0" algn="ctr">
              <a:buNone/>
              <a:defRPr>
                <a:solidFill>
                  <a:schemeClr val="tx1">
                    <a:tint val="75000"/>
                  </a:schemeClr>
                </a:solidFill>
              </a:defRPr>
            </a:lvl7pPr>
            <a:lvl8pPr marL="4265564" indent="0" algn="ctr">
              <a:buNone/>
              <a:defRPr>
                <a:solidFill>
                  <a:schemeClr val="tx1">
                    <a:tint val="75000"/>
                  </a:schemeClr>
                </a:solidFill>
              </a:defRPr>
            </a:lvl8pPr>
            <a:lvl9pPr marL="4874933" indent="0" algn="ctr">
              <a:buNone/>
              <a:defRPr>
                <a:solidFill>
                  <a:schemeClr val="tx1">
                    <a:tint val="75000"/>
                  </a:schemeClr>
                </a:solidFill>
              </a:defRPr>
            </a:lvl9pPr>
          </a:lstStyle>
          <a:p>
            <a:r>
              <a:rPr lang="en-US" dirty="0"/>
              <a:t>Speaker Name  | Speaker Title</a:t>
            </a:r>
          </a:p>
          <a:p>
            <a:r>
              <a:rPr lang="en-US" dirty="0"/>
              <a:t>Date</a:t>
            </a:r>
          </a:p>
        </p:txBody>
      </p:sp>
      <p:sp>
        <p:nvSpPr>
          <p:cNvPr id="14" name="Sub-title"/>
          <p:cNvSpPr>
            <a:spLocks noGrp="1"/>
          </p:cNvSpPr>
          <p:nvPr userDrawn="1">
            <p:ph type="body" sz="quarter" idx="13" hasCustomPrompt="1"/>
          </p:nvPr>
        </p:nvSpPr>
        <p:spPr>
          <a:xfrm>
            <a:off x="917279" y="3429893"/>
            <a:ext cx="5804989" cy="565804"/>
          </a:xfrm>
          <a:prstGeom prst="rect">
            <a:avLst/>
          </a:prstGeom>
        </p:spPr>
        <p:txBody>
          <a:bodyPr lIns="91440" tIns="45720" rIns="91440" bIns="45720">
            <a:noAutofit/>
          </a:bodyPr>
          <a:lstStyle>
            <a:lvl1pPr marL="0" indent="0">
              <a:buFont typeface="Arial" panose="020B0604020202020204" pitchFamily="34" charset="0"/>
              <a:buNone/>
              <a:defRPr sz="2400" b="0" baseline="0">
                <a:solidFill>
                  <a:schemeClr val="tx1"/>
                </a:solidFill>
                <a:latin typeface="Calibri" panose="020F0502020204030204" pitchFamily="34" charset="0"/>
                <a:cs typeface="Calibri" panose="020F0502020204030204" pitchFamily="34" charset="0"/>
              </a:defRPr>
            </a:lvl1pPr>
            <a:lvl2pPr marL="541687" indent="0">
              <a:buNone/>
              <a:defRPr/>
            </a:lvl2pPr>
            <a:lvl3pPr marL="759622" indent="0">
              <a:buNone/>
              <a:defRPr/>
            </a:lvl3pPr>
            <a:lvl4pPr marL="918321" indent="0">
              <a:buNone/>
              <a:defRPr/>
            </a:lvl4pPr>
            <a:lvl5pPr marL="1068552" indent="0">
              <a:buNone/>
              <a:defRPr/>
            </a:lvl5pPr>
          </a:lstStyle>
          <a:p>
            <a:pPr lvl="0"/>
            <a:r>
              <a:rPr lang="en-GB" dirty="0"/>
              <a:t>Presentation Subtitle</a:t>
            </a:r>
          </a:p>
        </p:txBody>
      </p:sp>
      <p:sp>
        <p:nvSpPr>
          <p:cNvPr id="15" name="Title"/>
          <p:cNvSpPr>
            <a:spLocks noGrp="1"/>
          </p:cNvSpPr>
          <p:nvPr userDrawn="1">
            <p:ph type="body" sz="quarter" idx="14" hasCustomPrompt="1"/>
          </p:nvPr>
        </p:nvSpPr>
        <p:spPr>
          <a:xfrm>
            <a:off x="912590" y="2358679"/>
            <a:ext cx="5804989" cy="1071215"/>
          </a:xfrm>
          <a:prstGeom prst="rect">
            <a:avLst/>
          </a:prstGeom>
          <a:effectLst/>
        </p:spPr>
        <p:txBody>
          <a:bodyPr>
            <a:noAutofit/>
          </a:bodyPr>
          <a:lstStyle>
            <a:lvl1pPr marL="0" indent="0">
              <a:lnSpc>
                <a:spcPts val="4000"/>
              </a:lnSpc>
              <a:spcBef>
                <a:spcPts val="0"/>
              </a:spcBef>
              <a:buFontTx/>
              <a:buNone/>
              <a:defRPr sz="3400" b="1" cap="all" baseline="0">
                <a:solidFill>
                  <a:schemeClr val="tx1"/>
                </a:solidFill>
                <a:latin typeface="Calibri" panose="020F0502020204030204" pitchFamily="34" charset="0"/>
                <a:cs typeface="Calibri" panose="020F0502020204030204" pitchFamily="34" charset="0"/>
              </a:defRPr>
            </a:lvl1pPr>
          </a:lstStyle>
          <a:p>
            <a:pPr>
              <a:buClrTx/>
              <a:buSzTx/>
            </a:pPr>
            <a:r>
              <a:rPr lang="en-US" kern="0" dirty="0"/>
              <a:t>PRESENTATION TITLE</a:t>
            </a:r>
          </a:p>
        </p:txBody>
      </p:sp>
      <p:sp>
        <p:nvSpPr>
          <p:cNvPr id="2" name="Date Placeholder 1"/>
          <p:cNvSpPr>
            <a:spLocks noGrp="1"/>
          </p:cNvSpPr>
          <p:nvPr userDrawn="1">
            <p:ph type="dt" sz="half" idx="15"/>
          </p:nvPr>
        </p:nvSpPr>
        <p:spPr>
          <a:xfrm>
            <a:off x="-3048000" y="6356350"/>
            <a:ext cx="2843213" cy="365125"/>
          </a:xfrm>
        </p:spPr>
        <p:txBody>
          <a:bodyPr/>
          <a:lstStyle>
            <a:lvl1pPr>
              <a:defRPr>
                <a:latin typeface="Calibri" panose="020F0502020204030204" pitchFamily="34" charset="0"/>
              </a:defRPr>
            </a:lvl1pPr>
          </a:lstStyle>
          <a:p>
            <a:pPr>
              <a:buClr>
                <a:srgbClr val="FF0000"/>
              </a:buClr>
            </a:pPr>
            <a:fld id="{603289AC-4C12-4E6D-B39B-A4756814FEEC}" type="datetimeFigureOut">
              <a:rPr lang="en-US" smtClean="0">
                <a:solidFill>
                  <a:srgbClr val="4D4D4F">
                    <a:tint val="75000"/>
                  </a:srgbClr>
                </a:solidFill>
              </a:rPr>
              <a:pPr>
                <a:buClr>
                  <a:srgbClr val="FF0000"/>
                </a:buClr>
              </a:pPr>
              <a:t>29-Feb-24</a:t>
            </a:fld>
            <a:endParaRPr lang="en-US" dirty="0">
              <a:solidFill>
                <a:srgbClr val="4D4D4F">
                  <a:tint val="75000"/>
                </a:srgbClr>
              </a:solidFill>
            </a:endParaRPr>
          </a:p>
        </p:txBody>
      </p:sp>
    </p:spTree>
    <p:extLst>
      <p:ext uri="{BB962C8B-B14F-4D97-AF65-F5344CB8AC3E}">
        <p14:creationId xmlns:p14="http://schemas.microsoft.com/office/powerpoint/2010/main" val="2879622267"/>
      </p:ext>
    </p:extLst>
  </p:cSld>
  <p:clrMapOvr>
    <a:masterClrMapping/>
  </p:clrMapOvr>
  <p:transition>
    <p:fade/>
  </p:transition>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1.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image" Target="../media/image1.emf"/><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theme" Target="../theme/theme6.xml"/><Relationship Id="rId8"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theme" Target="../theme/theme7.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2"/>
            <a:ext cx="2843213"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defRPr>
            </a:lvl1pPr>
          </a:lstStyle>
          <a:p>
            <a:fld id="{285138E8-3F3E-4DC5-A5FA-50868B94627A}" type="datetimeFigureOut">
              <a:rPr lang="en-US" smtClean="0"/>
              <a:pPr/>
              <a:t>29-Feb-24</a:t>
            </a:fld>
            <a:endParaRPr lang="en-US" dirty="0"/>
          </a:p>
        </p:txBody>
      </p:sp>
      <p:sp>
        <p:nvSpPr>
          <p:cNvPr id="11" name="Bullet text"/>
          <p:cNvSpPr>
            <a:spLocks noGrp="1" noChangeArrowheads="1"/>
          </p:cNvSpPr>
          <p:nvPr>
            <p:ph type="body"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3"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60" y="6556249"/>
            <a:ext cx="1840451" cy="269820"/>
          </a:xfrm>
          <a:prstGeom prst="rect">
            <a:avLst/>
          </a:prstGeom>
        </p:spPr>
        <p:txBody>
          <a:bodyPr wrap="square" lIns="121867" tIns="60933" rIns="121867" bIns="60933"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chemeClr val="tx1"/>
                </a:solidFill>
                <a:latin typeface="+mn-lt"/>
                <a:ea typeface="+mn-ea"/>
                <a:cs typeface="+mn-cs"/>
              </a:rPr>
              <a:pPr algn="r" fontAlgn="auto">
                <a:spcBef>
                  <a:spcPts val="0"/>
                </a:spcBef>
                <a:spcAft>
                  <a:spcPts val="0"/>
                </a:spcAft>
                <a:buClrTx/>
                <a:buSzTx/>
                <a:buFontTx/>
                <a:buNone/>
                <a:defRPr/>
              </a:pPr>
              <a:t>‹#›</a:t>
            </a:fld>
            <a:endParaRPr lang="en-US" sz="1100" kern="0" dirty="0">
              <a:solidFill>
                <a:schemeClr val="tx1"/>
              </a:solidFill>
              <a:latin typeface="+mn-lt"/>
              <a:ea typeface="+mn-ea"/>
              <a:cs typeface="+mn-cs"/>
            </a:endParaRPr>
          </a:p>
        </p:txBody>
      </p:sp>
      <p:sp>
        <p:nvSpPr>
          <p:cNvPr id="8" name="Footer_copyright"/>
          <p:cNvSpPr txBox="1">
            <a:spLocks/>
          </p:cNvSpPr>
          <p:nvPr/>
        </p:nvSpPr>
        <p:spPr>
          <a:xfrm>
            <a:off x="9080501" y="6542104"/>
            <a:ext cx="2744799" cy="304221"/>
          </a:xfrm>
          <a:prstGeom prst="rect">
            <a:avLst/>
          </a:prstGeom>
        </p:spPr>
        <p:txBody>
          <a:bodyPr wrap="square" lIns="121867" tIns="60933" rIns="121867" bIns="60933"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sz="900" kern="0" dirty="0">
                <a:solidFill>
                  <a:schemeClr val="tx1">
                    <a:lumMod val="40000"/>
                    <a:lumOff val="60000"/>
                  </a:schemeClr>
                </a:solidFill>
              </a:rPr>
              <a:t>©202</a:t>
            </a:r>
            <a:r>
              <a:rPr lang="he-IL" sz="700" kern="0" dirty="0">
                <a:solidFill>
                  <a:schemeClr val="tx1">
                    <a:lumMod val="40000"/>
                    <a:lumOff val="60000"/>
                  </a:schemeClr>
                </a:solidFill>
              </a:rPr>
              <a:t>1</a:t>
            </a:r>
            <a:r>
              <a:rPr lang="en-US" sz="900" kern="0" dirty="0">
                <a:solidFill>
                  <a:schemeClr val="tx1">
                    <a:lumMod val="40000"/>
                    <a:lumOff val="60000"/>
                  </a:schemeClr>
                </a:solidFill>
              </a:rPr>
              <a:t> Check Point Software Technologies</a:t>
            </a:r>
            <a:r>
              <a:rPr lang="en-US" sz="900" kern="0" baseline="0" dirty="0">
                <a:solidFill>
                  <a:schemeClr val="tx1">
                    <a:lumMod val="40000"/>
                    <a:lumOff val="60000"/>
                  </a:schemeClr>
                </a:solidFill>
              </a:rPr>
              <a:t> </a:t>
            </a:r>
            <a:r>
              <a:rPr lang="en-US" sz="900" kern="0" dirty="0">
                <a:solidFill>
                  <a:schemeClr val="tx1">
                    <a:lumMod val="40000"/>
                    <a:lumOff val="60000"/>
                  </a:schemeClr>
                </a:solidFill>
              </a:rPr>
              <a:t>Ltd. </a:t>
            </a:r>
          </a:p>
        </p:txBody>
      </p:sp>
      <p:grpSp>
        <p:nvGrpSpPr>
          <p:cNvPr id="5" name="Group 4"/>
          <p:cNvGrpSpPr/>
          <p:nvPr/>
        </p:nvGrpSpPr>
        <p:grpSpPr>
          <a:xfrm>
            <a:off x="1"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22"/>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endParaRPr lang="en-US" dirty="0"/>
          </a:p>
        </p:txBody>
      </p:sp>
    </p:spTree>
    <p:extLst>
      <p:ext uri="{BB962C8B-B14F-4D97-AF65-F5344CB8AC3E}">
        <p14:creationId xmlns:p14="http://schemas.microsoft.com/office/powerpoint/2010/main" val="2966731398"/>
      </p:ext>
    </p:extLst>
  </p:cSld>
  <p:clrMap bg1="lt1" tx1="dk1" bg2="lt2" tx2="dk2" accent1="accent1" accent2="accent2" accent3="accent3" accent4="accent4" accent5="accent5" accent6="accent6" hlink="hlink" folHlink="folHlink"/>
  <p:sldLayoutIdLst>
    <p:sldLayoutId id="2147483724" r:id="rId1"/>
    <p:sldLayoutId id="2147483727" r:id="rId2"/>
    <p:sldLayoutId id="2147483739" r:id="rId3"/>
    <p:sldLayoutId id="2147483771" r:id="rId4"/>
    <p:sldLayoutId id="2147483776" r:id="rId5"/>
    <p:sldLayoutId id="2147483777" r:id="rId6"/>
    <p:sldLayoutId id="2147483781" r:id="rId7"/>
    <p:sldLayoutId id="2147483778" r:id="rId8"/>
    <p:sldLayoutId id="2147483779" r:id="rId9"/>
    <p:sldLayoutId id="2147483708" r:id="rId10"/>
    <p:sldLayoutId id="2147483717" r:id="rId11"/>
    <p:sldLayoutId id="2147483695" r:id="rId12"/>
    <p:sldLayoutId id="2147483696" r:id="rId13"/>
    <p:sldLayoutId id="2147483698" r:id="rId14"/>
    <p:sldLayoutId id="2147483699" r:id="rId15"/>
    <p:sldLayoutId id="2147483700" r:id="rId16"/>
    <p:sldLayoutId id="2147483701" r:id="rId17"/>
    <p:sldLayoutId id="2147483885" r:id="rId18"/>
    <p:sldLayoutId id="2147483823" r:id="rId19"/>
    <p:sldLayoutId id="2147483824" r:id="rId20"/>
  </p:sldLayoutIdLst>
  <p:transition>
    <p:fade/>
  </p:transition>
  <p:hf sldNum="0" hdr="0" ftr="0" dt="0"/>
  <p:txStyles>
    <p:titleStyle>
      <a:lvl1pPr algn="l" rtl="0" eaLnBrk="1" fontAlgn="base" hangingPunct="1">
        <a:lnSpc>
          <a:spcPct val="85000"/>
        </a:lnSpc>
        <a:spcBef>
          <a:spcPct val="0"/>
        </a:spcBef>
        <a:spcAft>
          <a:spcPct val="0"/>
        </a:spcAft>
        <a:defRPr sz="3399"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9" b="1">
          <a:solidFill>
            <a:srgbClr val="4E4E4E"/>
          </a:solidFill>
          <a:latin typeface="Helvetica" pitchFamily="34" charset="0"/>
        </a:defRPr>
      </a:lvl2pPr>
      <a:lvl3pPr algn="l" rtl="0" eaLnBrk="1" fontAlgn="base" hangingPunct="1">
        <a:lnSpc>
          <a:spcPct val="85000"/>
        </a:lnSpc>
        <a:spcBef>
          <a:spcPct val="0"/>
        </a:spcBef>
        <a:spcAft>
          <a:spcPct val="0"/>
        </a:spcAft>
        <a:defRPr sz="3699" b="1">
          <a:solidFill>
            <a:srgbClr val="4E4E4E"/>
          </a:solidFill>
          <a:latin typeface="Helvetica" pitchFamily="34" charset="0"/>
        </a:defRPr>
      </a:lvl3pPr>
      <a:lvl4pPr algn="l" rtl="0" eaLnBrk="1" fontAlgn="base" hangingPunct="1">
        <a:lnSpc>
          <a:spcPct val="85000"/>
        </a:lnSpc>
        <a:spcBef>
          <a:spcPct val="0"/>
        </a:spcBef>
        <a:spcAft>
          <a:spcPct val="0"/>
        </a:spcAft>
        <a:defRPr sz="3699" b="1">
          <a:solidFill>
            <a:srgbClr val="4E4E4E"/>
          </a:solidFill>
          <a:latin typeface="Helvetica" pitchFamily="34" charset="0"/>
        </a:defRPr>
      </a:lvl4pPr>
      <a:lvl5pPr algn="l" rtl="0" eaLnBrk="1" fontAlgn="base" hangingPunct="1">
        <a:lnSpc>
          <a:spcPct val="85000"/>
        </a:lnSpc>
        <a:spcBef>
          <a:spcPct val="0"/>
        </a:spcBef>
        <a:spcAft>
          <a:spcPct val="0"/>
        </a:spcAft>
        <a:defRPr sz="3699" b="1">
          <a:solidFill>
            <a:srgbClr val="4E4E4E"/>
          </a:solidFill>
          <a:latin typeface="Helvetica" pitchFamily="34" charset="0"/>
        </a:defRPr>
      </a:lvl5pPr>
      <a:lvl6pPr marL="609310" algn="l" rtl="0" eaLnBrk="1" fontAlgn="base" hangingPunct="1">
        <a:lnSpc>
          <a:spcPct val="85000"/>
        </a:lnSpc>
        <a:spcBef>
          <a:spcPct val="0"/>
        </a:spcBef>
        <a:spcAft>
          <a:spcPct val="0"/>
        </a:spcAft>
        <a:defRPr sz="3699" b="1">
          <a:solidFill>
            <a:srgbClr val="4E4E4E"/>
          </a:solidFill>
          <a:latin typeface="Helvetica" pitchFamily="34" charset="0"/>
        </a:defRPr>
      </a:lvl6pPr>
      <a:lvl7pPr marL="1218621" algn="l" rtl="0" eaLnBrk="1" fontAlgn="base" hangingPunct="1">
        <a:lnSpc>
          <a:spcPct val="85000"/>
        </a:lnSpc>
        <a:spcBef>
          <a:spcPct val="0"/>
        </a:spcBef>
        <a:spcAft>
          <a:spcPct val="0"/>
        </a:spcAft>
        <a:defRPr sz="3699" b="1">
          <a:solidFill>
            <a:srgbClr val="4E4E4E"/>
          </a:solidFill>
          <a:latin typeface="Helvetica" pitchFamily="34" charset="0"/>
        </a:defRPr>
      </a:lvl7pPr>
      <a:lvl8pPr marL="1827931" algn="l" rtl="0" eaLnBrk="1" fontAlgn="base" hangingPunct="1">
        <a:lnSpc>
          <a:spcPct val="85000"/>
        </a:lnSpc>
        <a:spcBef>
          <a:spcPct val="0"/>
        </a:spcBef>
        <a:spcAft>
          <a:spcPct val="0"/>
        </a:spcAft>
        <a:defRPr sz="3699" b="1">
          <a:solidFill>
            <a:srgbClr val="4E4E4E"/>
          </a:solidFill>
          <a:latin typeface="Helvetica" pitchFamily="34" charset="0"/>
        </a:defRPr>
      </a:lvl8pPr>
      <a:lvl9pPr marL="2437242" algn="l" rtl="0" eaLnBrk="1" fontAlgn="base" hangingPunct="1">
        <a:lnSpc>
          <a:spcPct val="85000"/>
        </a:lnSpc>
        <a:spcBef>
          <a:spcPct val="0"/>
        </a:spcBef>
        <a:spcAft>
          <a:spcPct val="0"/>
        </a:spcAft>
        <a:defRPr sz="3699" b="1">
          <a:solidFill>
            <a:srgbClr val="4E4E4E"/>
          </a:solidFill>
          <a:latin typeface="Helvetica" pitchFamily="34" charset="0"/>
        </a:defRPr>
      </a:lvl9pPr>
    </p:titleStyle>
    <p:bodyStyle>
      <a:lvl1pPr marL="228531" indent="-228531"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9" dirty="0" smtClean="0">
          <a:solidFill>
            <a:schemeClr val="tx1"/>
          </a:solidFill>
          <a:latin typeface="Calibri" panose="020F0502020204030204" pitchFamily="34" charset="0"/>
          <a:ea typeface="+mn-ea"/>
          <a:cs typeface="Calibri" panose="020F0502020204030204" pitchFamily="34" charset="0"/>
        </a:defRPr>
      </a:lvl1pPr>
      <a:lvl2pPr marL="575899"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9" dirty="0" smtClean="0">
          <a:solidFill>
            <a:schemeClr val="tx1"/>
          </a:solidFill>
          <a:latin typeface="Calibri" panose="020F0502020204030204" pitchFamily="34" charset="0"/>
        </a:defRPr>
      </a:lvl2pPr>
      <a:lvl3pPr marL="886702"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9" dirty="0" smtClean="0">
          <a:solidFill>
            <a:schemeClr val="tx1"/>
          </a:solidFill>
          <a:latin typeface="Calibri" panose="020F0502020204030204" pitchFamily="34" charset="0"/>
        </a:defRPr>
      </a:lvl3pPr>
      <a:lvl4pPr marL="1170081" indent="-228531"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9" dirty="0" smtClean="0">
          <a:solidFill>
            <a:schemeClr val="tx1"/>
          </a:solidFill>
          <a:latin typeface="+mn-lt"/>
        </a:defRPr>
      </a:lvl4pPr>
      <a:lvl5pPr marL="1462601" indent="-228531"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1207" indent="-304656" algn="l" rtl="0" eaLnBrk="1" fontAlgn="base" hangingPunct="1">
        <a:spcBef>
          <a:spcPct val="20000"/>
        </a:spcBef>
        <a:spcAft>
          <a:spcPct val="0"/>
        </a:spcAft>
        <a:buClr>
          <a:schemeClr val="accent2"/>
        </a:buClr>
        <a:buChar char="»"/>
        <a:defRPr sz="2099">
          <a:solidFill>
            <a:schemeClr val="tx1"/>
          </a:solidFill>
          <a:latin typeface="+mn-lt"/>
        </a:defRPr>
      </a:lvl6pPr>
      <a:lvl7pPr marL="3960518" indent="-304656" algn="l" rtl="0" eaLnBrk="1" fontAlgn="base" hangingPunct="1">
        <a:spcBef>
          <a:spcPct val="20000"/>
        </a:spcBef>
        <a:spcAft>
          <a:spcPct val="0"/>
        </a:spcAft>
        <a:buClr>
          <a:schemeClr val="accent2"/>
        </a:buClr>
        <a:buChar char="»"/>
        <a:defRPr sz="2099">
          <a:solidFill>
            <a:schemeClr val="tx1"/>
          </a:solidFill>
          <a:latin typeface="+mn-lt"/>
        </a:defRPr>
      </a:lvl7pPr>
      <a:lvl8pPr marL="4569829" indent="-304656" algn="l" rtl="0" eaLnBrk="1" fontAlgn="base" hangingPunct="1">
        <a:spcBef>
          <a:spcPct val="20000"/>
        </a:spcBef>
        <a:spcAft>
          <a:spcPct val="0"/>
        </a:spcAft>
        <a:buClr>
          <a:schemeClr val="accent2"/>
        </a:buClr>
        <a:buChar char="»"/>
        <a:defRPr sz="2099">
          <a:solidFill>
            <a:schemeClr val="tx1"/>
          </a:solidFill>
          <a:latin typeface="+mn-lt"/>
        </a:defRPr>
      </a:lvl8pPr>
      <a:lvl9pPr marL="5179139" indent="-304656" algn="l" rtl="0" eaLnBrk="1" fontAlgn="base" hangingPunct="1">
        <a:spcBef>
          <a:spcPct val="20000"/>
        </a:spcBef>
        <a:spcAft>
          <a:spcPct val="0"/>
        </a:spcAft>
        <a:buClr>
          <a:schemeClr val="accent2"/>
        </a:buClr>
        <a:buChar char="»"/>
        <a:defRPr sz="2099">
          <a:solidFill>
            <a:schemeClr val="tx1"/>
          </a:solidFill>
          <a:latin typeface="+mn-lt"/>
        </a:defRPr>
      </a:lvl9pPr>
    </p:bodyStyle>
    <p:otherStyle>
      <a:defPPr>
        <a:defRPr lang="en-US"/>
      </a:defPPr>
      <a:lvl1pPr marL="0" algn="l" defTabSz="1218621" rtl="0" eaLnBrk="1" latinLnBrk="0" hangingPunct="1">
        <a:defRPr sz="2399" kern="1200">
          <a:solidFill>
            <a:schemeClr val="tx1"/>
          </a:solidFill>
          <a:latin typeface="+mn-lt"/>
          <a:ea typeface="+mn-ea"/>
          <a:cs typeface="+mn-cs"/>
        </a:defRPr>
      </a:lvl1pPr>
      <a:lvl2pPr marL="609310" algn="l" defTabSz="1218621" rtl="0" eaLnBrk="1" latinLnBrk="0" hangingPunct="1">
        <a:defRPr sz="2399" kern="1200">
          <a:solidFill>
            <a:schemeClr val="tx1"/>
          </a:solidFill>
          <a:latin typeface="+mn-lt"/>
          <a:ea typeface="+mn-ea"/>
          <a:cs typeface="+mn-cs"/>
        </a:defRPr>
      </a:lvl2pPr>
      <a:lvl3pPr marL="1218621" algn="l" defTabSz="1218621" rtl="0" eaLnBrk="1" latinLnBrk="0" hangingPunct="1">
        <a:defRPr sz="2399" kern="1200">
          <a:solidFill>
            <a:schemeClr val="tx1"/>
          </a:solidFill>
          <a:latin typeface="+mn-lt"/>
          <a:ea typeface="+mn-ea"/>
          <a:cs typeface="+mn-cs"/>
        </a:defRPr>
      </a:lvl3pPr>
      <a:lvl4pPr marL="1827931" algn="l" defTabSz="1218621" rtl="0" eaLnBrk="1" latinLnBrk="0" hangingPunct="1">
        <a:defRPr sz="2399" kern="1200">
          <a:solidFill>
            <a:schemeClr val="tx1"/>
          </a:solidFill>
          <a:latin typeface="+mn-lt"/>
          <a:ea typeface="+mn-ea"/>
          <a:cs typeface="+mn-cs"/>
        </a:defRPr>
      </a:lvl4pPr>
      <a:lvl5pPr marL="2437242" algn="l" defTabSz="1218621" rtl="0" eaLnBrk="1" latinLnBrk="0" hangingPunct="1">
        <a:defRPr sz="2399" kern="1200">
          <a:solidFill>
            <a:schemeClr val="tx1"/>
          </a:solidFill>
          <a:latin typeface="+mn-lt"/>
          <a:ea typeface="+mn-ea"/>
          <a:cs typeface="+mn-cs"/>
        </a:defRPr>
      </a:lvl5pPr>
      <a:lvl6pPr marL="3046553" algn="l" defTabSz="1218621" rtl="0" eaLnBrk="1" latinLnBrk="0" hangingPunct="1">
        <a:defRPr sz="2399" kern="1200">
          <a:solidFill>
            <a:schemeClr val="tx1"/>
          </a:solidFill>
          <a:latin typeface="+mn-lt"/>
          <a:ea typeface="+mn-ea"/>
          <a:cs typeface="+mn-cs"/>
        </a:defRPr>
      </a:lvl6pPr>
      <a:lvl7pPr marL="3655863" algn="l" defTabSz="1218621" rtl="0" eaLnBrk="1" latinLnBrk="0" hangingPunct="1">
        <a:defRPr sz="2399" kern="1200">
          <a:solidFill>
            <a:schemeClr val="tx1"/>
          </a:solidFill>
          <a:latin typeface="+mn-lt"/>
          <a:ea typeface="+mn-ea"/>
          <a:cs typeface="+mn-cs"/>
        </a:defRPr>
      </a:lvl7pPr>
      <a:lvl8pPr marL="4265173" algn="l" defTabSz="1218621" rtl="0" eaLnBrk="1" latinLnBrk="0" hangingPunct="1">
        <a:defRPr sz="2399" kern="1200">
          <a:solidFill>
            <a:schemeClr val="tx1"/>
          </a:solidFill>
          <a:latin typeface="+mn-lt"/>
          <a:ea typeface="+mn-ea"/>
          <a:cs typeface="+mn-cs"/>
        </a:defRPr>
      </a:lvl8pPr>
      <a:lvl9pPr marL="4874484" algn="l" defTabSz="1218621"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2"/>
            <a:ext cx="2843213"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defRPr>
            </a:lvl1pPr>
          </a:lstStyle>
          <a:p>
            <a:fld id="{285138E8-3F3E-4DC5-A5FA-50868B94627A}" type="datetimeFigureOut">
              <a:rPr lang="en-US" smtClean="0"/>
              <a:pPr/>
              <a:t>29-Feb-24</a:t>
            </a:fld>
            <a:endParaRPr lang="en-US" dirty="0"/>
          </a:p>
        </p:txBody>
      </p:sp>
      <p:sp>
        <p:nvSpPr>
          <p:cNvPr id="11" name="Bullet text"/>
          <p:cNvSpPr>
            <a:spLocks noGrp="1" noChangeArrowheads="1"/>
          </p:cNvSpPr>
          <p:nvPr>
            <p:ph type="body" idx="1"/>
          </p:nvPr>
        </p:nvSpPr>
        <p:spPr bwMode="auto">
          <a:xfrm>
            <a:off x="583843" y="1534475"/>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3"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60" y="6556249"/>
            <a:ext cx="1840451" cy="269820"/>
          </a:xfrm>
          <a:prstGeom prst="rect">
            <a:avLst/>
          </a:prstGeom>
        </p:spPr>
        <p:txBody>
          <a:bodyPr wrap="square" lIns="121867" tIns="60933" rIns="121867" bIns="60933"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chemeClr val="tx1"/>
                </a:solidFill>
                <a:latin typeface="+mn-lt"/>
                <a:ea typeface="+mn-ea"/>
                <a:cs typeface="+mn-cs"/>
              </a:rPr>
              <a:pPr algn="r" fontAlgn="auto">
                <a:spcBef>
                  <a:spcPts val="0"/>
                </a:spcBef>
                <a:spcAft>
                  <a:spcPts val="0"/>
                </a:spcAft>
                <a:buClrTx/>
                <a:buSzTx/>
                <a:buFontTx/>
                <a:buNone/>
                <a:defRPr/>
              </a:pPr>
              <a:t>‹#›</a:t>
            </a:fld>
            <a:endParaRPr lang="en-US" sz="1100" kern="0" dirty="0">
              <a:solidFill>
                <a:schemeClr val="tx1"/>
              </a:solidFill>
              <a:latin typeface="+mn-lt"/>
              <a:ea typeface="+mn-ea"/>
              <a:cs typeface="+mn-cs"/>
            </a:endParaRPr>
          </a:p>
        </p:txBody>
      </p:sp>
      <p:sp>
        <p:nvSpPr>
          <p:cNvPr id="8" name="Footer_copyright"/>
          <p:cNvSpPr txBox="1">
            <a:spLocks/>
          </p:cNvSpPr>
          <p:nvPr/>
        </p:nvSpPr>
        <p:spPr>
          <a:xfrm>
            <a:off x="9080501" y="6542104"/>
            <a:ext cx="2744799" cy="304221"/>
          </a:xfrm>
          <a:prstGeom prst="rect">
            <a:avLst/>
          </a:prstGeom>
        </p:spPr>
        <p:txBody>
          <a:bodyPr wrap="square" lIns="121867" tIns="60933" rIns="121867" bIns="60933"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sz="900" kern="0" dirty="0">
                <a:solidFill>
                  <a:schemeClr val="tx1">
                    <a:lumMod val="40000"/>
                    <a:lumOff val="60000"/>
                  </a:schemeClr>
                </a:solidFill>
              </a:rPr>
              <a:t>©202</a:t>
            </a:r>
            <a:r>
              <a:rPr lang="he-IL" sz="800" kern="0" dirty="0">
                <a:solidFill>
                  <a:schemeClr val="tx1">
                    <a:lumMod val="40000"/>
                    <a:lumOff val="60000"/>
                  </a:schemeClr>
                </a:solidFill>
              </a:rPr>
              <a:t>1</a:t>
            </a:r>
            <a:r>
              <a:rPr lang="en-US" sz="900" kern="0" dirty="0">
                <a:solidFill>
                  <a:schemeClr val="tx1">
                    <a:lumMod val="40000"/>
                    <a:lumOff val="60000"/>
                  </a:schemeClr>
                </a:solidFill>
              </a:rPr>
              <a:t> Check Point Software Technologies</a:t>
            </a:r>
            <a:r>
              <a:rPr lang="en-US" sz="900" kern="0" baseline="0" dirty="0">
                <a:solidFill>
                  <a:schemeClr val="tx1">
                    <a:lumMod val="40000"/>
                    <a:lumOff val="60000"/>
                  </a:schemeClr>
                </a:solidFill>
              </a:rPr>
              <a:t> </a:t>
            </a:r>
            <a:r>
              <a:rPr lang="en-US" sz="900" kern="0" dirty="0">
                <a:solidFill>
                  <a:schemeClr val="tx1">
                    <a:lumMod val="40000"/>
                    <a:lumOff val="60000"/>
                  </a:schemeClr>
                </a:solidFill>
              </a:rPr>
              <a:t>Ltd. </a:t>
            </a:r>
          </a:p>
        </p:txBody>
      </p:sp>
      <p:grpSp>
        <p:nvGrpSpPr>
          <p:cNvPr id="5" name="Group 4"/>
          <p:cNvGrpSpPr/>
          <p:nvPr/>
        </p:nvGrpSpPr>
        <p:grpSpPr>
          <a:xfrm>
            <a:off x="1"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20"/>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endParaRPr lang="en-US" dirty="0"/>
          </a:p>
        </p:txBody>
      </p:sp>
    </p:spTree>
    <p:extLst>
      <p:ext uri="{BB962C8B-B14F-4D97-AF65-F5344CB8AC3E}">
        <p14:creationId xmlns:p14="http://schemas.microsoft.com/office/powerpoint/2010/main" val="100027452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2" r:id="rId16"/>
    <p:sldLayoutId id="2147483803" r:id="rId17"/>
    <p:sldLayoutId id="2147483804" r:id="rId18"/>
  </p:sldLayoutIdLst>
  <p:transition>
    <p:fade/>
  </p:transition>
  <p:hf sldNum="0" hdr="0" ftr="0" dt="0"/>
  <p:txStyles>
    <p:titleStyle>
      <a:lvl1pPr algn="l" rtl="0" eaLnBrk="1" fontAlgn="base" hangingPunct="1">
        <a:lnSpc>
          <a:spcPct val="85000"/>
        </a:lnSpc>
        <a:spcBef>
          <a:spcPct val="0"/>
        </a:spcBef>
        <a:spcAft>
          <a:spcPct val="0"/>
        </a:spcAft>
        <a:defRPr sz="3399"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9" b="1">
          <a:solidFill>
            <a:srgbClr val="4E4E4E"/>
          </a:solidFill>
          <a:latin typeface="Helvetica" pitchFamily="34" charset="0"/>
        </a:defRPr>
      </a:lvl2pPr>
      <a:lvl3pPr algn="l" rtl="0" eaLnBrk="1" fontAlgn="base" hangingPunct="1">
        <a:lnSpc>
          <a:spcPct val="85000"/>
        </a:lnSpc>
        <a:spcBef>
          <a:spcPct val="0"/>
        </a:spcBef>
        <a:spcAft>
          <a:spcPct val="0"/>
        </a:spcAft>
        <a:defRPr sz="3699" b="1">
          <a:solidFill>
            <a:srgbClr val="4E4E4E"/>
          </a:solidFill>
          <a:latin typeface="Helvetica" pitchFamily="34" charset="0"/>
        </a:defRPr>
      </a:lvl3pPr>
      <a:lvl4pPr algn="l" rtl="0" eaLnBrk="1" fontAlgn="base" hangingPunct="1">
        <a:lnSpc>
          <a:spcPct val="85000"/>
        </a:lnSpc>
        <a:spcBef>
          <a:spcPct val="0"/>
        </a:spcBef>
        <a:spcAft>
          <a:spcPct val="0"/>
        </a:spcAft>
        <a:defRPr sz="3699" b="1">
          <a:solidFill>
            <a:srgbClr val="4E4E4E"/>
          </a:solidFill>
          <a:latin typeface="Helvetica" pitchFamily="34" charset="0"/>
        </a:defRPr>
      </a:lvl4pPr>
      <a:lvl5pPr algn="l" rtl="0" eaLnBrk="1" fontAlgn="base" hangingPunct="1">
        <a:lnSpc>
          <a:spcPct val="85000"/>
        </a:lnSpc>
        <a:spcBef>
          <a:spcPct val="0"/>
        </a:spcBef>
        <a:spcAft>
          <a:spcPct val="0"/>
        </a:spcAft>
        <a:defRPr sz="3699" b="1">
          <a:solidFill>
            <a:srgbClr val="4E4E4E"/>
          </a:solidFill>
          <a:latin typeface="Helvetica" pitchFamily="34" charset="0"/>
        </a:defRPr>
      </a:lvl5pPr>
      <a:lvl6pPr marL="609310" algn="l" rtl="0" eaLnBrk="1" fontAlgn="base" hangingPunct="1">
        <a:lnSpc>
          <a:spcPct val="85000"/>
        </a:lnSpc>
        <a:spcBef>
          <a:spcPct val="0"/>
        </a:spcBef>
        <a:spcAft>
          <a:spcPct val="0"/>
        </a:spcAft>
        <a:defRPr sz="3699" b="1">
          <a:solidFill>
            <a:srgbClr val="4E4E4E"/>
          </a:solidFill>
          <a:latin typeface="Helvetica" pitchFamily="34" charset="0"/>
        </a:defRPr>
      </a:lvl6pPr>
      <a:lvl7pPr marL="1218621" algn="l" rtl="0" eaLnBrk="1" fontAlgn="base" hangingPunct="1">
        <a:lnSpc>
          <a:spcPct val="85000"/>
        </a:lnSpc>
        <a:spcBef>
          <a:spcPct val="0"/>
        </a:spcBef>
        <a:spcAft>
          <a:spcPct val="0"/>
        </a:spcAft>
        <a:defRPr sz="3699" b="1">
          <a:solidFill>
            <a:srgbClr val="4E4E4E"/>
          </a:solidFill>
          <a:latin typeface="Helvetica" pitchFamily="34" charset="0"/>
        </a:defRPr>
      </a:lvl7pPr>
      <a:lvl8pPr marL="1827931" algn="l" rtl="0" eaLnBrk="1" fontAlgn="base" hangingPunct="1">
        <a:lnSpc>
          <a:spcPct val="85000"/>
        </a:lnSpc>
        <a:spcBef>
          <a:spcPct val="0"/>
        </a:spcBef>
        <a:spcAft>
          <a:spcPct val="0"/>
        </a:spcAft>
        <a:defRPr sz="3699" b="1">
          <a:solidFill>
            <a:srgbClr val="4E4E4E"/>
          </a:solidFill>
          <a:latin typeface="Helvetica" pitchFamily="34" charset="0"/>
        </a:defRPr>
      </a:lvl8pPr>
      <a:lvl9pPr marL="2437242" algn="l" rtl="0" eaLnBrk="1" fontAlgn="base" hangingPunct="1">
        <a:lnSpc>
          <a:spcPct val="85000"/>
        </a:lnSpc>
        <a:spcBef>
          <a:spcPct val="0"/>
        </a:spcBef>
        <a:spcAft>
          <a:spcPct val="0"/>
        </a:spcAft>
        <a:defRPr sz="3699" b="1">
          <a:solidFill>
            <a:srgbClr val="4E4E4E"/>
          </a:solidFill>
          <a:latin typeface="Helvetica" pitchFamily="34" charset="0"/>
        </a:defRPr>
      </a:lvl9pPr>
    </p:titleStyle>
    <p:bodyStyle>
      <a:lvl1pPr marL="228531" indent="-228531"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9" dirty="0" smtClean="0">
          <a:solidFill>
            <a:schemeClr val="tx1"/>
          </a:solidFill>
          <a:latin typeface="Calibri" panose="020F0502020204030204" pitchFamily="34" charset="0"/>
          <a:ea typeface="+mn-ea"/>
          <a:cs typeface="Calibri" panose="020F0502020204030204" pitchFamily="34" charset="0"/>
        </a:defRPr>
      </a:lvl1pPr>
      <a:lvl2pPr marL="575899"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9" dirty="0" smtClean="0">
          <a:solidFill>
            <a:schemeClr val="tx1"/>
          </a:solidFill>
          <a:latin typeface="Calibri" panose="020F0502020204030204" pitchFamily="34" charset="0"/>
        </a:defRPr>
      </a:lvl2pPr>
      <a:lvl3pPr marL="886702"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9" dirty="0" smtClean="0">
          <a:solidFill>
            <a:schemeClr val="tx1"/>
          </a:solidFill>
          <a:latin typeface="Calibri" panose="020F0502020204030204" pitchFamily="34" charset="0"/>
        </a:defRPr>
      </a:lvl3pPr>
      <a:lvl4pPr marL="1170081" indent="-228531"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9" dirty="0" smtClean="0">
          <a:solidFill>
            <a:schemeClr val="tx1"/>
          </a:solidFill>
          <a:latin typeface="+mn-lt"/>
        </a:defRPr>
      </a:lvl4pPr>
      <a:lvl5pPr marL="1462601" indent="-228531"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1207" indent="-304656" algn="l" rtl="0" eaLnBrk="1" fontAlgn="base" hangingPunct="1">
        <a:spcBef>
          <a:spcPct val="20000"/>
        </a:spcBef>
        <a:spcAft>
          <a:spcPct val="0"/>
        </a:spcAft>
        <a:buClr>
          <a:schemeClr val="accent2"/>
        </a:buClr>
        <a:buChar char="»"/>
        <a:defRPr sz="2099">
          <a:solidFill>
            <a:schemeClr val="tx1"/>
          </a:solidFill>
          <a:latin typeface="+mn-lt"/>
        </a:defRPr>
      </a:lvl6pPr>
      <a:lvl7pPr marL="3960518" indent="-304656" algn="l" rtl="0" eaLnBrk="1" fontAlgn="base" hangingPunct="1">
        <a:spcBef>
          <a:spcPct val="20000"/>
        </a:spcBef>
        <a:spcAft>
          <a:spcPct val="0"/>
        </a:spcAft>
        <a:buClr>
          <a:schemeClr val="accent2"/>
        </a:buClr>
        <a:buChar char="»"/>
        <a:defRPr sz="2099">
          <a:solidFill>
            <a:schemeClr val="tx1"/>
          </a:solidFill>
          <a:latin typeface="+mn-lt"/>
        </a:defRPr>
      </a:lvl7pPr>
      <a:lvl8pPr marL="4569829" indent="-304656" algn="l" rtl="0" eaLnBrk="1" fontAlgn="base" hangingPunct="1">
        <a:spcBef>
          <a:spcPct val="20000"/>
        </a:spcBef>
        <a:spcAft>
          <a:spcPct val="0"/>
        </a:spcAft>
        <a:buClr>
          <a:schemeClr val="accent2"/>
        </a:buClr>
        <a:buChar char="»"/>
        <a:defRPr sz="2099">
          <a:solidFill>
            <a:schemeClr val="tx1"/>
          </a:solidFill>
          <a:latin typeface="+mn-lt"/>
        </a:defRPr>
      </a:lvl8pPr>
      <a:lvl9pPr marL="5179139" indent="-304656" algn="l" rtl="0" eaLnBrk="1" fontAlgn="base" hangingPunct="1">
        <a:spcBef>
          <a:spcPct val="20000"/>
        </a:spcBef>
        <a:spcAft>
          <a:spcPct val="0"/>
        </a:spcAft>
        <a:buClr>
          <a:schemeClr val="accent2"/>
        </a:buClr>
        <a:buChar char="»"/>
        <a:defRPr sz="2099">
          <a:solidFill>
            <a:schemeClr val="tx1"/>
          </a:solidFill>
          <a:latin typeface="+mn-lt"/>
        </a:defRPr>
      </a:lvl9pPr>
    </p:bodyStyle>
    <p:otherStyle>
      <a:defPPr>
        <a:defRPr lang="en-US"/>
      </a:defPPr>
      <a:lvl1pPr marL="0" algn="l" defTabSz="1218621" rtl="0" eaLnBrk="1" latinLnBrk="0" hangingPunct="1">
        <a:defRPr sz="2399" kern="1200">
          <a:solidFill>
            <a:schemeClr val="tx1"/>
          </a:solidFill>
          <a:latin typeface="+mn-lt"/>
          <a:ea typeface="+mn-ea"/>
          <a:cs typeface="+mn-cs"/>
        </a:defRPr>
      </a:lvl1pPr>
      <a:lvl2pPr marL="609310" algn="l" defTabSz="1218621" rtl="0" eaLnBrk="1" latinLnBrk="0" hangingPunct="1">
        <a:defRPr sz="2399" kern="1200">
          <a:solidFill>
            <a:schemeClr val="tx1"/>
          </a:solidFill>
          <a:latin typeface="+mn-lt"/>
          <a:ea typeface="+mn-ea"/>
          <a:cs typeface="+mn-cs"/>
        </a:defRPr>
      </a:lvl2pPr>
      <a:lvl3pPr marL="1218621" algn="l" defTabSz="1218621" rtl="0" eaLnBrk="1" latinLnBrk="0" hangingPunct="1">
        <a:defRPr sz="2399" kern="1200">
          <a:solidFill>
            <a:schemeClr val="tx1"/>
          </a:solidFill>
          <a:latin typeface="+mn-lt"/>
          <a:ea typeface="+mn-ea"/>
          <a:cs typeface="+mn-cs"/>
        </a:defRPr>
      </a:lvl3pPr>
      <a:lvl4pPr marL="1827931" algn="l" defTabSz="1218621" rtl="0" eaLnBrk="1" latinLnBrk="0" hangingPunct="1">
        <a:defRPr sz="2399" kern="1200">
          <a:solidFill>
            <a:schemeClr val="tx1"/>
          </a:solidFill>
          <a:latin typeface="+mn-lt"/>
          <a:ea typeface="+mn-ea"/>
          <a:cs typeface="+mn-cs"/>
        </a:defRPr>
      </a:lvl4pPr>
      <a:lvl5pPr marL="2437242" algn="l" defTabSz="1218621" rtl="0" eaLnBrk="1" latinLnBrk="0" hangingPunct="1">
        <a:defRPr sz="2399" kern="1200">
          <a:solidFill>
            <a:schemeClr val="tx1"/>
          </a:solidFill>
          <a:latin typeface="+mn-lt"/>
          <a:ea typeface="+mn-ea"/>
          <a:cs typeface="+mn-cs"/>
        </a:defRPr>
      </a:lvl5pPr>
      <a:lvl6pPr marL="3046553" algn="l" defTabSz="1218621" rtl="0" eaLnBrk="1" latinLnBrk="0" hangingPunct="1">
        <a:defRPr sz="2399" kern="1200">
          <a:solidFill>
            <a:schemeClr val="tx1"/>
          </a:solidFill>
          <a:latin typeface="+mn-lt"/>
          <a:ea typeface="+mn-ea"/>
          <a:cs typeface="+mn-cs"/>
        </a:defRPr>
      </a:lvl6pPr>
      <a:lvl7pPr marL="3655863" algn="l" defTabSz="1218621" rtl="0" eaLnBrk="1" latinLnBrk="0" hangingPunct="1">
        <a:defRPr sz="2399" kern="1200">
          <a:solidFill>
            <a:schemeClr val="tx1"/>
          </a:solidFill>
          <a:latin typeface="+mn-lt"/>
          <a:ea typeface="+mn-ea"/>
          <a:cs typeface="+mn-cs"/>
        </a:defRPr>
      </a:lvl7pPr>
      <a:lvl8pPr marL="4265173" algn="l" defTabSz="1218621" rtl="0" eaLnBrk="1" latinLnBrk="0" hangingPunct="1">
        <a:defRPr sz="2399" kern="1200">
          <a:solidFill>
            <a:schemeClr val="tx1"/>
          </a:solidFill>
          <a:latin typeface="+mn-lt"/>
          <a:ea typeface="+mn-ea"/>
          <a:cs typeface="+mn-cs"/>
        </a:defRPr>
      </a:lvl8pPr>
      <a:lvl9pPr marL="4874484" algn="l" defTabSz="1218621"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4"/>
            <a:ext cx="2843213"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defRPr>
            </a:lvl1pPr>
          </a:lstStyle>
          <a:p>
            <a:fld id="{285138E8-3F3E-4DC5-A5FA-50868B94627A}" type="datetimeFigureOut">
              <a:rPr lang="en-US" smtClean="0">
                <a:solidFill>
                  <a:srgbClr val="4D4D4F">
                    <a:tint val="75000"/>
                  </a:srgbClr>
                </a:solidFill>
              </a:rPr>
              <a:pPr/>
              <a:t>29-Feb-24</a:t>
            </a:fld>
            <a:endParaRPr lang="en-US" dirty="0">
              <a:solidFill>
                <a:srgbClr val="4D4D4F">
                  <a:tint val="75000"/>
                </a:srgbClr>
              </a:solidFill>
            </a:endParaRPr>
          </a:p>
        </p:txBody>
      </p:sp>
      <p:sp>
        <p:nvSpPr>
          <p:cNvPr id="11" name="Bullet text"/>
          <p:cNvSpPr>
            <a:spLocks noGrp="1" noChangeArrowheads="1"/>
          </p:cNvSpPr>
          <p:nvPr>
            <p:ph type="body" idx="1"/>
          </p:nvPr>
        </p:nvSpPr>
        <p:spPr bwMode="auto">
          <a:xfrm>
            <a:off x="583844"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4"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61" y="6556249"/>
            <a:ext cx="1840451" cy="269820"/>
          </a:xfrm>
          <a:prstGeom prst="rect">
            <a:avLst/>
          </a:prstGeom>
        </p:spPr>
        <p:txBody>
          <a:bodyPr wrap="square" lIns="121835" tIns="60917" rIns="121835" bIns="60917"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rgbClr val="4D4D4F"/>
                </a:solidFill>
                <a:sym typeface="Arial"/>
              </a:rPr>
              <a:pPr algn="r" fontAlgn="auto">
                <a:spcBef>
                  <a:spcPts val="0"/>
                </a:spcBef>
                <a:spcAft>
                  <a:spcPts val="0"/>
                </a:spcAft>
                <a:buClrTx/>
                <a:buSzTx/>
                <a:buFontTx/>
                <a:buNone/>
                <a:defRPr/>
              </a:pPr>
              <a:t>‹#›</a:t>
            </a:fld>
            <a:endParaRPr lang="en-US" sz="1100" kern="0" dirty="0">
              <a:solidFill>
                <a:srgbClr val="4D4D4F"/>
              </a:solidFill>
              <a:sym typeface="Arial"/>
            </a:endParaRPr>
          </a:p>
        </p:txBody>
      </p:sp>
      <p:sp>
        <p:nvSpPr>
          <p:cNvPr id="8" name="Footer_copyright"/>
          <p:cNvSpPr txBox="1">
            <a:spLocks/>
          </p:cNvSpPr>
          <p:nvPr/>
        </p:nvSpPr>
        <p:spPr>
          <a:xfrm>
            <a:off x="9080502" y="6542106"/>
            <a:ext cx="2744799" cy="304221"/>
          </a:xfrm>
          <a:prstGeom prst="rect">
            <a:avLst/>
          </a:prstGeom>
        </p:spPr>
        <p:txBody>
          <a:bodyPr wrap="square" lIns="121835" tIns="60917" rIns="121835" bIns="60917"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sz="900" kern="0" dirty="0">
                <a:solidFill>
                  <a:srgbClr val="4D4D4F">
                    <a:lumMod val="40000"/>
                    <a:lumOff val="60000"/>
                  </a:srgbClr>
                </a:solidFill>
                <a:sym typeface="Arial"/>
              </a:rPr>
              <a:t>©202</a:t>
            </a:r>
            <a:r>
              <a:rPr lang="he-IL" sz="800" kern="0" dirty="0">
                <a:solidFill>
                  <a:srgbClr val="4D4D4F">
                    <a:lumMod val="40000"/>
                    <a:lumOff val="60000"/>
                  </a:srgbClr>
                </a:solidFill>
                <a:sym typeface="Arial"/>
              </a:rPr>
              <a:t>1</a:t>
            </a:r>
            <a:r>
              <a:rPr lang="en-US" sz="900" kern="0" dirty="0">
                <a:solidFill>
                  <a:srgbClr val="4D4D4F">
                    <a:lumMod val="40000"/>
                    <a:lumOff val="60000"/>
                  </a:srgbClr>
                </a:solidFill>
                <a:sym typeface="Arial"/>
              </a:rPr>
              <a:t> Check Point Software Technologies Ltd. </a:t>
            </a:r>
          </a:p>
        </p:txBody>
      </p:sp>
      <p:grpSp>
        <p:nvGrpSpPr>
          <p:cNvPr id="5" name="Group 4"/>
          <p:cNvGrpSpPr/>
          <p:nvPr/>
        </p:nvGrpSpPr>
        <p:grpSpPr>
          <a:xfrm>
            <a:off x="2"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22"/>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endParaRPr lang="en-US" dirty="0">
              <a:solidFill>
                <a:srgbClr val="FFFFFF">
                  <a:lumMod val="75000"/>
                </a:srgbClr>
              </a:solidFill>
            </a:endParaRPr>
          </a:p>
        </p:txBody>
      </p:sp>
    </p:spTree>
    <p:extLst>
      <p:ext uri="{BB962C8B-B14F-4D97-AF65-F5344CB8AC3E}">
        <p14:creationId xmlns:p14="http://schemas.microsoft.com/office/powerpoint/2010/main" val="897338831"/>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4" r:id="rId15"/>
    <p:sldLayoutId id="2147483865" r:id="rId16"/>
    <p:sldLayoutId id="2147483866" r:id="rId17"/>
    <p:sldLayoutId id="2147483867" r:id="rId18"/>
    <p:sldLayoutId id="2147483868" r:id="rId19"/>
    <p:sldLayoutId id="2147483869" r:id="rId20"/>
  </p:sldLayoutIdLst>
  <p:transition>
    <p:fade/>
  </p:transition>
  <p:hf sldNum="0" hdr="0" ftr="0" dt="0"/>
  <p:txStyles>
    <p:titleStyle>
      <a:lvl1pPr algn="l" rtl="0" eaLnBrk="1" fontAlgn="base" hangingPunct="1">
        <a:lnSpc>
          <a:spcPct val="85000"/>
        </a:lnSpc>
        <a:spcBef>
          <a:spcPct val="0"/>
        </a:spcBef>
        <a:spcAft>
          <a:spcPct val="0"/>
        </a:spcAft>
        <a:defRPr sz="3398"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8" b="1">
          <a:solidFill>
            <a:srgbClr val="4E4E4E"/>
          </a:solidFill>
          <a:latin typeface="Helvetica" pitchFamily="34" charset="0"/>
        </a:defRPr>
      </a:lvl2pPr>
      <a:lvl3pPr algn="l" rtl="0" eaLnBrk="1" fontAlgn="base" hangingPunct="1">
        <a:lnSpc>
          <a:spcPct val="85000"/>
        </a:lnSpc>
        <a:spcBef>
          <a:spcPct val="0"/>
        </a:spcBef>
        <a:spcAft>
          <a:spcPct val="0"/>
        </a:spcAft>
        <a:defRPr sz="3698" b="1">
          <a:solidFill>
            <a:srgbClr val="4E4E4E"/>
          </a:solidFill>
          <a:latin typeface="Helvetica" pitchFamily="34" charset="0"/>
        </a:defRPr>
      </a:lvl3pPr>
      <a:lvl4pPr algn="l" rtl="0" eaLnBrk="1" fontAlgn="base" hangingPunct="1">
        <a:lnSpc>
          <a:spcPct val="85000"/>
        </a:lnSpc>
        <a:spcBef>
          <a:spcPct val="0"/>
        </a:spcBef>
        <a:spcAft>
          <a:spcPct val="0"/>
        </a:spcAft>
        <a:defRPr sz="3698" b="1">
          <a:solidFill>
            <a:srgbClr val="4E4E4E"/>
          </a:solidFill>
          <a:latin typeface="Helvetica" pitchFamily="34" charset="0"/>
        </a:defRPr>
      </a:lvl4pPr>
      <a:lvl5pPr algn="l" rtl="0" eaLnBrk="1" fontAlgn="base" hangingPunct="1">
        <a:lnSpc>
          <a:spcPct val="85000"/>
        </a:lnSpc>
        <a:spcBef>
          <a:spcPct val="0"/>
        </a:spcBef>
        <a:spcAft>
          <a:spcPct val="0"/>
        </a:spcAft>
        <a:defRPr sz="3698" b="1">
          <a:solidFill>
            <a:srgbClr val="4E4E4E"/>
          </a:solidFill>
          <a:latin typeface="Helvetica" pitchFamily="34" charset="0"/>
        </a:defRPr>
      </a:lvl5pPr>
      <a:lvl6pPr marL="609127" algn="l" rtl="0" eaLnBrk="1" fontAlgn="base" hangingPunct="1">
        <a:lnSpc>
          <a:spcPct val="85000"/>
        </a:lnSpc>
        <a:spcBef>
          <a:spcPct val="0"/>
        </a:spcBef>
        <a:spcAft>
          <a:spcPct val="0"/>
        </a:spcAft>
        <a:defRPr sz="3698" b="1">
          <a:solidFill>
            <a:srgbClr val="4E4E4E"/>
          </a:solidFill>
          <a:latin typeface="Helvetica" pitchFamily="34" charset="0"/>
        </a:defRPr>
      </a:lvl6pPr>
      <a:lvl7pPr marL="1218255" algn="l" rtl="0" eaLnBrk="1" fontAlgn="base" hangingPunct="1">
        <a:lnSpc>
          <a:spcPct val="85000"/>
        </a:lnSpc>
        <a:spcBef>
          <a:spcPct val="0"/>
        </a:spcBef>
        <a:spcAft>
          <a:spcPct val="0"/>
        </a:spcAft>
        <a:defRPr sz="3698" b="1">
          <a:solidFill>
            <a:srgbClr val="4E4E4E"/>
          </a:solidFill>
          <a:latin typeface="Helvetica" pitchFamily="34" charset="0"/>
        </a:defRPr>
      </a:lvl7pPr>
      <a:lvl8pPr marL="1827383" algn="l" rtl="0" eaLnBrk="1" fontAlgn="base" hangingPunct="1">
        <a:lnSpc>
          <a:spcPct val="85000"/>
        </a:lnSpc>
        <a:spcBef>
          <a:spcPct val="0"/>
        </a:spcBef>
        <a:spcAft>
          <a:spcPct val="0"/>
        </a:spcAft>
        <a:defRPr sz="3698" b="1">
          <a:solidFill>
            <a:srgbClr val="4E4E4E"/>
          </a:solidFill>
          <a:latin typeface="Helvetica" pitchFamily="34" charset="0"/>
        </a:defRPr>
      </a:lvl8pPr>
      <a:lvl9pPr marL="2436511" algn="l" rtl="0" eaLnBrk="1" fontAlgn="base" hangingPunct="1">
        <a:lnSpc>
          <a:spcPct val="85000"/>
        </a:lnSpc>
        <a:spcBef>
          <a:spcPct val="0"/>
        </a:spcBef>
        <a:spcAft>
          <a:spcPct val="0"/>
        </a:spcAft>
        <a:defRPr sz="3698" b="1">
          <a:solidFill>
            <a:srgbClr val="4E4E4E"/>
          </a:solidFill>
          <a:latin typeface="Helvetica" pitchFamily="34" charset="0"/>
        </a:defRPr>
      </a:lvl9pPr>
    </p:titleStyle>
    <p:bodyStyle>
      <a:lvl1pPr marL="228462" indent="-228462"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8" dirty="0" smtClean="0">
          <a:solidFill>
            <a:schemeClr val="tx1"/>
          </a:solidFill>
          <a:latin typeface="Calibri" panose="020F0502020204030204" pitchFamily="34" charset="0"/>
          <a:ea typeface="+mn-ea"/>
          <a:cs typeface="Calibri" panose="020F0502020204030204" pitchFamily="34" charset="0"/>
        </a:defRPr>
      </a:lvl1pPr>
      <a:lvl2pPr marL="575726" indent="-228462"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8" dirty="0" smtClean="0">
          <a:solidFill>
            <a:schemeClr val="tx1"/>
          </a:solidFill>
          <a:latin typeface="Calibri" panose="020F0502020204030204" pitchFamily="34" charset="0"/>
        </a:defRPr>
      </a:lvl2pPr>
      <a:lvl3pPr marL="886436" indent="-228462"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8" dirty="0" smtClean="0">
          <a:solidFill>
            <a:schemeClr val="tx1"/>
          </a:solidFill>
          <a:latin typeface="Calibri" panose="020F0502020204030204" pitchFamily="34" charset="0"/>
        </a:defRPr>
      </a:lvl3pPr>
      <a:lvl4pPr marL="1169730" indent="-228462"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8" dirty="0" smtClean="0">
          <a:solidFill>
            <a:schemeClr val="tx1"/>
          </a:solidFill>
          <a:latin typeface="+mn-lt"/>
        </a:defRPr>
      </a:lvl4pPr>
      <a:lvl5pPr marL="1462162" indent="-228462"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0202" indent="-304565" algn="l" rtl="0" eaLnBrk="1" fontAlgn="base" hangingPunct="1">
        <a:spcBef>
          <a:spcPct val="20000"/>
        </a:spcBef>
        <a:spcAft>
          <a:spcPct val="0"/>
        </a:spcAft>
        <a:buClr>
          <a:schemeClr val="accent2"/>
        </a:buClr>
        <a:buChar char="»"/>
        <a:defRPr sz="2098">
          <a:solidFill>
            <a:schemeClr val="tx1"/>
          </a:solidFill>
          <a:latin typeface="+mn-lt"/>
        </a:defRPr>
      </a:lvl6pPr>
      <a:lvl7pPr marL="3959330" indent="-304565" algn="l" rtl="0" eaLnBrk="1" fontAlgn="base" hangingPunct="1">
        <a:spcBef>
          <a:spcPct val="20000"/>
        </a:spcBef>
        <a:spcAft>
          <a:spcPct val="0"/>
        </a:spcAft>
        <a:buClr>
          <a:schemeClr val="accent2"/>
        </a:buClr>
        <a:buChar char="»"/>
        <a:defRPr sz="2098">
          <a:solidFill>
            <a:schemeClr val="tx1"/>
          </a:solidFill>
          <a:latin typeface="+mn-lt"/>
        </a:defRPr>
      </a:lvl7pPr>
      <a:lvl8pPr marL="4568458" indent="-304565" algn="l" rtl="0" eaLnBrk="1" fontAlgn="base" hangingPunct="1">
        <a:spcBef>
          <a:spcPct val="20000"/>
        </a:spcBef>
        <a:spcAft>
          <a:spcPct val="0"/>
        </a:spcAft>
        <a:buClr>
          <a:schemeClr val="accent2"/>
        </a:buClr>
        <a:buChar char="»"/>
        <a:defRPr sz="2098">
          <a:solidFill>
            <a:schemeClr val="tx1"/>
          </a:solidFill>
          <a:latin typeface="+mn-lt"/>
        </a:defRPr>
      </a:lvl8pPr>
      <a:lvl9pPr marL="5177585" indent="-304565" algn="l" rtl="0" eaLnBrk="1" fontAlgn="base" hangingPunct="1">
        <a:spcBef>
          <a:spcPct val="20000"/>
        </a:spcBef>
        <a:spcAft>
          <a:spcPct val="0"/>
        </a:spcAft>
        <a:buClr>
          <a:schemeClr val="accent2"/>
        </a:buClr>
        <a:buChar char="»"/>
        <a:defRPr sz="2098">
          <a:solidFill>
            <a:schemeClr val="tx1"/>
          </a:solidFill>
          <a:latin typeface="+mn-lt"/>
        </a:defRPr>
      </a:lvl9pPr>
    </p:bodyStyle>
    <p:otherStyle>
      <a:defPPr>
        <a:defRPr lang="en-US"/>
      </a:defPPr>
      <a:lvl1pPr marL="0" algn="l" defTabSz="1218255" rtl="0" eaLnBrk="1" latinLnBrk="0" hangingPunct="1">
        <a:defRPr sz="2398" kern="1200">
          <a:solidFill>
            <a:schemeClr val="tx1"/>
          </a:solidFill>
          <a:latin typeface="+mn-lt"/>
          <a:ea typeface="+mn-ea"/>
          <a:cs typeface="+mn-cs"/>
        </a:defRPr>
      </a:lvl1pPr>
      <a:lvl2pPr marL="609127" algn="l" defTabSz="1218255" rtl="0" eaLnBrk="1" latinLnBrk="0" hangingPunct="1">
        <a:defRPr sz="2398" kern="1200">
          <a:solidFill>
            <a:schemeClr val="tx1"/>
          </a:solidFill>
          <a:latin typeface="+mn-lt"/>
          <a:ea typeface="+mn-ea"/>
          <a:cs typeface="+mn-cs"/>
        </a:defRPr>
      </a:lvl2pPr>
      <a:lvl3pPr marL="1218255" algn="l" defTabSz="1218255" rtl="0" eaLnBrk="1" latinLnBrk="0" hangingPunct="1">
        <a:defRPr sz="2398" kern="1200">
          <a:solidFill>
            <a:schemeClr val="tx1"/>
          </a:solidFill>
          <a:latin typeface="+mn-lt"/>
          <a:ea typeface="+mn-ea"/>
          <a:cs typeface="+mn-cs"/>
        </a:defRPr>
      </a:lvl3pPr>
      <a:lvl4pPr marL="1827383" algn="l" defTabSz="1218255" rtl="0" eaLnBrk="1" latinLnBrk="0" hangingPunct="1">
        <a:defRPr sz="2398" kern="1200">
          <a:solidFill>
            <a:schemeClr val="tx1"/>
          </a:solidFill>
          <a:latin typeface="+mn-lt"/>
          <a:ea typeface="+mn-ea"/>
          <a:cs typeface="+mn-cs"/>
        </a:defRPr>
      </a:lvl4pPr>
      <a:lvl5pPr marL="2436511" algn="l" defTabSz="1218255" rtl="0" eaLnBrk="1" latinLnBrk="0" hangingPunct="1">
        <a:defRPr sz="2398" kern="1200">
          <a:solidFill>
            <a:schemeClr val="tx1"/>
          </a:solidFill>
          <a:latin typeface="+mn-lt"/>
          <a:ea typeface="+mn-ea"/>
          <a:cs typeface="+mn-cs"/>
        </a:defRPr>
      </a:lvl5pPr>
      <a:lvl6pPr marL="3045639" algn="l" defTabSz="1218255" rtl="0" eaLnBrk="1" latinLnBrk="0" hangingPunct="1">
        <a:defRPr sz="2398" kern="1200">
          <a:solidFill>
            <a:schemeClr val="tx1"/>
          </a:solidFill>
          <a:latin typeface="+mn-lt"/>
          <a:ea typeface="+mn-ea"/>
          <a:cs typeface="+mn-cs"/>
        </a:defRPr>
      </a:lvl6pPr>
      <a:lvl7pPr marL="3654766" algn="l" defTabSz="1218255" rtl="0" eaLnBrk="1" latinLnBrk="0" hangingPunct="1">
        <a:defRPr sz="2398" kern="1200">
          <a:solidFill>
            <a:schemeClr val="tx1"/>
          </a:solidFill>
          <a:latin typeface="+mn-lt"/>
          <a:ea typeface="+mn-ea"/>
          <a:cs typeface="+mn-cs"/>
        </a:defRPr>
      </a:lvl7pPr>
      <a:lvl8pPr marL="4263893" algn="l" defTabSz="1218255" rtl="0" eaLnBrk="1" latinLnBrk="0" hangingPunct="1">
        <a:defRPr sz="2398" kern="1200">
          <a:solidFill>
            <a:schemeClr val="tx1"/>
          </a:solidFill>
          <a:latin typeface="+mn-lt"/>
          <a:ea typeface="+mn-ea"/>
          <a:cs typeface="+mn-cs"/>
        </a:defRPr>
      </a:lvl8pPr>
      <a:lvl9pPr marL="4873022" algn="l" defTabSz="1218255" rtl="0" eaLnBrk="1" latinLnBrk="0" hangingPunct="1">
        <a:defRPr sz="23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6"/>
            <a:ext cx="2843213"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defRPr>
            </a:lvl1pPr>
          </a:lstStyle>
          <a:p>
            <a:fld id="{285138E8-3F3E-4DC5-A5FA-50868B94627A}" type="datetimeFigureOut">
              <a:rPr lang="en-US" smtClean="0"/>
              <a:pPr/>
              <a:t>29-Feb-24</a:t>
            </a:fld>
            <a:endParaRPr lang="en-US" dirty="0"/>
          </a:p>
        </p:txBody>
      </p:sp>
      <p:sp>
        <p:nvSpPr>
          <p:cNvPr id="11" name="Bullet text"/>
          <p:cNvSpPr>
            <a:spLocks noGrp="1" noChangeArrowheads="1"/>
          </p:cNvSpPr>
          <p:nvPr>
            <p:ph type="body" idx="1"/>
          </p:nvPr>
        </p:nvSpPr>
        <p:spPr bwMode="auto">
          <a:xfrm>
            <a:off x="583845"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5"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62" y="6556249"/>
            <a:ext cx="1840451" cy="269820"/>
          </a:xfrm>
          <a:prstGeom prst="rect">
            <a:avLst/>
          </a:prstGeom>
        </p:spPr>
        <p:txBody>
          <a:bodyPr wrap="square" lIns="121803" tIns="60901" rIns="121803" bIns="60901"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chemeClr val="tx1"/>
                </a:solidFill>
                <a:latin typeface="+mn-lt"/>
                <a:ea typeface="+mn-ea"/>
                <a:cs typeface="+mn-cs"/>
              </a:rPr>
              <a:pPr algn="r" fontAlgn="auto">
                <a:spcBef>
                  <a:spcPts val="0"/>
                </a:spcBef>
                <a:spcAft>
                  <a:spcPts val="0"/>
                </a:spcAft>
                <a:buClrTx/>
                <a:buSzTx/>
                <a:buFontTx/>
                <a:buNone/>
                <a:defRPr/>
              </a:pPr>
              <a:t>‹#›</a:t>
            </a:fld>
            <a:endParaRPr lang="en-US" sz="1100" kern="0" dirty="0">
              <a:solidFill>
                <a:schemeClr val="tx1"/>
              </a:solidFill>
              <a:latin typeface="+mn-lt"/>
              <a:ea typeface="+mn-ea"/>
              <a:cs typeface="+mn-cs"/>
            </a:endParaRPr>
          </a:p>
        </p:txBody>
      </p:sp>
      <p:sp>
        <p:nvSpPr>
          <p:cNvPr id="8" name="Footer_copyright"/>
          <p:cNvSpPr txBox="1">
            <a:spLocks/>
          </p:cNvSpPr>
          <p:nvPr/>
        </p:nvSpPr>
        <p:spPr>
          <a:xfrm>
            <a:off x="9080503" y="6542108"/>
            <a:ext cx="2744799" cy="304221"/>
          </a:xfrm>
          <a:prstGeom prst="rect">
            <a:avLst/>
          </a:prstGeom>
        </p:spPr>
        <p:txBody>
          <a:bodyPr wrap="square" lIns="121803" tIns="60901" rIns="121803" bIns="60901"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sz="900" kern="0" dirty="0">
                <a:solidFill>
                  <a:schemeClr val="tx1">
                    <a:lumMod val="40000"/>
                    <a:lumOff val="60000"/>
                  </a:schemeClr>
                </a:solidFill>
              </a:rPr>
              <a:t>©202</a:t>
            </a:r>
            <a:r>
              <a:rPr lang="he-IL" sz="800" kern="0" dirty="0">
                <a:solidFill>
                  <a:schemeClr val="tx1">
                    <a:lumMod val="40000"/>
                    <a:lumOff val="60000"/>
                  </a:schemeClr>
                </a:solidFill>
              </a:rPr>
              <a:t>1</a:t>
            </a:r>
            <a:r>
              <a:rPr lang="en-US" sz="900" kern="0" dirty="0">
                <a:solidFill>
                  <a:schemeClr val="tx1">
                    <a:lumMod val="40000"/>
                    <a:lumOff val="60000"/>
                  </a:schemeClr>
                </a:solidFill>
              </a:rPr>
              <a:t> Check Point Software Technologies</a:t>
            </a:r>
            <a:r>
              <a:rPr lang="en-US" sz="900" kern="0" baseline="0" dirty="0">
                <a:solidFill>
                  <a:schemeClr val="tx1">
                    <a:lumMod val="40000"/>
                    <a:lumOff val="60000"/>
                  </a:schemeClr>
                </a:solidFill>
              </a:rPr>
              <a:t> </a:t>
            </a:r>
            <a:r>
              <a:rPr lang="en-US" sz="900" kern="0" dirty="0">
                <a:solidFill>
                  <a:schemeClr val="tx1">
                    <a:lumMod val="40000"/>
                    <a:lumOff val="60000"/>
                  </a:schemeClr>
                </a:solidFill>
              </a:rPr>
              <a:t>Ltd. </a:t>
            </a:r>
          </a:p>
        </p:txBody>
      </p:sp>
      <p:grpSp>
        <p:nvGrpSpPr>
          <p:cNvPr id="5" name="Group 4"/>
          <p:cNvGrpSpPr/>
          <p:nvPr/>
        </p:nvGrpSpPr>
        <p:grpSpPr>
          <a:xfrm>
            <a:off x="3"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16"/>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endParaRPr lang="en-US" dirty="0"/>
          </a:p>
        </p:txBody>
      </p:sp>
    </p:spTree>
    <p:extLst>
      <p:ext uri="{BB962C8B-B14F-4D97-AF65-F5344CB8AC3E}">
        <p14:creationId xmlns:p14="http://schemas.microsoft.com/office/powerpoint/2010/main" val="3076521538"/>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Lst>
  <p:transition>
    <p:fade/>
  </p:transition>
  <p:hf sldNum="0" hdr="0" ftr="0" dt="0"/>
  <p:txStyles>
    <p:titleStyle>
      <a:lvl1pPr algn="l" rtl="0" eaLnBrk="1" fontAlgn="base" hangingPunct="1">
        <a:lnSpc>
          <a:spcPct val="85000"/>
        </a:lnSpc>
        <a:spcBef>
          <a:spcPct val="0"/>
        </a:spcBef>
        <a:spcAft>
          <a:spcPct val="0"/>
        </a:spcAft>
        <a:defRPr sz="3397"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7" b="1">
          <a:solidFill>
            <a:srgbClr val="4E4E4E"/>
          </a:solidFill>
          <a:latin typeface="Helvetica" pitchFamily="34" charset="0"/>
        </a:defRPr>
      </a:lvl2pPr>
      <a:lvl3pPr algn="l" rtl="0" eaLnBrk="1" fontAlgn="base" hangingPunct="1">
        <a:lnSpc>
          <a:spcPct val="85000"/>
        </a:lnSpc>
        <a:spcBef>
          <a:spcPct val="0"/>
        </a:spcBef>
        <a:spcAft>
          <a:spcPct val="0"/>
        </a:spcAft>
        <a:defRPr sz="3697" b="1">
          <a:solidFill>
            <a:srgbClr val="4E4E4E"/>
          </a:solidFill>
          <a:latin typeface="Helvetica" pitchFamily="34" charset="0"/>
        </a:defRPr>
      </a:lvl3pPr>
      <a:lvl4pPr algn="l" rtl="0" eaLnBrk="1" fontAlgn="base" hangingPunct="1">
        <a:lnSpc>
          <a:spcPct val="85000"/>
        </a:lnSpc>
        <a:spcBef>
          <a:spcPct val="0"/>
        </a:spcBef>
        <a:spcAft>
          <a:spcPct val="0"/>
        </a:spcAft>
        <a:defRPr sz="3697" b="1">
          <a:solidFill>
            <a:srgbClr val="4E4E4E"/>
          </a:solidFill>
          <a:latin typeface="Helvetica" pitchFamily="34" charset="0"/>
        </a:defRPr>
      </a:lvl4pPr>
      <a:lvl5pPr algn="l" rtl="0" eaLnBrk="1" fontAlgn="base" hangingPunct="1">
        <a:lnSpc>
          <a:spcPct val="85000"/>
        </a:lnSpc>
        <a:spcBef>
          <a:spcPct val="0"/>
        </a:spcBef>
        <a:spcAft>
          <a:spcPct val="0"/>
        </a:spcAft>
        <a:defRPr sz="3697" b="1">
          <a:solidFill>
            <a:srgbClr val="4E4E4E"/>
          </a:solidFill>
          <a:latin typeface="Helvetica" pitchFamily="34" charset="0"/>
        </a:defRPr>
      </a:lvl5pPr>
      <a:lvl6pPr marL="608944" algn="l" rtl="0" eaLnBrk="1" fontAlgn="base" hangingPunct="1">
        <a:lnSpc>
          <a:spcPct val="85000"/>
        </a:lnSpc>
        <a:spcBef>
          <a:spcPct val="0"/>
        </a:spcBef>
        <a:spcAft>
          <a:spcPct val="0"/>
        </a:spcAft>
        <a:defRPr sz="3697" b="1">
          <a:solidFill>
            <a:srgbClr val="4E4E4E"/>
          </a:solidFill>
          <a:latin typeface="Helvetica" pitchFamily="34" charset="0"/>
        </a:defRPr>
      </a:lvl6pPr>
      <a:lvl7pPr marL="1217890" algn="l" rtl="0" eaLnBrk="1" fontAlgn="base" hangingPunct="1">
        <a:lnSpc>
          <a:spcPct val="85000"/>
        </a:lnSpc>
        <a:spcBef>
          <a:spcPct val="0"/>
        </a:spcBef>
        <a:spcAft>
          <a:spcPct val="0"/>
        </a:spcAft>
        <a:defRPr sz="3697" b="1">
          <a:solidFill>
            <a:srgbClr val="4E4E4E"/>
          </a:solidFill>
          <a:latin typeface="Helvetica" pitchFamily="34" charset="0"/>
        </a:defRPr>
      </a:lvl7pPr>
      <a:lvl8pPr marL="1826835" algn="l" rtl="0" eaLnBrk="1" fontAlgn="base" hangingPunct="1">
        <a:lnSpc>
          <a:spcPct val="85000"/>
        </a:lnSpc>
        <a:spcBef>
          <a:spcPct val="0"/>
        </a:spcBef>
        <a:spcAft>
          <a:spcPct val="0"/>
        </a:spcAft>
        <a:defRPr sz="3697" b="1">
          <a:solidFill>
            <a:srgbClr val="4E4E4E"/>
          </a:solidFill>
          <a:latin typeface="Helvetica" pitchFamily="34" charset="0"/>
        </a:defRPr>
      </a:lvl8pPr>
      <a:lvl9pPr marL="2435780" algn="l" rtl="0" eaLnBrk="1" fontAlgn="base" hangingPunct="1">
        <a:lnSpc>
          <a:spcPct val="85000"/>
        </a:lnSpc>
        <a:spcBef>
          <a:spcPct val="0"/>
        </a:spcBef>
        <a:spcAft>
          <a:spcPct val="0"/>
        </a:spcAft>
        <a:defRPr sz="3697" b="1">
          <a:solidFill>
            <a:srgbClr val="4E4E4E"/>
          </a:solidFill>
          <a:latin typeface="Helvetica" pitchFamily="34" charset="0"/>
        </a:defRPr>
      </a:lvl9pPr>
    </p:titleStyle>
    <p:bodyStyle>
      <a:lvl1pPr marL="228393" indent="-228393"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7" dirty="0" smtClean="0">
          <a:solidFill>
            <a:schemeClr val="tx1"/>
          </a:solidFill>
          <a:latin typeface="Calibri" panose="020F0502020204030204" pitchFamily="34" charset="0"/>
          <a:ea typeface="+mn-ea"/>
          <a:cs typeface="Calibri" panose="020F0502020204030204" pitchFamily="34" charset="0"/>
        </a:defRPr>
      </a:lvl1pPr>
      <a:lvl2pPr marL="575553" indent="-228393"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7" dirty="0" smtClean="0">
          <a:solidFill>
            <a:schemeClr val="tx1"/>
          </a:solidFill>
          <a:latin typeface="Calibri" panose="020F0502020204030204" pitchFamily="34" charset="0"/>
        </a:defRPr>
      </a:lvl2pPr>
      <a:lvl3pPr marL="886170" indent="-228393"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7" dirty="0" smtClean="0">
          <a:solidFill>
            <a:schemeClr val="tx1"/>
          </a:solidFill>
          <a:latin typeface="Calibri" panose="020F0502020204030204" pitchFamily="34" charset="0"/>
        </a:defRPr>
      </a:lvl3pPr>
      <a:lvl4pPr marL="1169379" indent="-228393"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7" dirty="0" smtClean="0">
          <a:solidFill>
            <a:schemeClr val="tx1"/>
          </a:solidFill>
          <a:latin typeface="+mn-lt"/>
        </a:defRPr>
      </a:lvl4pPr>
      <a:lvl5pPr marL="1461723" indent="-228393"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49197" indent="-304474" algn="l" rtl="0" eaLnBrk="1" fontAlgn="base" hangingPunct="1">
        <a:spcBef>
          <a:spcPct val="20000"/>
        </a:spcBef>
        <a:spcAft>
          <a:spcPct val="0"/>
        </a:spcAft>
        <a:buClr>
          <a:schemeClr val="accent2"/>
        </a:buClr>
        <a:buChar char="»"/>
        <a:defRPr sz="2097">
          <a:solidFill>
            <a:schemeClr val="tx1"/>
          </a:solidFill>
          <a:latin typeface="+mn-lt"/>
        </a:defRPr>
      </a:lvl6pPr>
      <a:lvl7pPr marL="3958142" indent="-304474" algn="l" rtl="0" eaLnBrk="1" fontAlgn="base" hangingPunct="1">
        <a:spcBef>
          <a:spcPct val="20000"/>
        </a:spcBef>
        <a:spcAft>
          <a:spcPct val="0"/>
        </a:spcAft>
        <a:buClr>
          <a:schemeClr val="accent2"/>
        </a:buClr>
        <a:buChar char="»"/>
        <a:defRPr sz="2097">
          <a:solidFill>
            <a:schemeClr val="tx1"/>
          </a:solidFill>
          <a:latin typeface="+mn-lt"/>
        </a:defRPr>
      </a:lvl7pPr>
      <a:lvl8pPr marL="4567087" indent="-304474" algn="l" rtl="0" eaLnBrk="1" fontAlgn="base" hangingPunct="1">
        <a:spcBef>
          <a:spcPct val="20000"/>
        </a:spcBef>
        <a:spcAft>
          <a:spcPct val="0"/>
        </a:spcAft>
        <a:buClr>
          <a:schemeClr val="accent2"/>
        </a:buClr>
        <a:buChar char="»"/>
        <a:defRPr sz="2097">
          <a:solidFill>
            <a:schemeClr val="tx1"/>
          </a:solidFill>
          <a:latin typeface="+mn-lt"/>
        </a:defRPr>
      </a:lvl8pPr>
      <a:lvl9pPr marL="5176032" indent="-304474" algn="l" rtl="0" eaLnBrk="1" fontAlgn="base" hangingPunct="1">
        <a:spcBef>
          <a:spcPct val="20000"/>
        </a:spcBef>
        <a:spcAft>
          <a:spcPct val="0"/>
        </a:spcAft>
        <a:buClr>
          <a:schemeClr val="accent2"/>
        </a:buClr>
        <a:buChar char="»"/>
        <a:defRPr sz="2097">
          <a:solidFill>
            <a:schemeClr val="tx1"/>
          </a:solidFill>
          <a:latin typeface="+mn-lt"/>
        </a:defRPr>
      </a:lvl9pPr>
    </p:bodyStyle>
    <p:otherStyle>
      <a:defPPr>
        <a:defRPr lang="en-US"/>
      </a:defPPr>
      <a:lvl1pPr marL="0" algn="l" defTabSz="1217890" rtl="0" eaLnBrk="1" latinLnBrk="0" hangingPunct="1">
        <a:defRPr sz="2397" kern="1200">
          <a:solidFill>
            <a:schemeClr val="tx1"/>
          </a:solidFill>
          <a:latin typeface="+mn-lt"/>
          <a:ea typeface="+mn-ea"/>
          <a:cs typeface="+mn-cs"/>
        </a:defRPr>
      </a:lvl1pPr>
      <a:lvl2pPr marL="608944" algn="l" defTabSz="1217890" rtl="0" eaLnBrk="1" latinLnBrk="0" hangingPunct="1">
        <a:defRPr sz="2397" kern="1200">
          <a:solidFill>
            <a:schemeClr val="tx1"/>
          </a:solidFill>
          <a:latin typeface="+mn-lt"/>
          <a:ea typeface="+mn-ea"/>
          <a:cs typeface="+mn-cs"/>
        </a:defRPr>
      </a:lvl2pPr>
      <a:lvl3pPr marL="1217890" algn="l" defTabSz="1217890" rtl="0" eaLnBrk="1" latinLnBrk="0" hangingPunct="1">
        <a:defRPr sz="2397" kern="1200">
          <a:solidFill>
            <a:schemeClr val="tx1"/>
          </a:solidFill>
          <a:latin typeface="+mn-lt"/>
          <a:ea typeface="+mn-ea"/>
          <a:cs typeface="+mn-cs"/>
        </a:defRPr>
      </a:lvl3pPr>
      <a:lvl4pPr marL="1826835" algn="l" defTabSz="1217890" rtl="0" eaLnBrk="1" latinLnBrk="0" hangingPunct="1">
        <a:defRPr sz="2397" kern="1200">
          <a:solidFill>
            <a:schemeClr val="tx1"/>
          </a:solidFill>
          <a:latin typeface="+mn-lt"/>
          <a:ea typeface="+mn-ea"/>
          <a:cs typeface="+mn-cs"/>
        </a:defRPr>
      </a:lvl4pPr>
      <a:lvl5pPr marL="2435780" algn="l" defTabSz="1217890" rtl="0" eaLnBrk="1" latinLnBrk="0" hangingPunct="1">
        <a:defRPr sz="2397" kern="1200">
          <a:solidFill>
            <a:schemeClr val="tx1"/>
          </a:solidFill>
          <a:latin typeface="+mn-lt"/>
          <a:ea typeface="+mn-ea"/>
          <a:cs typeface="+mn-cs"/>
        </a:defRPr>
      </a:lvl5pPr>
      <a:lvl6pPr marL="3044725" algn="l" defTabSz="1217890" rtl="0" eaLnBrk="1" latinLnBrk="0" hangingPunct="1">
        <a:defRPr sz="2397" kern="1200">
          <a:solidFill>
            <a:schemeClr val="tx1"/>
          </a:solidFill>
          <a:latin typeface="+mn-lt"/>
          <a:ea typeface="+mn-ea"/>
          <a:cs typeface="+mn-cs"/>
        </a:defRPr>
      </a:lvl6pPr>
      <a:lvl7pPr marL="3653670" algn="l" defTabSz="1217890" rtl="0" eaLnBrk="1" latinLnBrk="0" hangingPunct="1">
        <a:defRPr sz="2397" kern="1200">
          <a:solidFill>
            <a:schemeClr val="tx1"/>
          </a:solidFill>
          <a:latin typeface="+mn-lt"/>
          <a:ea typeface="+mn-ea"/>
          <a:cs typeface="+mn-cs"/>
        </a:defRPr>
      </a:lvl7pPr>
      <a:lvl8pPr marL="4262614" algn="l" defTabSz="1217890" rtl="0" eaLnBrk="1" latinLnBrk="0" hangingPunct="1">
        <a:defRPr sz="2397" kern="1200">
          <a:solidFill>
            <a:schemeClr val="tx1"/>
          </a:solidFill>
          <a:latin typeface="+mn-lt"/>
          <a:ea typeface="+mn-ea"/>
          <a:cs typeface="+mn-cs"/>
        </a:defRPr>
      </a:lvl8pPr>
      <a:lvl9pPr marL="4871560" algn="l" defTabSz="1217890" rtl="0" eaLnBrk="1" latinLnBrk="0" hangingPunct="1">
        <a:defRPr sz="2397"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0"/>
            <a:ext cx="2843213" cy="365125"/>
          </a:xfrm>
          <a:prstGeom prst="rect">
            <a:avLst/>
          </a:prstGeom>
        </p:spPr>
        <p:txBody>
          <a:bodyPr vert="horz" lIns="91440" tIns="45720" rIns="91440" bIns="45720" rtlCol="0" anchor="ctr"/>
          <a:lstStyle>
            <a:lvl1pPr algn="l">
              <a:defRPr sz="1200">
                <a:solidFill>
                  <a:schemeClr val="tx1">
                    <a:tint val="75000"/>
                  </a:schemeClr>
                </a:solidFill>
                <a:cs typeface="Calibri" panose="020F0502020204030204" pitchFamily="34" charset="0"/>
              </a:defRPr>
            </a:lvl1pPr>
          </a:lstStyle>
          <a:p>
            <a:pPr fontAlgn="base">
              <a:spcBef>
                <a:spcPct val="20000"/>
              </a:spcBef>
              <a:spcAft>
                <a:spcPct val="0"/>
              </a:spcAft>
              <a:buClr>
                <a:srgbClr val="FF0000"/>
              </a:buClr>
              <a:buSzPct val="65000"/>
              <a:buFont typeface="Wingdings" pitchFamily="2" charset="2"/>
              <a:buNone/>
            </a:pPr>
            <a:fld id="{285138E8-3F3E-4DC5-A5FA-50868B94627A}" type="datetimeFigureOut">
              <a:rPr lang="en-US" kern="1200" smtClean="0">
                <a:solidFill>
                  <a:srgbClr val="4D4D4F">
                    <a:tint val="75000"/>
                  </a:srgbClr>
                </a:solidFill>
                <a:latin typeface="Helvetica" pitchFamily="34" charset="0"/>
                <a:ea typeface="+mn-ea"/>
              </a:rPr>
              <a:pPr fontAlgn="base">
                <a:spcBef>
                  <a:spcPct val="20000"/>
                </a:spcBef>
                <a:spcAft>
                  <a:spcPct val="0"/>
                </a:spcAft>
                <a:buClr>
                  <a:srgbClr val="FF0000"/>
                </a:buClr>
                <a:buSzPct val="65000"/>
                <a:buFont typeface="Wingdings" pitchFamily="2" charset="2"/>
                <a:buNone/>
              </a:pPr>
              <a:t>29-Feb-24</a:t>
            </a:fld>
            <a:endParaRPr lang="en-US" kern="1200" dirty="0">
              <a:solidFill>
                <a:srgbClr val="4D4D4F">
                  <a:tint val="75000"/>
                </a:srgbClr>
              </a:solidFill>
              <a:latin typeface="Helvetica" pitchFamily="34" charset="0"/>
              <a:ea typeface="+mn-ea"/>
              <a:cs typeface="+mn-cs"/>
            </a:endParaRPr>
          </a:p>
        </p:txBody>
      </p:sp>
      <p:sp>
        <p:nvSpPr>
          <p:cNvPr id="11" name="Bullet text"/>
          <p:cNvSpPr>
            <a:spLocks noGrp="1" noChangeArrowheads="1"/>
          </p:cNvSpPr>
          <p:nvPr>
            <p:ph type="body"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2"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59" y="6556249"/>
            <a:ext cx="1840451" cy="269820"/>
          </a:xfrm>
          <a:prstGeom prst="rect">
            <a:avLst/>
          </a:prstGeom>
        </p:spPr>
        <p:txBody>
          <a:bodyPr wrap="square" lIns="121899" tIns="60949" rIns="121899" bIns="60949"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rgbClr val="4D4D4F"/>
                </a:solidFill>
              </a:rPr>
              <a:pPr algn="r" fontAlgn="auto">
                <a:spcBef>
                  <a:spcPts val="0"/>
                </a:spcBef>
                <a:spcAft>
                  <a:spcPts val="0"/>
                </a:spcAft>
                <a:buClrTx/>
                <a:buSzTx/>
                <a:buFontTx/>
                <a:buNone/>
                <a:defRPr/>
              </a:pPr>
              <a:t>‹#›</a:t>
            </a:fld>
            <a:endParaRPr lang="en-US" sz="1100" kern="0" dirty="0">
              <a:solidFill>
                <a:srgbClr val="4D4D4F"/>
              </a:solidFill>
            </a:endParaRPr>
          </a:p>
        </p:txBody>
      </p:sp>
      <p:sp>
        <p:nvSpPr>
          <p:cNvPr id="8" name="Footer_copyright"/>
          <p:cNvSpPr txBox="1">
            <a:spLocks/>
          </p:cNvSpPr>
          <p:nvPr/>
        </p:nvSpPr>
        <p:spPr>
          <a:xfrm>
            <a:off x="9080500" y="6542102"/>
            <a:ext cx="2744799" cy="304221"/>
          </a:xfrm>
          <a:prstGeom prst="rect">
            <a:avLst/>
          </a:prstGeom>
        </p:spPr>
        <p:txBody>
          <a:bodyPr wrap="square" lIns="121899" tIns="60949" rIns="121899" bIns="60949"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kern="0" dirty="0">
                <a:solidFill>
                  <a:srgbClr val="4D4D4F">
                    <a:lumMod val="40000"/>
                    <a:lumOff val="60000"/>
                  </a:srgbClr>
                </a:solidFill>
              </a:rPr>
              <a:t>©202</a:t>
            </a:r>
            <a:r>
              <a:rPr lang="he-IL" sz="800" kern="0" dirty="0">
                <a:solidFill>
                  <a:srgbClr val="4D4D4F">
                    <a:lumMod val="40000"/>
                    <a:lumOff val="60000"/>
                  </a:srgbClr>
                </a:solidFill>
              </a:rPr>
              <a:t>1</a:t>
            </a:r>
            <a:r>
              <a:rPr lang="en-US" kern="0" dirty="0">
                <a:solidFill>
                  <a:srgbClr val="4D4D4F">
                    <a:lumMod val="40000"/>
                    <a:lumOff val="60000"/>
                  </a:srgbClr>
                </a:solidFill>
              </a:rPr>
              <a:t> Check Point Software Technologies Ltd. </a:t>
            </a:r>
          </a:p>
        </p:txBody>
      </p:sp>
      <p:grpSp>
        <p:nvGrpSpPr>
          <p:cNvPr id="5" name="Group 4"/>
          <p:cNvGrpSpPr/>
          <p:nvPr/>
        </p:nvGrpSpPr>
        <p:grpSpPr>
          <a:xfrm>
            <a:off x="0"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28"/>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pPr fontAlgn="base">
              <a:spcBef>
                <a:spcPct val="20000"/>
              </a:spcBef>
              <a:spcAft>
                <a:spcPct val="0"/>
              </a:spcAft>
              <a:buClr>
                <a:srgbClr val="FF0000"/>
              </a:buClr>
              <a:buSzPct val="65000"/>
              <a:buFont typeface="Wingdings" pitchFamily="2" charset="2"/>
              <a:buNone/>
            </a:pPr>
            <a:endParaRPr lang="en-US" kern="1200" dirty="0">
              <a:solidFill>
                <a:srgbClr val="FFFFFF">
                  <a:lumMod val="75000"/>
                </a:srgbClr>
              </a:solidFill>
              <a:ea typeface="+mn-ea"/>
            </a:endParaRPr>
          </a:p>
        </p:txBody>
      </p:sp>
    </p:spTree>
    <p:extLst>
      <p:ext uri="{BB962C8B-B14F-4D97-AF65-F5344CB8AC3E}">
        <p14:creationId xmlns:p14="http://schemas.microsoft.com/office/powerpoint/2010/main" val="1417224818"/>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Lst>
  <p:transition>
    <p:fade/>
  </p:transition>
  <p:hf sldNum="0" hdr="0" ftr="0" dt="0"/>
  <p:txStyles>
    <p:titleStyle>
      <a:lvl1pPr algn="l" rtl="0" eaLnBrk="1" fontAlgn="base" hangingPunct="1">
        <a:lnSpc>
          <a:spcPct val="85000"/>
        </a:lnSpc>
        <a:spcBef>
          <a:spcPct val="0"/>
        </a:spcBef>
        <a:spcAft>
          <a:spcPct val="0"/>
        </a:spcAft>
        <a:defRPr sz="3400"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700" b="1">
          <a:solidFill>
            <a:srgbClr val="4E4E4E"/>
          </a:solidFill>
          <a:latin typeface="Helvetica" pitchFamily="34" charset="0"/>
        </a:defRPr>
      </a:lvl2pPr>
      <a:lvl3pPr algn="l" rtl="0" eaLnBrk="1" fontAlgn="base" hangingPunct="1">
        <a:lnSpc>
          <a:spcPct val="85000"/>
        </a:lnSpc>
        <a:spcBef>
          <a:spcPct val="0"/>
        </a:spcBef>
        <a:spcAft>
          <a:spcPct val="0"/>
        </a:spcAft>
        <a:defRPr sz="3700" b="1">
          <a:solidFill>
            <a:srgbClr val="4E4E4E"/>
          </a:solidFill>
          <a:latin typeface="Helvetica" pitchFamily="34" charset="0"/>
        </a:defRPr>
      </a:lvl3pPr>
      <a:lvl4pPr algn="l" rtl="0" eaLnBrk="1" fontAlgn="base" hangingPunct="1">
        <a:lnSpc>
          <a:spcPct val="85000"/>
        </a:lnSpc>
        <a:spcBef>
          <a:spcPct val="0"/>
        </a:spcBef>
        <a:spcAft>
          <a:spcPct val="0"/>
        </a:spcAft>
        <a:defRPr sz="3700" b="1">
          <a:solidFill>
            <a:srgbClr val="4E4E4E"/>
          </a:solidFill>
          <a:latin typeface="Helvetica" pitchFamily="34" charset="0"/>
        </a:defRPr>
      </a:lvl4pPr>
      <a:lvl5pPr algn="l" rtl="0" eaLnBrk="1" fontAlgn="base" hangingPunct="1">
        <a:lnSpc>
          <a:spcPct val="85000"/>
        </a:lnSpc>
        <a:spcBef>
          <a:spcPct val="0"/>
        </a:spcBef>
        <a:spcAft>
          <a:spcPct val="0"/>
        </a:spcAft>
        <a:defRPr sz="3700" b="1">
          <a:solidFill>
            <a:srgbClr val="4E4E4E"/>
          </a:solidFill>
          <a:latin typeface="Helvetica" pitchFamily="34" charset="0"/>
        </a:defRPr>
      </a:lvl5pPr>
      <a:lvl6pPr marL="609493" algn="l" rtl="0" eaLnBrk="1" fontAlgn="base" hangingPunct="1">
        <a:lnSpc>
          <a:spcPct val="85000"/>
        </a:lnSpc>
        <a:spcBef>
          <a:spcPct val="0"/>
        </a:spcBef>
        <a:spcAft>
          <a:spcPct val="0"/>
        </a:spcAft>
        <a:defRPr sz="3700" b="1">
          <a:solidFill>
            <a:srgbClr val="4E4E4E"/>
          </a:solidFill>
          <a:latin typeface="Helvetica" pitchFamily="34" charset="0"/>
        </a:defRPr>
      </a:lvl6pPr>
      <a:lvl7pPr marL="1218987" algn="l" rtl="0" eaLnBrk="1" fontAlgn="base" hangingPunct="1">
        <a:lnSpc>
          <a:spcPct val="85000"/>
        </a:lnSpc>
        <a:spcBef>
          <a:spcPct val="0"/>
        </a:spcBef>
        <a:spcAft>
          <a:spcPct val="0"/>
        </a:spcAft>
        <a:defRPr sz="3700" b="1">
          <a:solidFill>
            <a:srgbClr val="4E4E4E"/>
          </a:solidFill>
          <a:latin typeface="Helvetica" pitchFamily="34" charset="0"/>
        </a:defRPr>
      </a:lvl7pPr>
      <a:lvl8pPr marL="1828480" algn="l" rtl="0" eaLnBrk="1" fontAlgn="base" hangingPunct="1">
        <a:lnSpc>
          <a:spcPct val="85000"/>
        </a:lnSpc>
        <a:spcBef>
          <a:spcPct val="0"/>
        </a:spcBef>
        <a:spcAft>
          <a:spcPct val="0"/>
        </a:spcAft>
        <a:defRPr sz="3700" b="1">
          <a:solidFill>
            <a:srgbClr val="4E4E4E"/>
          </a:solidFill>
          <a:latin typeface="Helvetica" pitchFamily="34" charset="0"/>
        </a:defRPr>
      </a:lvl8pPr>
      <a:lvl9pPr marL="2437973" algn="l" rtl="0" eaLnBrk="1" fontAlgn="base" hangingPunct="1">
        <a:lnSpc>
          <a:spcPct val="85000"/>
        </a:lnSpc>
        <a:spcBef>
          <a:spcPct val="0"/>
        </a:spcBef>
        <a:spcAft>
          <a:spcPct val="0"/>
        </a:spcAft>
        <a:defRPr sz="3700" b="1">
          <a:solidFill>
            <a:srgbClr val="4E4E4E"/>
          </a:solidFill>
          <a:latin typeface="Helvetica" pitchFamily="34" charset="0"/>
        </a:defRPr>
      </a:lvl9pPr>
    </p:titleStyle>
    <p:bodyStyle>
      <a:lvl1pPr marL="228600" indent="-228600"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800" dirty="0" smtClean="0">
          <a:solidFill>
            <a:schemeClr val="tx1"/>
          </a:solidFill>
          <a:latin typeface="Calibri" panose="020F0502020204030204" pitchFamily="34" charset="0"/>
          <a:ea typeface="+mn-ea"/>
          <a:cs typeface="Calibri" panose="020F0502020204030204" pitchFamily="34" charset="0"/>
        </a:defRPr>
      </a:lvl1pPr>
      <a:lvl2pPr marL="576072" indent="-228600"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400" dirty="0" smtClean="0">
          <a:solidFill>
            <a:schemeClr val="tx1"/>
          </a:solidFill>
          <a:latin typeface="Calibri" panose="020F0502020204030204" pitchFamily="34" charset="0"/>
        </a:defRPr>
      </a:lvl2pPr>
      <a:lvl3pPr marL="886968" indent="-228600"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000" dirty="0" smtClean="0">
          <a:solidFill>
            <a:schemeClr val="tx1"/>
          </a:solidFill>
          <a:latin typeface="Calibri" panose="020F0502020204030204" pitchFamily="34" charset="0"/>
        </a:defRPr>
      </a:lvl3pPr>
      <a:lvl4pPr marL="1170432" indent="-228600"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800" dirty="0" smtClean="0">
          <a:solidFill>
            <a:schemeClr val="tx1"/>
          </a:solidFill>
          <a:latin typeface="+mn-lt"/>
        </a:defRPr>
      </a:lvl4pPr>
      <a:lvl5pPr marL="1463040" indent="-228600"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2213" indent="-304747" algn="l" rtl="0" eaLnBrk="1" fontAlgn="base" hangingPunct="1">
        <a:spcBef>
          <a:spcPct val="20000"/>
        </a:spcBef>
        <a:spcAft>
          <a:spcPct val="0"/>
        </a:spcAft>
        <a:buClr>
          <a:schemeClr val="accent2"/>
        </a:buClr>
        <a:buChar char="»"/>
        <a:defRPr sz="2100">
          <a:solidFill>
            <a:schemeClr val="tx1"/>
          </a:solidFill>
          <a:latin typeface="+mn-lt"/>
        </a:defRPr>
      </a:lvl6pPr>
      <a:lvl7pPr marL="3961707" indent="-304747" algn="l" rtl="0" eaLnBrk="1" fontAlgn="base" hangingPunct="1">
        <a:spcBef>
          <a:spcPct val="20000"/>
        </a:spcBef>
        <a:spcAft>
          <a:spcPct val="0"/>
        </a:spcAft>
        <a:buClr>
          <a:schemeClr val="accent2"/>
        </a:buClr>
        <a:buChar char="»"/>
        <a:defRPr sz="2100">
          <a:solidFill>
            <a:schemeClr val="tx1"/>
          </a:solidFill>
          <a:latin typeface="+mn-lt"/>
        </a:defRPr>
      </a:lvl7pPr>
      <a:lvl8pPr marL="4571200" indent="-304747" algn="l" rtl="0" eaLnBrk="1" fontAlgn="base" hangingPunct="1">
        <a:spcBef>
          <a:spcPct val="20000"/>
        </a:spcBef>
        <a:spcAft>
          <a:spcPct val="0"/>
        </a:spcAft>
        <a:buClr>
          <a:schemeClr val="accent2"/>
        </a:buClr>
        <a:buChar char="»"/>
        <a:defRPr sz="2100">
          <a:solidFill>
            <a:schemeClr val="tx1"/>
          </a:solidFill>
          <a:latin typeface="+mn-lt"/>
        </a:defRPr>
      </a:lvl8pPr>
      <a:lvl9pPr marL="5180693" indent="-304747" algn="l" rtl="0" eaLnBrk="1" fontAlgn="base" hangingPunct="1">
        <a:spcBef>
          <a:spcPct val="20000"/>
        </a:spcBef>
        <a:spcAft>
          <a:spcPct val="0"/>
        </a:spcAft>
        <a:buClr>
          <a:schemeClr val="accent2"/>
        </a:buClr>
        <a:buChar char="»"/>
        <a:defRPr sz="2100">
          <a:solidFill>
            <a:schemeClr val="tx1"/>
          </a:solidFill>
          <a:latin typeface="+mn-lt"/>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0"/>
            <a:ext cx="2843213" cy="365125"/>
          </a:xfrm>
          <a:prstGeom prst="rect">
            <a:avLst/>
          </a:prstGeom>
        </p:spPr>
        <p:txBody>
          <a:bodyPr vert="horz" lIns="91440" tIns="45720" rIns="91440" bIns="45720" rtlCol="0" anchor="ctr"/>
          <a:lstStyle>
            <a:lvl1pPr algn="l">
              <a:defRPr sz="1200">
                <a:solidFill>
                  <a:schemeClr val="tx1">
                    <a:tint val="75000"/>
                  </a:schemeClr>
                </a:solidFill>
                <a:cs typeface="Calibri" panose="020F0502020204030204" pitchFamily="34" charset="0"/>
              </a:defRPr>
            </a:lvl1pPr>
          </a:lstStyle>
          <a:p>
            <a:pPr fontAlgn="base">
              <a:spcBef>
                <a:spcPct val="20000"/>
              </a:spcBef>
              <a:spcAft>
                <a:spcPct val="0"/>
              </a:spcAft>
              <a:buClr>
                <a:srgbClr val="FF0000"/>
              </a:buClr>
              <a:buSzPct val="65000"/>
              <a:buFont typeface="Wingdings" pitchFamily="2" charset="2"/>
              <a:buNone/>
            </a:pPr>
            <a:fld id="{285138E8-3F3E-4DC5-A5FA-50868B94627A}" type="datetimeFigureOut">
              <a:rPr lang="en-US" kern="1200" smtClean="0">
                <a:solidFill>
                  <a:srgbClr val="4D4D4F">
                    <a:tint val="75000"/>
                  </a:srgbClr>
                </a:solidFill>
                <a:latin typeface="Helvetica" pitchFamily="34" charset="0"/>
                <a:ea typeface="+mn-ea"/>
              </a:rPr>
              <a:pPr fontAlgn="base">
                <a:spcBef>
                  <a:spcPct val="20000"/>
                </a:spcBef>
                <a:spcAft>
                  <a:spcPct val="0"/>
                </a:spcAft>
                <a:buClr>
                  <a:srgbClr val="FF0000"/>
                </a:buClr>
                <a:buSzPct val="65000"/>
                <a:buFont typeface="Wingdings" pitchFamily="2" charset="2"/>
                <a:buNone/>
              </a:pPr>
              <a:t>29-Feb-24</a:t>
            </a:fld>
            <a:endParaRPr lang="en-US" kern="1200" dirty="0">
              <a:solidFill>
                <a:srgbClr val="4D4D4F">
                  <a:tint val="75000"/>
                </a:srgbClr>
              </a:solidFill>
              <a:latin typeface="Helvetica" pitchFamily="34" charset="0"/>
              <a:ea typeface="+mn-ea"/>
              <a:cs typeface="+mn-cs"/>
            </a:endParaRPr>
          </a:p>
        </p:txBody>
      </p:sp>
      <p:sp>
        <p:nvSpPr>
          <p:cNvPr id="11" name="Bullet text"/>
          <p:cNvSpPr>
            <a:spLocks noGrp="1" noChangeArrowheads="1"/>
          </p:cNvSpPr>
          <p:nvPr>
            <p:ph type="body" idx="1"/>
          </p:nvPr>
        </p:nvSpPr>
        <p:spPr bwMode="auto">
          <a:xfrm>
            <a:off x="583842" y="1534473"/>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2"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59" y="6556249"/>
            <a:ext cx="1840451" cy="269820"/>
          </a:xfrm>
          <a:prstGeom prst="rect">
            <a:avLst/>
          </a:prstGeom>
        </p:spPr>
        <p:txBody>
          <a:bodyPr wrap="square" lIns="121899" tIns="60949" rIns="121899" bIns="60949"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rgbClr val="4D4D4F"/>
                </a:solidFill>
              </a:rPr>
              <a:pPr algn="r" fontAlgn="auto">
                <a:spcBef>
                  <a:spcPts val="0"/>
                </a:spcBef>
                <a:spcAft>
                  <a:spcPts val="0"/>
                </a:spcAft>
                <a:buClrTx/>
                <a:buSzTx/>
                <a:buFontTx/>
                <a:buNone/>
                <a:defRPr/>
              </a:pPr>
              <a:t>‹#›</a:t>
            </a:fld>
            <a:endParaRPr lang="en-US" sz="1100" kern="0" dirty="0">
              <a:solidFill>
                <a:srgbClr val="4D4D4F"/>
              </a:solidFill>
            </a:endParaRPr>
          </a:p>
        </p:txBody>
      </p:sp>
      <p:sp>
        <p:nvSpPr>
          <p:cNvPr id="8" name="Footer_copyright"/>
          <p:cNvSpPr txBox="1">
            <a:spLocks/>
          </p:cNvSpPr>
          <p:nvPr/>
        </p:nvSpPr>
        <p:spPr>
          <a:xfrm>
            <a:off x="9080500" y="6542102"/>
            <a:ext cx="2744799" cy="304221"/>
          </a:xfrm>
          <a:prstGeom prst="rect">
            <a:avLst/>
          </a:prstGeom>
        </p:spPr>
        <p:txBody>
          <a:bodyPr wrap="square" lIns="121899" tIns="60949" rIns="121899" bIns="60949"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kern="0" dirty="0">
                <a:solidFill>
                  <a:srgbClr val="4D4D4F">
                    <a:lumMod val="40000"/>
                    <a:lumOff val="60000"/>
                  </a:srgbClr>
                </a:solidFill>
              </a:rPr>
              <a:t>©2021 Check Point Software Technologies Ltd. </a:t>
            </a:r>
          </a:p>
        </p:txBody>
      </p:sp>
      <p:grpSp>
        <p:nvGrpSpPr>
          <p:cNvPr id="5" name="Group 4"/>
          <p:cNvGrpSpPr/>
          <p:nvPr/>
        </p:nvGrpSpPr>
        <p:grpSpPr>
          <a:xfrm>
            <a:off x="0"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36"/>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4391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pPr fontAlgn="base">
              <a:spcBef>
                <a:spcPct val="20000"/>
              </a:spcBef>
              <a:spcAft>
                <a:spcPct val="0"/>
              </a:spcAft>
              <a:buClr>
                <a:srgbClr val="FF0000"/>
              </a:buClr>
              <a:buSzPct val="65000"/>
              <a:buFont typeface="Wingdings" pitchFamily="2" charset="2"/>
              <a:buNone/>
            </a:pPr>
            <a:endParaRPr lang="en-US" kern="1200" dirty="0">
              <a:solidFill>
                <a:srgbClr val="FFFFFF">
                  <a:lumMod val="75000"/>
                </a:srgbClr>
              </a:solidFill>
              <a:ea typeface="+mn-ea"/>
            </a:endParaRPr>
          </a:p>
        </p:txBody>
      </p:sp>
    </p:spTree>
    <p:extLst>
      <p:ext uri="{BB962C8B-B14F-4D97-AF65-F5344CB8AC3E}">
        <p14:creationId xmlns:p14="http://schemas.microsoft.com/office/powerpoint/2010/main" val="2508108308"/>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41" r:id="rId24"/>
    <p:sldLayoutId id="2147483942" r:id="rId25"/>
    <p:sldLayoutId id="2147483943" r:id="rId26"/>
    <p:sldLayoutId id="2147483944" r:id="rId27"/>
    <p:sldLayoutId id="2147483945" r:id="rId28"/>
    <p:sldLayoutId id="2147483949" r:id="rId29"/>
    <p:sldLayoutId id="2147483950" r:id="rId30"/>
    <p:sldLayoutId id="2147483951" r:id="rId31"/>
    <p:sldLayoutId id="2147483952" r:id="rId32"/>
    <p:sldLayoutId id="2147483953" r:id="rId33"/>
    <p:sldLayoutId id="2147483954" r:id="rId34"/>
  </p:sldLayoutIdLst>
  <p:transition>
    <p:fade/>
  </p:transition>
  <p:hf sldNum="0" hdr="0" ftr="0" dt="0"/>
  <p:txStyles>
    <p:titleStyle>
      <a:lvl1pPr algn="l" rtl="0" eaLnBrk="1" fontAlgn="base" hangingPunct="1">
        <a:lnSpc>
          <a:spcPct val="85000"/>
        </a:lnSpc>
        <a:spcBef>
          <a:spcPct val="0"/>
        </a:spcBef>
        <a:spcAft>
          <a:spcPct val="0"/>
        </a:spcAft>
        <a:defRPr sz="3400"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700" b="1">
          <a:solidFill>
            <a:srgbClr val="4E4E4E"/>
          </a:solidFill>
          <a:latin typeface="Helvetica" pitchFamily="34" charset="0"/>
        </a:defRPr>
      </a:lvl2pPr>
      <a:lvl3pPr algn="l" rtl="0" eaLnBrk="1" fontAlgn="base" hangingPunct="1">
        <a:lnSpc>
          <a:spcPct val="85000"/>
        </a:lnSpc>
        <a:spcBef>
          <a:spcPct val="0"/>
        </a:spcBef>
        <a:spcAft>
          <a:spcPct val="0"/>
        </a:spcAft>
        <a:defRPr sz="3700" b="1">
          <a:solidFill>
            <a:srgbClr val="4E4E4E"/>
          </a:solidFill>
          <a:latin typeface="Helvetica" pitchFamily="34" charset="0"/>
        </a:defRPr>
      </a:lvl3pPr>
      <a:lvl4pPr algn="l" rtl="0" eaLnBrk="1" fontAlgn="base" hangingPunct="1">
        <a:lnSpc>
          <a:spcPct val="85000"/>
        </a:lnSpc>
        <a:spcBef>
          <a:spcPct val="0"/>
        </a:spcBef>
        <a:spcAft>
          <a:spcPct val="0"/>
        </a:spcAft>
        <a:defRPr sz="3700" b="1">
          <a:solidFill>
            <a:srgbClr val="4E4E4E"/>
          </a:solidFill>
          <a:latin typeface="Helvetica" pitchFamily="34" charset="0"/>
        </a:defRPr>
      </a:lvl4pPr>
      <a:lvl5pPr algn="l" rtl="0" eaLnBrk="1" fontAlgn="base" hangingPunct="1">
        <a:lnSpc>
          <a:spcPct val="85000"/>
        </a:lnSpc>
        <a:spcBef>
          <a:spcPct val="0"/>
        </a:spcBef>
        <a:spcAft>
          <a:spcPct val="0"/>
        </a:spcAft>
        <a:defRPr sz="3700" b="1">
          <a:solidFill>
            <a:srgbClr val="4E4E4E"/>
          </a:solidFill>
          <a:latin typeface="Helvetica" pitchFamily="34" charset="0"/>
        </a:defRPr>
      </a:lvl5pPr>
      <a:lvl6pPr marL="609493" algn="l" rtl="0" eaLnBrk="1" fontAlgn="base" hangingPunct="1">
        <a:lnSpc>
          <a:spcPct val="85000"/>
        </a:lnSpc>
        <a:spcBef>
          <a:spcPct val="0"/>
        </a:spcBef>
        <a:spcAft>
          <a:spcPct val="0"/>
        </a:spcAft>
        <a:defRPr sz="3700" b="1">
          <a:solidFill>
            <a:srgbClr val="4E4E4E"/>
          </a:solidFill>
          <a:latin typeface="Helvetica" pitchFamily="34" charset="0"/>
        </a:defRPr>
      </a:lvl6pPr>
      <a:lvl7pPr marL="1218987" algn="l" rtl="0" eaLnBrk="1" fontAlgn="base" hangingPunct="1">
        <a:lnSpc>
          <a:spcPct val="85000"/>
        </a:lnSpc>
        <a:spcBef>
          <a:spcPct val="0"/>
        </a:spcBef>
        <a:spcAft>
          <a:spcPct val="0"/>
        </a:spcAft>
        <a:defRPr sz="3700" b="1">
          <a:solidFill>
            <a:srgbClr val="4E4E4E"/>
          </a:solidFill>
          <a:latin typeface="Helvetica" pitchFamily="34" charset="0"/>
        </a:defRPr>
      </a:lvl7pPr>
      <a:lvl8pPr marL="1828480" algn="l" rtl="0" eaLnBrk="1" fontAlgn="base" hangingPunct="1">
        <a:lnSpc>
          <a:spcPct val="85000"/>
        </a:lnSpc>
        <a:spcBef>
          <a:spcPct val="0"/>
        </a:spcBef>
        <a:spcAft>
          <a:spcPct val="0"/>
        </a:spcAft>
        <a:defRPr sz="3700" b="1">
          <a:solidFill>
            <a:srgbClr val="4E4E4E"/>
          </a:solidFill>
          <a:latin typeface="Helvetica" pitchFamily="34" charset="0"/>
        </a:defRPr>
      </a:lvl8pPr>
      <a:lvl9pPr marL="2437973" algn="l" rtl="0" eaLnBrk="1" fontAlgn="base" hangingPunct="1">
        <a:lnSpc>
          <a:spcPct val="85000"/>
        </a:lnSpc>
        <a:spcBef>
          <a:spcPct val="0"/>
        </a:spcBef>
        <a:spcAft>
          <a:spcPct val="0"/>
        </a:spcAft>
        <a:defRPr sz="3700" b="1">
          <a:solidFill>
            <a:srgbClr val="4E4E4E"/>
          </a:solidFill>
          <a:latin typeface="Helvetica" pitchFamily="34" charset="0"/>
        </a:defRPr>
      </a:lvl9pPr>
    </p:titleStyle>
    <p:bodyStyle>
      <a:lvl1pPr marL="228600" indent="-228600"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800" dirty="0" smtClean="0">
          <a:solidFill>
            <a:schemeClr val="tx1"/>
          </a:solidFill>
          <a:latin typeface="Calibri" panose="020F0502020204030204" pitchFamily="34" charset="0"/>
          <a:ea typeface="+mn-ea"/>
          <a:cs typeface="Calibri" panose="020F0502020204030204" pitchFamily="34" charset="0"/>
        </a:defRPr>
      </a:lvl1pPr>
      <a:lvl2pPr marL="576072" indent="-228600"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400" dirty="0" smtClean="0">
          <a:solidFill>
            <a:schemeClr val="tx1"/>
          </a:solidFill>
          <a:latin typeface="Calibri" panose="020F0502020204030204" pitchFamily="34" charset="0"/>
        </a:defRPr>
      </a:lvl2pPr>
      <a:lvl3pPr marL="886968" indent="-228600"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000" dirty="0" smtClean="0">
          <a:solidFill>
            <a:schemeClr val="tx1"/>
          </a:solidFill>
          <a:latin typeface="Calibri" panose="020F0502020204030204" pitchFamily="34" charset="0"/>
        </a:defRPr>
      </a:lvl3pPr>
      <a:lvl4pPr marL="1170432" indent="-228600"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800" dirty="0" smtClean="0">
          <a:solidFill>
            <a:schemeClr val="tx1"/>
          </a:solidFill>
          <a:latin typeface="+mn-lt"/>
        </a:defRPr>
      </a:lvl4pPr>
      <a:lvl5pPr marL="1463040" indent="-228600"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2213" indent="-304747" algn="l" rtl="0" eaLnBrk="1" fontAlgn="base" hangingPunct="1">
        <a:spcBef>
          <a:spcPct val="20000"/>
        </a:spcBef>
        <a:spcAft>
          <a:spcPct val="0"/>
        </a:spcAft>
        <a:buClr>
          <a:schemeClr val="accent2"/>
        </a:buClr>
        <a:buChar char="»"/>
        <a:defRPr sz="2100">
          <a:solidFill>
            <a:schemeClr val="tx1"/>
          </a:solidFill>
          <a:latin typeface="+mn-lt"/>
        </a:defRPr>
      </a:lvl6pPr>
      <a:lvl7pPr marL="3961707" indent="-304747" algn="l" rtl="0" eaLnBrk="1" fontAlgn="base" hangingPunct="1">
        <a:spcBef>
          <a:spcPct val="20000"/>
        </a:spcBef>
        <a:spcAft>
          <a:spcPct val="0"/>
        </a:spcAft>
        <a:buClr>
          <a:schemeClr val="accent2"/>
        </a:buClr>
        <a:buChar char="»"/>
        <a:defRPr sz="2100">
          <a:solidFill>
            <a:schemeClr val="tx1"/>
          </a:solidFill>
          <a:latin typeface="+mn-lt"/>
        </a:defRPr>
      </a:lvl7pPr>
      <a:lvl8pPr marL="4571200" indent="-304747" algn="l" rtl="0" eaLnBrk="1" fontAlgn="base" hangingPunct="1">
        <a:spcBef>
          <a:spcPct val="20000"/>
        </a:spcBef>
        <a:spcAft>
          <a:spcPct val="0"/>
        </a:spcAft>
        <a:buClr>
          <a:schemeClr val="accent2"/>
        </a:buClr>
        <a:buChar char="»"/>
        <a:defRPr sz="2100">
          <a:solidFill>
            <a:schemeClr val="tx1"/>
          </a:solidFill>
          <a:latin typeface="+mn-lt"/>
        </a:defRPr>
      </a:lvl8pPr>
      <a:lvl9pPr marL="5180693" indent="-304747" algn="l" rtl="0" eaLnBrk="1" fontAlgn="base" hangingPunct="1">
        <a:spcBef>
          <a:spcPct val="20000"/>
        </a:spcBef>
        <a:spcAft>
          <a:spcPct val="0"/>
        </a:spcAft>
        <a:buClr>
          <a:schemeClr val="accent2"/>
        </a:buClr>
        <a:buChar char="»"/>
        <a:defRPr sz="2100">
          <a:solidFill>
            <a:schemeClr val="tx1"/>
          </a:solidFill>
          <a:latin typeface="+mn-lt"/>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hidden="1"/>
          <p:cNvSpPr>
            <a:spLocks noGrp="1"/>
          </p:cNvSpPr>
          <p:nvPr>
            <p:ph type="dt" sz="half" idx="2"/>
          </p:nvPr>
        </p:nvSpPr>
        <p:spPr>
          <a:xfrm>
            <a:off x="609600" y="6356354"/>
            <a:ext cx="2843213"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defRPr>
            </a:lvl1pPr>
          </a:lstStyle>
          <a:p>
            <a:fld id="{285138E8-3F3E-4DC5-A5FA-50868B94627A}" type="datetimeFigureOut">
              <a:rPr lang="en-US" smtClean="0">
                <a:solidFill>
                  <a:srgbClr val="4D4D4F">
                    <a:tint val="75000"/>
                  </a:srgbClr>
                </a:solidFill>
                <a:ea typeface="+mn-ea"/>
              </a:rPr>
              <a:pPr/>
              <a:t>29-Feb-24</a:t>
            </a:fld>
            <a:endParaRPr lang="en-US" dirty="0">
              <a:solidFill>
                <a:srgbClr val="4D4D4F">
                  <a:tint val="75000"/>
                </a:srgbClr>
              </a:solidFill>
              <a:ea typeface="+mn-ea"/>
            </a:endParaRPr>
          </a:p>
        </p:txBody>
      </p:sp>
      <p:sp>
        <p:nvSpPr>
          <p:cNvPr id="11" name="Bullet text"/>
          <p:cNvSpPr>
            <a:spLocks noGrp="1" noChangeArrowheads="1"/>
          </p:cNvSpPr>
          <p:nvPr>
            <p:ph type="body" idx="1"/>
          </p:nvPr>
        </p:nvSpPr>
        <p:spPr bwMode="auto">
          <a:xfrm>
            <a:off x="583844" y="1534477"/>
            <a:ext cx="11022371" cy="476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First Level</a:t>
            </a:r>
          </a:p>
          <a:p>
            <a:pPr lvl="1"/>
            <a:r>
              <a:rPr lang="en-US" dirty="0"/>
              <a:t>Second level</a:t>
            </a:r>
          </a:p>
          <a:p>
            <a:pPr lvl="2"/>
            <a:r>
              <a:rPr lang="en-US" dirty="0"/>
              <a:t>Third level</a:t>
            </a:r>
          </a:p>
          <a:p>
            <a:pPr lvl="0"/>
            <a:endParaRPr lang="en-US" dirty="0"/>
          </a:p>
          <a:p>
            <a:pPr lvl="0"/>
            <a:endParaRPr lang="en-US" dirty="0"/>
          </a:p>
        </p:txBody>
      </p:sp>
      <p:sp>
        <p:nvSpPr>
          <p:cNvPr id="58371" name="Slide Title"/>
          <p:cNvSpPr>
            <a:spLocks noGrp="1" noChangeArrowheads="1"/>
          </p:cNvSpPr>
          <p:nvPr>
            <p:ph type="title"/>
          </p:nvPr>
        </p:nvSpPr>
        <p:spPr bwMode="auto">
          <a:xfrm>
            <a:off x="583844"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Click to edit Master title style</a:t>
            </a:r>
          </a:p>
        </p:txBody>
      </p:sp>
      <p:sp>
        <p:nvSpPr>
          <p:cNvPr id="10" name="Footer_page number"/>
          <p:cNvSpPr txBox="1">
            <a:spLocks/>
          </p:cNvSpPr>
          <p:nvPr/>
        </p:nvSpPr>
        <p:spPr>
          <a:xfrm>
            <a:off x="9897961" y="6556249"/>
            <a:ext cx="1840451" cy="269820"/>
          </a:xfrm>
          <a:prstGeom prst="rect">
            <a:avLst/>
          </a:prstGeom>
        </p:spPr>
        <p:txBody>
          <a:bodyPr wrap="square" lIns="121835" tIns="60917" rIns="121835" bIns="60917"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r" fontAlgn="auto">
              <a:spcBef>
                <a:spcPts val="0"/>
              </a:spcBef>
              <a:spcAft>
                <a:spcPts val="0"/>
              </a:spcAft>
              <a:buClrTx/>
              <a:buSzTx/>
              <a:buFontTx/>
              <a:buNone/>
              <a:defRPr/>
            </a:pPr>
            <a:fld id="{349D3042-9933-4C71-BBE3-FA9237566B45}" type="slidenum">
              <a:rPr lang="en-US" sz="1000" kern="0" smtClean="0">
                <a:solidFill>
                  <a:srgbClr val="4D4D4F"/>
                </a:solidFill>
              </a:rPr>
              <a:pPr algn="r" fontAlgn="auto">
                <a:spcBef>
                  <a:spcPts val="0"/>
                </a:spcBef>
                <a:spcAft>
                  <a:spcPts val="0"/>
                </a:spcAft>
                <a:buClrTx/>
                <a:buSzTx/>
                <a:buFontTx/>
                <a:buNone/>
                <a:defRPr/>
              </a:pPr>
              <a:t>‹#›</a:t>
            </a:fld>
            <a:endParaRPr lang="en-US" sz="1100" kern="0" dirty="0">
              <a:solidFill>
                <a:srgbClr val="4D4D4F"/>
              </a:solidFill>
            </a:endParaRPr>
          </a:p>
        </p:txBody>
      </p:sp>
      <p:sp>
        <p:nvSpPr>
          <p:cNvPr id="8" name="Footer_copyright"/>
          <p:cNvSpPr txBox="1">
            <a:spLocks/>
          </p:cNvSpPr>
          <p:nvPr/>
        </p:nvSpPr>
        <p:spPr>
          <a:xfrm>
            <a:off x="9080502" y="6542106"/>
            <a:ext cx="2744799" cy="304221"/>
          </a:xfrm>
          <a:prstGeom prst="rect">
            <a:avLst/>
          </a:prstGeom>
        </p:spPr>
        <p:txBody>
          <a:bodyPr wrap="square" lIns="121835" tIns="60917" rIns="121835" bIns="60917" anchor="ctr">
            <a:noAutofit/>
          </a:bodyPr>
          <a:lstStyle>
            <a:defPPr>
              <a:defRPr lang="en-US"/>
            </a:defPPr>
            <a:lvl1pPr algn="ctr" rtl="0" fontAlgn="base">
              <a:spcBef>
                <a:spcPct val="20000"/>
              </a:spcBef>
              <a:spcAft>
                <a:spcPct val="0"/>
              </a:spcAft>
              <a:buClr>
                <a:schemeClr val="accent2"/>
              </a:buClr>
              <a:buSzPct val="65000"/>
              <a:buFont typeface="Wingdings" pitchFamily="2" charset="2"/>
              <a:defRPr sz="900" kern="1200">
                <a:solidFill>
                  <a:schemeClr val="bg1"/>
                </a:solidFill>
                <a:latin typeface="+mn-lt"/>
                <a:ea typeface="+mn-ea"/>
                <a:cs typeface="+mn-cs"/>
              </a:defRPr>
            </a:lvl1pPr>
            <a:lvl2pPr marL="4572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2pPr>
            <a:lvl3pPr marL="9144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3pPr>
            <a:lvl4pPr marL="13716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4pPr>
            <a:lvl5pPr marL="1828800" algn="l" rtl="0" fontAlgn="base">
              <a:spcBef>
                <a:spcPct val="20000"/>
              </a:spcBef>
              <a:spcAft>
                <a:spcPct val="0"/>
              </a:spcAft>
              <a:buClr>
                <a:schemeClr val="accent2"/>
              </a:buClr>
              <a:buSzPct val="65000"/>
              <a:buFont typeface="Wingdings" pitchFamily="2" charset="2"/>
              <a:defRPr sz="3000" kern="1200">
                <a:solidFill>
                  <a:schemeClr val="tx1"/>
                </a:solidFill>
                <a:latin typeface="Helvetica" pitchFamily="34" charset="0"/>
                <a:ea typeface="+mn-ea"/>
                <a:cs typeface="+mn-cs"/>
              </a:defRPr>
            </a:lvl5pPr>
            <a:lvl6pPr marL="2286000" algn="l" defTabSz="914400" rtl="0" eaLnBrk="1" latinLnBrk="0" hangingPunct="1">
              <a:defRPr sz="3000" kern="1200">
                <a:solidFill>
                  <a:schemeClr val="tx1"/>
                </a:solidFill>
                <a:latin typeface="Helvetica" pitchFamily="34" charset="0"/>
                <a:ea typeface="+mn-ea"/>
                <a:cs typeface="+mn-cs"/>
              </a:defRPr>
            </a:lvl6pPr>
            <a:lvl7pPr marL="2743200" algn="l" defTabSz="914400" rtl="0" eaLnBrk="1" latinLnBrk="0" hangingPunct="1">
              <a:defRPr sz="3000" kern="1200">
                <a:solidFill>
                  <a:schemeClr val="tx1"/>
                </a:solidFill>
                <a:latin typeface="Helvetica" pitchFamily="34" charset="0"/>
                <a:ea typeface="+mn-ea"/>
                <a:cs typeface="+mn-cs"/>
              </a:defRPr>
            </a:lvl7pPr>
            <a:lvl8pPr marL="3200400" algn="l" defTabSz="914400" rtl="0" eaLnBrk="1" latinLnBrk="0" hangingPunct="1">
              <a:defRPr sz="3000" kern="1200">
                <a:solidFill>
                  <a:schemeClr val="tx1"/>
                </a:solidFill>
                <a:latin typeface="Helvetica" pitchFamily="34" charset="0"/>
                <a:ea typeface="+mn-ea"/>
                <a:cs typeface="+mn-cs"/>
              </a:defRPr>
            </a:lvl8pPr>
            <a:lvl9pPr marL="3657600" algn="l" defTabSz="914400" rtl="0" eaLnBrk="1" latinLnBrk="0" hangingPunct="1">
              <a:defRPr sz="3000" kern="1200">
                <a:solidFill>
                  <a:schemeClr val="tx1"/>
                </a:solidFill>
                <a:latin typeface="Helvetica" pitchFamily="34" charset="0"/>
                <a:ea typeface="+mn-ea"/>
                <a:cs typeface="+mn-cs"/>
              </a:defRPr>
            </a:lvl9pPr>
          </a:lstStyle>
          <a:p>
            <a:pPr algn="l" fontAlgn="auto">
              <a:spcBef>
                <a:spcPts val="0"/>
              </a:spcBef>
              <a:spcAft>
                <a:spcPts val="0"/>
              </a:spcAft>
              <a:buClrTx/>
              <a:buSzTx/>
              <a:buFontTx/>
              <a:buNone/>
              <a:defRPr/>
            </a:pPr>
            <a:r>
              <a:rPr lang="en-US" sz="900" kern="0" dirty="0">
                <a:solidFill>
                  <a:srgbClr val="4D4D4F">
                    <a:lumMod val="40000"/>
                    <a:lumOff val="60000"/>
                  </a:srgbClr>
                </a:solidFill>
              </a:rPr>
              <a:t>©2020 Check Point Software Technologies Ltd. </a:t>
            </a:r>
          </a:p>
        </p:txBody>
      </p:sp>
      <p:grpSp>
        <p:nvGrpSpPr>
          <p:cNvPr id="5" name="Group 4"/>
          <p:cNvGrpSpPr/>
          <p:nvPr/>
        </p:nvGrpSpPr>
        <p:grpSpPr>
          <a:xfrm>
            <a:off x="2" y="6505756"/>
            <a:ext cx="12188825" cy="324410"/>
            <a:chOff x="0" y="6505756"/>
            <a:chExt cx="12188825" cy="324410"/>
          </a:xfrm>
        </p:grpSpPr>
        <p:cxnSp>
          <p:nvCxnSpPr>
            <p:cNvPr id="94" name="Footer line"/>
            <p:cNvCxnSpPr/>
            <p:nvPr userDrawn="1"/>
          </p:nvCxnSpPr>
          <p:spPr bwMode="auto">
            <a:xfrm>
              <a:off x="0" y="6505756"/>
              <a:ext cx="12188825" cy="3837"/>
            </a:xfrm>
            <a:prstGeom prst="line">
              <a:avLst/>
            </a:prstGeom>
            <a:solidFill>
              <a:schemeClr val="bg1"/>
            </a:solidFill>
            <a:ln w="3175"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Picture 3"/>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645246" y="6566316"/>
              <a:ext cx="1635304" cy="263850"/>
            </a:xfrm>
            <a:prstGeom prst="rect">
              <a:avLst/>
            </a:prstGeom>
          </p:spPr>
        </p:pic>
      </p:grpSp>
      <p:sp>
        <p:nvSpPr>
          <p:cNvPr id="2" name="Footer Placeholder 1" hidden="1"/>
          <p:cNvSpPr>
            <a:spLocks noGrp="1"/>
          </p:cNvSpPr>
          <p:nvPr>
            <p:ph type="ftr" sz="quarter" idx="3"/>
          </p:nvPr>
        </p:nvSpPr>
        <p:spPr>
          <a:xfrm>
            <a:off x="5934456" y="6536175"/>
            <a:ext cx="3097481" cy="302408"/>
          </a:xfrm>
          <a:prstGeom prst="rect">
            <a:avLst/>
          </a:prstGeom>
        </p:spPr>
        <p:txBody>
          <a:bodyPr vert="horz" lIns="91440" tIns="45720" rIns="91440" bIns="45720" rtlCol="0" anchor="ctr"/>
          <a:lstStyle>
            <a:lvl1pPr algn="ctr">
              <a:defRPr sz="900">
                <a:solidFill>
                  <a:schemeClr val="bg1">
                    <a:lumMod val="75000"/>
                  </a:schemeClr>
                </a:solidFill>
                <a:latin typeface="+mn-lt"/>
                <a:cs typeface="Calibri" panose="020F0502020204030204" pitchFamily="34" charset="0"/>
              </a:defRPr>
            </a:lvl1pPr>
          </a:lstStyle>
          <a:p>
            <a:endParaRPr lang="en-US" dirty="0">
              <a:solidFill>
                <a:srgbClr val="FFFFFF">
                  <a:lumMod val="75000"/>
                </a:srgbClr>
              </a:solidFill>
              <a:ea typeface="+mn-ea"/>
            </a:endParaRPr>
          </a:p>
        </p:txBody>
      </p:sp>
    </p:spTree>
    <p:extLst>
      <p:ext uri="{BB962C8B-B14F-4D97-AF65-F5344CB8AC3E}">
        <p14:creationId xmlns:p14="http://schemas.microsoft.com/office/powerpoint/2010/main" val="2357638029"/>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Lst>
  <p:transition>
    <p:fade/>
  </p:transition>
  <p:hf sldNum="0" hdr="0" ftr="0" dt="0"/>
  <p:txStyles>
    <p:titleStyle>
      <a:lvl1pPr algn="l" rtl="0" eaLnBrk="1" fontAlgn="base" hangingPunct="1">
        <a:lnSpc>
          <a:spcPct val="85000"/>
        </a:lnSpc>
        <a:spcBef>
          <a:spcPct val="0"/>
        </a:spcBef>
        <a:spcAft>
          <a:spcPct val="0"/>
        </a:spcAft>
        <a:defRPr sz="3398"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8" b="1">
          <a:solidFill>
            <a:srgbClr val="4E4E4E"/>
          </a:solidFill>
          <a:latin typeface="Helvetica" pitchFamily="34" charset="0"/>
        </a:defRPr>
      </a:lvl2pPr>
      <a:lvl3pPr algn="l" rtl="0" eaLnBrk="1" fontAlgn="base" hangingPunct="1">
        <a:lnSpc>
          <a:spcPct val="85000"/>
        </a:lnSpc>
        <a:spcBef>
          <a:spcPct val="0"/>
        </a:spcBef>
        <a:spcAft>
          <a:spcPct val="0"/>
        </a:spcAft>
        <a:defRPr sz="3698" b="1">
          <a:solidFill>
            <a:srgbClr val="4E4E4E"/>
          </a:solidFill>
          <a:latin typeface="Helvetica" pitchFamily="34" charset="0"/>
        </a:defRPr>
      </a:lvl3pPr>
      <a:lvl4pPr algn="l" rtl="0" eaLnBrk="1" fontAlgn="base" hangingPunct="1">
        <a:lnSpc>
          <a:spcPct val="85000"/>
        </a:lnSpc>
        <a:spcBef>
          <a:spcPct val="0"/>
        </a:spcBef>
        <a:spcAft>
          <a:spcPct val="0"/>
        </a:spcAft>
        <a:defRPr sz="3698" b="1">
          <a:solidFill>
            <a:srgbClr val="4E4E4E"/>
          </a:solidFill>
          <a:latin typeface="Helvetica" pitchFamily="34" charset="0"/>
        </a:defRPr>
      </a:lvl4pPr>
      <a:lvl5pPr algn="l" rtl="0" eaLnBrk="1" fontAlgn="base" hangingPunct="1">
        <a:lnSpc>
          <a:spcPct val="85000"/>
        </a:lnSpc>
        <a:spcBef>
          <a:spcPct val="0"/>
        </a:spcBef>
        <a:spcAft>
          <a:spcPct val="0"/>
        </a:spcAft>
        <a:defRPr sz="3698" b="1">
          <a:solidFill>
            <a:srgbClr val="4E4E4E"/>
          </a:solidFill>
          <a:latin typeface="Helvetica" pitchFamily="34" charset="0"/>
        </a:defRPr>
      </a:lvl5pPr>
      <a:lvl6pPr marL="609127" algn="l" rtl="0" eaLnBrk="1" fontAlgn="base" hangingPunct="1">
        <a:lnSpc>
          <a:spcPct val="85000"/>
        </a:lnSpc>
        <a:spcBef>
          <a:spcPct val="0"/>
        </a:spcBef>
        <a:spcAft>
          <a:spcPct val="0"/>
        </a:spcAft>
        <a:defRPr sz="3698" b="1">
          <a:solidFill>
            <a:srgbClr val="4E4E4E"/>
          </a:solidFill>
          <a:latin typeface="Helvetica" pitchFamily="34" charset="0"/>
        </a:defRPr>
      </a:lvl6pPr>
      <a:lvl7pPr marL="1218255" algn="l" rtl="0" eaLnBrk="1" fontAlgn="base" hangingPunct="1">
        <a:lnSpc>
          <a:spcPct val="85000"/>
        </a:lnSpc>
        <a:spcBef>
          <a:spcPct val="0"/>
        </a:spcBef>
        <a:spcAft>
          <a:spcPct val="0"/>
        </a:spcAft>
        <a:defRPr sz="3698" b="1">
          <a:solidFill>
            <a:srgbClr val="4E4E4E"/>
          </a:solidFill>
          <a:latin typeface="Helvetica" pitchFamily="34" charset="0"/>
        </a:defRPr>
      </a:lvl7pPr>
      <a:lvl8pPr marL="1827383" algn="l" rtl="0" eaLnBrk="1" fontAlgn="base" hangingPunct="1">
        <a:lnSpc>
          <a:spcPct val="85000"/>
        </a:lnSpc>
        <a:spcBef>
          <a:spcPct val="0"/>
        </a:spcBef>
        <a:spcAft>
          <a:spcPct val="0"/>
        </a:spcAft>
        <a:defRPr sz="3698" b="1">
          <a:solidFill>
            <a:srgbClr val="4E4E4E"/>
          </a:solidFill>
          <a:latin typeface="Helvetica" pitchFamily="34" charset="0"/>
        </a:defRPr>
      </a:lvl8pPr>
      <a:lvl9pPr marL="2436511" algn="l" rtl="0" eaLnBrk="1" fontAlgn="base" hangingPunct="1">
        <a:lnSpc>
          <a:spcPct val="85000"/>
        </a:lnSpc>
        <a:spcBef>
          <a:spcPct val="0"/>
        </a:spcBef>
        <a:spcAft>
          <a:spcPct val="0"/>
        </a:spcAft>
        <a:defRPr sz="3698" b="1">
          <a:solidFill>
            <a:srgbClr val="4E4E4E"/>
          </a:solidFill>
          <a:latin typeface="Helvetica" pitchFamily="34" charset="0"/>
        </a:defRPr>
      </a:lvl9pPr>
    </p:titleStyle>
    <p:bodyStyle>
      <a:lvl1pPr marL="228462" indent="-228462"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8" dirty="0" smtClean="0">
          <a:solidFill>
            <a:schemeClr val="tx1"/>
          </a:solidFill>
          <a:latin typeface="Calibri" panose="020F0502020204030204" pitchFamily="34" charset="0"/>
          <a:ea typeface="+mn-ea"/>
          <a:cs typeface="Calibri" panose="020F0502020204030204" pitchFamily="34" charset="0"/>
        </a:defRPr>
      </a:lvl1pPr>
      <a:lvl2pPr marL="575726" indent="-228462"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8" dirty="0" smtClean="0">
          <a:solidFill>
            <a:schemeClr val="tx1"/>
          </a:solidFill>
          <a:latin typeface="Calibri" panose="020F0502020204030204" pitchFamily="34" charset="0"/>
        </a:defRPr>
      </a:lvl2pPr>
      <a:lvl3pPr marL="886436" indent="-228462"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8" dirty="0" smtClean="0">
          <a:solidFill>
            <a:schemeClr val="tx1"/>
          </a:solidFill>
          <a:latin typeface="Calibri" panose="020F0502020204030204" pitchFamily="34" charset="0"/>
        </a:defRPr>
      </a:lvl3pPr>
      <a:lvl4pPr marL="1169730" indent="-228462"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8" dirty="0" smtClean="0">
          <a:solidFill>
            <a:schemeClr val="tx1"/>
          </a:solidFill>
          <a:latin typeface="+mn-lt"/>
        </a:defRPr>
      </a:lvl4pPr>
      <a:lvl5pPr marL="1462162" indent="-228462"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0202" indent="-304565" algn="l" rtl="0" eaLnBrk="1" fontAlgn="base" hangingPunct="1">
        <a:spcBef>
          <a:spcPct val="20000"/>
        </a:spcBef>
        <a:spcAft>
          <a:spcPct val="0"/>
        </a:spcAft>
        <a:buClr>
          <a:schemeClr val="accent2"/>
        </a:buClr>
        <a:buChar char="»"/>
        <a:defRPr sz="2098">
          <a:solidFill>
            <a:schemeClr val="tx1"/>
          </a:solidFill>
          <a:latin typeface="+mn-lt"/>
        </a:defRPr>
      </a:lvl6pPr>
      <a:lvl7pPr marL="3959330" indent="-304565" algn="l" rtl="0" eaLnBrk="1" fontAlgn="base" hangingPunct="1">
        <a:spcBef>
          <a:spcPct val="20000"/>
        </a:spcBef>
        <a:spcAft>
          <a:spcPct val="0"/>
        </a:spcAft>
        <a:buClr>
          <a:schemeClr val="accent2"/>
        </a:buClr>
        <a:buChar char="»"/>
        <a:defRPr sz="2098">
          <a:solidFill>
            <a:schemeClr val="tx1"/>
          </a:solidFill>
          <a:latin typeface="+mn-lt"/>
        </a:defRPr>
      </a:lvl7pPr>
      <a:lvl8pPr marL="4568458" indent="-304565" algn="l" rtl="0" eaLnBrk="1" fontAlgn="base" hangingPunct="1">
        <a:spcBef>
          <a:spcPct val="20000"/>
        </a:spcBef>
        <a:spcAft>
          <a:spcPct val="0"/>
        </a:spcAft>
        <a:buClr>
          <a:schemeClr val="accent2"/>
        </a:buClr>
        <a:buChar char="»"/>
        <a:defRPr sz="2098">
          <a:solidFill>
            <a:schemeClr val="tx1"/>
          </a:solidFill>
          <a:latin typeface="+mn-lt"/>
        </a:defRPr>
      </a:lvl8pPr>
      <a:lvl9pPr marL="5177585" indent="-304565" algn="l" rtl="0" eaLnBrk="1" fontAlgn="base" hangingPunct="1">
        <a:spcBef>
          <a:spcPct val="20000"/>
        </a:spcBef>
        <a:spcAft>
          <a:spcPct val="0"/>
        </a:spcAft>
        <a:buClr>
          <a:schemeClr val="accent2"/>
        </a:buClr>
        <a:buChar char="»"/>
        <a:defRPr sz="2098">
          <a:solidFill>
            <a:schemeClr val="tx1"/>
          </a:solidFill>
          <a:latin typeface="+mn-lt"/>
        </a:defRPr>
      </a:lvl9pPr>
    </p:bodyStyle>
    <p:otherStyle>
      <a:defPPr>
        <a:defRPr lang="en-US"/>
      </a:defPPr>
      <a:lvl1pPr marL="0" algn="l" defTabSz="1218255" rtl="0" eaLnBrk="1" latinLnBrk="0" hangingPunct="1">
        <a:defRPr sz="2398" kern="1200">
          <a:solidFill>
            <a:schemeClr val="tx1"/>
          </a:solidFill>
          <a:latin typeface="+mn-lt"/>
          <a:ea typeface="+mn-ea"/>
          <a:cs typeface="+mn-cs"/>
        </a:defRPr>
      </a:lvl1pPr>
      <a:lvl2pPr marL="609127" algn="l" defTabSz="1218255" rtl="0" eaLnBrk="1" latinLnBrk="0" hangingPunct="1">
        <a:defRPr sz="2398" kern="1200">
          <a:solidFill>
            <a:schemeClr val="tx1"/>
          </a:solidFill>
          <a:latin typeface="+mn-lt"/>
          <a:ea typeface="+mn-ea"/>
          <a:cs typeface="+mn-cs"/>
        </a:defRPr>
      </a:lvl2pPr>
      <a:lvl3pPr marL="1218255" algn="l" defTabSz="1218255" rtl="0" eaLnBrk="1" latinLnBrk="0" hangingPunct="1">
        <a:defRPr sz="2398" kern="1200">
          <a:solidFill>
            <a:schemeClr val="tx1"/>
          </a:solidFill>
          <a:latin typeface="+mn-lt"/>
          <a:ea typeface="+mn-ea"/>
          <a:cs typeface="+mn-cs"/>
        </a:defRPr>
      </a:lvl3pPr>
      <a:lvl4pPr marL="1827383" algn="l" defTabSz="1218255" rtl="0" eaLnBrk="1" latinLnBrk="0" hangingPunct="1">
        <a:defRPr sz="2398" kern="1200">
          <a:solidFill>
            <a:schemeClr val="tx1"/>
          </a:solidFill>
          <a:latin typeface="+mn-lt"/>
          <a:ea typeface="+mn-ea"/>
          <a:cs typeface="+mn-cs"/>
        </a:defRPr>
      </a:lvl4pPr>
      <a:lvl5pPr marL="2436511" algn="l" defTabSz="1218255" rtl="0" eaLnBrk="1" latinLnBrk="0" hangingPunct="1">
        <a:defRPr sz="2398" kern="1200">
          <a:solidFill>
            <a:schemeClr val="tx1"/>
          </a:solidFill>
          <a:latin typeface="+mn-lt"/>
          <a:ea typeface="+mn-ea"/>
          <a:cs typeface="+mn-cs"/>
        </a:defRPr>
      </a:lvl5pPr>
      <a:lvl6pPr marL="3045639" algn="l" defTabSz="1218255" rtl="0" eaLnBrk="1" latinLnBrk="0" hangingPunct="1">
        <a:defRPr sz="2398" kern="1200">
          <a:solidFill>
            <a:schemeClr val="tx1"/>
          </a:solidFill>
          <a:latin typeface="+mn-lt"/>
          <a:ea typeface="+mn-ea"/>
          <a:cs typeface="+mn-cs"/>
        </a:defRPr>
      </a:lvl6pPr>
      <a:lvl7pPr marL="3654766" algn="l" defTabSz="1218255" rtl="0" eaLnBrk="1" latinLnBrk="0" hangingPunct="1">
        <a:defRPr sz="2398" kern="1200">
          <a:solidFill>
            <a:schemeClr val="tx1"/>
          </a:solidFill>
          <a:latin typeface="+mn-lt"/>
          <a:ea typeface="+mn-ea"/>
          <a:cs typeface="+mn-cs"/>
        </a:defRPr>
      </a:lvl7pPr>
      <a:lvl8pPr marL="4263893" algn="l" defTabSz="1218255" rtl="0" eaLnBrk="1" latinLnBrk="0" hangingPunct="1">
        <a:defRPr sz="2398" kern="1200">
          <a:solidFill>
            <a:schemeClr val="tx1"/>
          </a:solidFill>
          <a:latin typeface="+mn-lt"/>
          <a:ea typeface="+mn-ea"/>
          <a:cs typeface="+mn-cs"/>
        </a:defRPr>
      </a:lvl8pPr>
      <a:lvl9pPr marL="4873022" algn="l" defTabSz="1218255" rtl="0" eaLnBrk="1" latinLnBrk="0" hangingPunct="1">
        <a:defRPr sz="23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56.png"/></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94.gif"/><Relationship Id="rId3" Type="http://schemas.openxmlformats.org/officeDocument/2006/relationships/image" Target="../media/image89.jpg"/><Relationship Id="rId7"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 Id="rId9" Type="http://schemas.openxmlformats.org/officeDocument/2006/relationships/image" Target="../media/image95.png"/></Relationships>
</file>

<file path=ppt/slides/_rels/slide12.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1.sv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8.jpg"/><Relationship Id="rId7" Type="http://schemas.openxmlformats.org/officeDocument/2006/relationships/image" Target="../media/image91.sv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90.png"/><Relationship Id="rId5" Type="http://schemas.openxmlformats.org/officeDocument/2006/relationships/image" Target="../media/image100.png"/><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3" Type="http://schemas.openxmlformats.org/officeDocument/2006/relationships/image" Target="../media/image101.jpg"/><Relationship Id="rId7" Type="http://schemas.openxmlformats.org/officeDocument/2006/relationships/image" Target="../media/image103.png"/><Relationship Id="rId12" Type="http://schemas.openxmlformats.org/officeDocument/2006/relationships/image" Target="../media/image108.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91.svg"/><Relationship Id="rId10" Type="http://schemas.openxmlformats.org/officeDocument/2006/relationships/image" Target="../media/image106.png"/><Relationship Id="rId4" Type="http://schemas.openxmlformats.org/officeDocument/2006/relationships/image" Target="../media/image90.png"/><Relationship Id="rId9" Type="http://schemas.openxmlformats.org/officeDocument/2006/relationships/image" Target="../media/image105.png"/><Relationship Id="rId14" Type="http://schemas.openxmlformats.org/officeDocument/2006/relationships/image" Target="../media/image110.png"/></Relationships>
</file>

<file path=ppt/slides/_rels/slide15.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image" Target="../media/image111.jpe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91.svg"/><Relationship Id="rId10" Type="http://schemas.openxmlformats.org/officeDocument/2006/relationships/image" Target="../media/image116.png"/><Relationship Id="rId4" Type="http://schemas.openxmlformats.org/officeDocument/2006/relationships/image" Target="../media/image90.png"/><Relationship Id="rId9" Type="http://schemas.openxmlformats.org/officeDocument/2006/relationships/image" Target="../media/image115.png"/><Relationship Id="rId14" Type="http://schemas.openxmlformats.org/officeDocument/2006/relationships/image" Target="../media/image120.png"/></Relationships>
</file>

<file path=ppt/slides/_rels/slide16.xml.rels><?xml version="1.0" encoding="UTF-8" standalone="yes"?>
<Relationships xmlns="http://schemas.openxmlformats.org/package/2006/relationships"><Relationship Id="rId8" Type="http://schemas.openxmlformats.org/officeDocument/2006/relationships/image" Target="../media/image123.gif"/><Relationship Id="rId3" Type="http://schemas.openxmlformats.org/officeDocument/2006/relationships/image" Target="../media/image89.jpg"/><Relationship Id="rId7" Type="http://schemas.openxmlformats.org/officeDocument/2006/relationships/image" Target="../media/image91.sv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90.png"/><Relationship Id="rId11" Type="http://schemas.openxmlformats.org/officeDocument/2006/relationships/image" Target="../media/image126.png"/><Relationship Id="rId5" Type="http://schemas.openxmlformats.org/officeDocument/2006/relationships/image" Target="../media/image122.svg"/><Relationship Id="rId10" Type="http://schemas.openxmlformats.org/officeDocument/2006/relationships/image" Target="../media/image125.gif"/><Relationship Id="rId4" Type="http://schemas.openxmlformats.org/officeDocument/2006/relationships/image" Target="../media/image121.png"/><Relationship Id="rId9" Type="http://schemas.openxmlformats.org/officeDocument/2006/relationships/image" Target="../media/image124.gif"/></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5.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4.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30.png"/><Relationship Id="rId11" Type="http://schemas.openxmlformats.org/officeDocument/2006/relationships/image" Target="../media/image91.svg"/><Relationship Id="rId5" Type="http://schemas.openxmlformats.org/officeDocument/2006/relationships/image" Target="../media/image129.png"/><Relationship Id="rId10" Type="http://schemas.openxmlformats.org/officeDocument/2006/relationships/image" Target="../media/image90.png"/><Relationship Id="rId4" Type="http://schemas.openxmlformats.org/officeDocument/2006/relationships/image" Target="../media/image128.png"/><Relationship Id="rId9" Type="http://schemas.openxmlformats.org/officeDocument/2006/relationships/image" Target="../media/image133.png"/></Relationships>
</file>

<file path=ppt/slides/_rels/slide18.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18.xml"/><Relationship Id="rId1" Type="http://schemas.openxmlformats.org/officeDocument/2006/relationships/slideLayout" Target="../slideLayouts/slideLayout45.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19.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 Id="rId14" Type="http://schemas.openxmlformats.org/officeDocument/2006/relationships/image" Target="../media/image1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54.jpeg"/><Relationship Id="rId7" Type="http://schemas.openxmlformats.org/officeDocument/2006/relationships/image" Target="../media/image157.png"/><Relationship Id="rId2" Type="http://schemas.openxmlformats.org/officeDocument/2006/relationships/notesSlide" Target="../notesSlides/notesSlide20.xml"/><Relationship Id="rId1" Type="http://schemas.openxmlformats.org/officeDocument/2006/relationships/slideLayout" Target="../slideLayouts/slideLayout47.xml"/><Relationship Id="rId6" Type="http://schemas.microsoft.com/office/2007/relationships/hdphoto" Target="../media/hdphoto3.wdp"/><Relationship Id="rId5" Type="http://schemas.openxmlformats.org/officeDocument/2006/relationships/image" Target="../media/image156.png"/><Relationship Id="rId4" Type="http://schemas.openxmlformats.org/officeDocument/2006/relationships/image" Target="../media/image155.png"/></Relationships>
</file>

<file path=ppt/slides/_rels/slide21.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image" Target="../media/image158.png"/><Relationship Id="rId7" Type="http://schemas.openxmlformats.org/officeDocument/2006/relationships/image" Target="../media/image161.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160.png"/><Relationship Id="rId5" Type="http://schemas.openxmlformats.org/officeDocument/2006/relationships/image" Target="../media/image143.png"/><Relationship Id="rId4" Type="http://schemas.openxmlformats.org/officeDocument/2006/relationships/image" Target="../media/image159.png"/><Relationship Id="rId9" Type="http://schemas.openxmlformats.org/officeDocument/2006/relationships/image" Target="../media/image110.png"/></Relationships>
</file>

<file path=ppt/slides/_rels/slide2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43.png"/><Relationship Id="rId7" Type="http://schemas.openxmlformats.org/officeDocument/2006/relationships/image" Target="../media/image162.jpe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165.jpeg"/><Relationship Id="rId5" Type="http://schemas.openxmlformats.org/officeDocument/2006/relationships/image" Target="../media/image164.jpeg"/><Relationship Id="rId4" Type="http://schemas.openxmlformats.org/officeDocument/2006/relationships/image" Target="../media/image163.png"/></Relationships>
</file>

<file path=ppt/slides/_rels/slide2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2.png"/><Relationship Id="rId7" Type="http://schemas.openxmlformats.org/officeDocument/2006/relationships/image" Target="../media/image162.jpe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167.png"/><Relationship Id="rId5" Type="http://schemas.openxmlformats.org/officeDocument/2006/relationships/image" Target="../media/image94.gif"/><Relationship Id="rId4" Type="http://schemas.openxmlformats.org/officeDocument/2006/relationships/image" Target="../media/image166.png"/></Relationships>
</file>

<file path=ppt/slides/_rels/slide24.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171.png"/><Relationship Id="rId5" Type="http://schemas.openxmlformats.org/officeDocument/2006/relationships/image" Target="../media/image170.png"/><Relationship Id="rId10" Type="http://schemas.openxmlformats.org/officeDocument/2006/relationships/image" Target="../media/image126.png"/><Relationship Id="rId4" Type="http://schemas.openxmlformats.org/officeDocument/2006/relationships/image" Target="../media/image169.png"/><Relationship Id="rId9" Type="http://schemas.openxmlformats.org/officeDocument/2006/relationships/image" Target="../media/image162.jpeg"/></Relationships>
</file>

<file path=ppt/slides/_rels/slide25.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97.png"/><Relationship Id="rId3" Type="http://schemas.openxmlformats.org/officeDocument/2006/relationships/image" Target="../media/image174.png"/><Relationship Id="rId7" Type="http://schemas.openxmlformats.org/officeDocument/2006/relationships/image" Target="../media/image178.png"/><Relationship Id="rId12" Type="http://schemas.openxmlformats.org/officeDocument/2006/relationships/image" Target="../media/image162.jpe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177.png"/><Relationship Id="rId11" Type="http://schemas.openxmlformats.org/officeDocument/2006/relationships/image" Target="../media/image182.png"/><Relationship Id="rId5" Type="http://schemas.openxmlformats.org/officeDocument/2006/relationships/image" Target="../media/image176.png"/><Relationship Id="rId10" Type="http://schemas.openxmlformats.org/officeDocument/2006/relationships/image" Target="../media/image181.png"/><Relationship Id="rId4" Type="http://schemas.openxmlformats.org/officeDocument/2006/relationships/image" Target="../media/image175.png"/><Relationship Id="rId9" Type="http://schemas.openxmlformats.org/officeDocument/2006/relationships/image" Target="../media/image180.jpeg"/></Relationships>
</file>

<file path=ppt/slides/_rels/slide26.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image" Target="../media/image193.png"/><Relationship Id="rId3" Type="http://schemas.openxmlformats.org/officeDocument/2006/relationships/image" Target="../media/image183.png"/><Relationship Id="rId7" Type="http://schemas.openxmlformats.org/officeDocument/2006/relationships/image" Target="../media/image187.jpeg"/><Relationship Id="rId12" Type="http://schemas.openxmlformats.org/officeDocument/2006/relationships/image" Target="../media/image192.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186.png"/><Relationship Id="rId11" Type="http://schemas.openxmlformats.org/officeDocument/2006/relationships/image" Target="../media/image191.png"/><Relationship Id="rId5" Type="http://schemas.openxmlformats.org/officeDocument/2006/relationships/image" Target="../media/image185.png"/><Relationship Id="rId10" Type="http://schemas.openxmlformats.org/officeDocument/2006/relationships/image" Target="../media/image190.png"/><Relationship Id="rId4" Type="http://schemas.openxmlformats.org/officeDocument/2006/relationships/image" Target="../media/image184.jpg"/><Relationship Id="rId9" Type="http://schemas.openxmlformats.org/officeDocument/2006/relationships/image" Target="../media/image189.gif"/><Relationship Id="rId14" Type="http://schemas.openxmlformats.org/officeDocument/2006/relationships/image" Target="../media/image162.jpeg"/></Relationships>
</file>

<file path=ppt/slides/_rels/slide27.xml.rels><?xml version="1.0" encoding="UTF-8" standalone="yes"?>
<Relationships xmlns="http://schemas.openxmlformats.org/package/2006/relationships"><Relationship Id="rId8" Type="http://schemas.openxmlformats.org/officeDocument/2006/relationships/image" Target="../media/image199.png"/><Relationship Id="rId13" Type="http://schemas.openxmlformats.org/officeDocument/2006/relationships/image" Target="../media/image203.png"/><Relationship Id="rId18" Type="http://schemas.openxmlformats.org/officeDocument/2006/relationships/image" Target="../media/image97.png"/><Relationship Id="rId3" Type="http://schemas.openxmlformats.org/officeDocument/2006/relationships/image" Target="../media/image194.png"/><Relationship Id="rId7" Type="http://schemas.openxmlformats.org/officeDocument/2006/relationships/image" Target="../media/image198.png"/><Relationship Id="rId12" Type="http://schemas.openxmlformats.org/officeDocument/2006/relationships/image" Target="../media/image202.png"/><Relationship Id="rId17" Type="http://schemas.openxmlformats.org/officeDocument/2006/relationships/image" Target="../media/image126.png"/><Relationship Id="rId2" Type="http://schemas.openxmlformats.org/officeDocument/2006/relationships/notesSlide" Target="../notesSlides/notesSlide27.xml"/><Relationship Id="rId16" Type="http://schemas.openxmlformats.org/officeDocument/2006/relationships/image" Target="../media/image95.png"/><Relationship Id="rId1" Type="http://schemas.openxmlformats.org/officeDocument/2006/relationships/slideLayout" Target="../slideLayouts/slideLayout8.xml"/><Relationship Id="rId6" Type="http://schemas.openxmlformats.org/officeDocument/2006/relationships/image" Target="../media/image197.png"/><Relationship Id="rId11" Type="http://schemas.openxmlformats.org/officeDocument/2006/relationships/image" Target="../media/image201.png"/><Relationship Id="rId5" Type="http://schemas.openxmlformats.org/officeDocument/2006/relationships/image" Target="../media/image196.png"/><Relationship Id="rId15" Type="http://schemas.openxmlformats.org/officeDocument/2006/relationships/image" Target="../media/image154.jpeg"/><Relationship Id="rId10" Type="http://schemas.openxmlformats.org/officeDocument/2006/relationships/image" Target="../media/image106.png"/><Relationship Id="rId19" Type="http://schemas.openxmlformats.org/officeDocument/2006/relationships/image" Target="../media/image117.png"/><Relationship Id="rId4" Type="http://schemas.openxmlformats.org/officeDocument/2006/relationships/image" Target="../media/image195.png"/><Relationship Id="rId9" Type="http://schemas.openxmlformats.org/officeDocument/2006/relationships/image" Target="../media/image200.png"/><Relationship Id="rId14" Type="http://schemas.openxmlformats.org/officeDocument/2006/relationships/image" Target="../media/image204.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8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1.xml"/><Relationship Id="rId1" Type="http://schemas.openxmlformats.org/officeDocument/2006/relationships/slideLayout" Target="../slideLayouts/slideLayout152.xml"/><Relationship Id="rId4" Type="http://schemas.openxmlformats.org/officeDocument/2006/relationships/image" Target="../media/image206.png"/></Relationships>
</file>

<file path=ppt/slides/_rels/slide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jpeg"/><Relationship Id="rId7"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59.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jpeg"/><Relationship Id="rId9"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6.xml"/><Relationship Id="rId1" Type="http://schemas.openxmlformats.org/officeDocument/2006/relationships/slideLayout" Target="../slideLayouts/slideLayout62.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jpeg"/></Relationships>
</file>

<file path=ppt/slides/_rels/slide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7.xml"/><Relationship Id="rId1" Type="http://schemas.openxmlformats.org/officeDocument/2006/relationships/slideLayout" Target="../slideLayouts/slideLayout62.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jpe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65.jpe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8.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62.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5" Type="http://schemas.openxmlformats.org/officeDocument/2006/relationships/image" Target="../media/image67.jpe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png"/><Relationship Id="rId19" Type="http://schemas.openxmlformats.org/officeDocument/2006/relationships/image" Target="../media/image81.png"/><Relationship Id="rId4" Type="http://schemas.openxmlformats.org/officeDocument/2006/relationships/image" Target="../media/image66.jpe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s>
</file>

<file path=ppt/slides/_rels/slide9.xml.rels><?xml version="1.0" encoding="UTF-8" standalone="yes"?>
<Relationships xmlns="http://schemas.openxmlformats.org/package/2006/relationships"><Relationship Id="rId3" Type="http://schemas.openxmlformats.org/officeDocument/2006/relationships/image" Target="../media/image65.jpeg"/><Relationship Id="rId7"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106.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body" idx="4294967295"/>
          </p:nvPr>
        </p:nvSpPr>
        <p:spPr>
          <a:xfrm>
            <a:off x="482294" y="2122554"/>
            <a:ext cx="5247942" cy="1359734"/>
          </a:xfrm>
          <a:prstGeom prst="rect">
            <a:avLst/>
          </a:prstGeom>
          <a:noFill/>
          <a:ln>
            <a:noFill/>
          </a:ln>
        </p:spPr>
        <p:txBody>
          <a:bodyPr spcFirstLastPara="1" vert="horz" wrap="square" lIns="91401" tIns="45688" rIns="91401" bIns="45688" numCol="1" anchor="t" anchorCtr="0" compatLnSpc="1">
            <a:prstTxWarp prst="textNoShape">
              <a:avLst/>
            </a:prstTxWarp>
            <a:noAutofit/>
          </a:bodyPr>
          <a:lstStyle/>
          <a:p>
            <a:pPr marL="0" indent="0">
              <a:spcBef>
                <a:spcPts val="0"/>
              </a:spcBef>
              <a:buSzPts val="2550"/>
              <a:buNone/>
            </a:pPr>
            <a:r>
              <a:rPr lang="en-US" sz="3200" b="1" cap="none" dirty="0">
                <a:solidFill>
                  <a:schemeClr val="lt1"/>
                </a:solidFill>
              </a:rPr>
              <a:t>CHECK POINT HARMONY</a:t>
            </a:r>
          </a:p>
          <a:p>
            <a:pPr marL="0" indent="0">
              <a:spcBef>
                <a:spcPts val="0"/>
              </a:spcBef>
              <a:buSzPts val="2550"/>
              <a:buNone/>
            </a:pPr>
            <a:r>
              <a:rPr lang="en-US" sz="3200" dirty="0">
                <a:solidFill>
                  <a:schemeClr val="lt1"/>
                </a:solidFill>
              </a:rPr>
              <a:t>HIGHEST LEVEL OF SECURITY FOR REMOTE USERS </a:t>
            </a:r>
            <a:endParaRPr sz="3200" dirty="0"/>
          </a:p>
          <a:p>
            <a:pPr indent="-77447">
              <a:buNone/>
            </a:pPr>
            <a:endParaRPr sz="3200" dirty="0"/>
          </a:p>
        </p:txBody>
      </p:sp>
      <p:cxnSp>
        <p:nvCxnSpPr>
          <p:cNvPr id="185" name="Google Shape;185;p1"/>
          <p:cNvCxnSpPr/>
          <p:nvPr/>
        </p:nvCxnSpPr>
        <p:spPr>
          <a:xfrm>
            <a:off x="-380905" y="1947302"/>
            <a:ext cx="4826270" cy="0"/>
          </a:xfrm>
          <a:prstGeom prst="straightConnector1">
            <a:avLst/>
          </a:prstGeom>
          <a:solidFill>
            <a:schemeClr val="lt1"/>
          </a:solidFill>
          <a:ln w="12700" cap="rnd" cmpd="sng">
            <a:solidFill>
              <a:schemeClr val="lt1"/>
            </a:solidFill>
            <a:prstDash val="solid"/>
            <a:round/>
            <a:headEnd type="none" w="sm" len="sm"/>
            <a:tailEnd type="none" w="sm" len="sm"/>
          </a:ln>
        </p:spPr>
      </p:cxnSp>
      <p:pic>
        <p:nvPicPr>
          <p:cNvPr id="186" name="Google Shape;186;p1" descr="Misfortune Cookie by Check Point"/>
          <p:cNvPicPr preferRelativeResize="0"/>
          <p:nvPr/>
        </p:nvPicPr>
        <p:blipFill rotWithShape="1">
          <a:blip r:embed="rId3">
            <a:alphaModFix/>
          </a:blip>
          <a:srcRect/>
          <a:stretch/>
        </p:blipFill>
        <p:spPr>
          <a:xfrm>
            <a:off x="460252" y="1016628"/>
            <a:ext cx="3692517" cy="612181"/>
          </a:xfrm>
          <a:prstGeom prst="rect">
            <a:avLst/>
          </a:prstGeom>
          <a:noFill/>
          <a:ln>
            <a:noFill/>
          </a:ln>
        </p:spPr>
      </p:pic>
      <p:sp>
        <p:nvSpPr>
          <p:cNvPr id="2" name="Footer Placeholder 1" hidden="1"/>
          <p:cNvSpPr>
            <a:spLocks noGrp="1"/>
          </p:cNvSpPr>
          <p:nvPr>
            <p:ph type="ftr" sz="quarter" idx="11"/>
          </p:nvPr>
        </p:nvSpPr>
        <p:spPr/>
        <p:txBody>
          <a:bodyPr/>
          <a:lstStyle/>
          <a:p>
            <a:r>
              <a:rPr lang="en-US" dirty="0">
                <a:solidFill>
                  <a:srgbClr val="4D4D4F">
                    <a:tint val="75000"/>
                  </a:srgbClr>
                </a:solidFill>
              </a:rPr>
              <a:t> [Internal Use] for Check Point employees​</a:t>
            </a:r>
          </a:p>
        </p:txBody>
      </p:sp>
      <p:sp>
        <p:nvSpPr>
          <p:cNvPr id="3" name="Date Placeholder 2" hidden="1"/>
          <p:cNvSpPr>
            <a:spLocks noGrp="1"/>
          </p:cNvSpPr>
          <p:nvPr>
            <p:ph type="dt" idx="10"/>
          </p:nvPr>
        </p:nvSpPr>
        <p:spPr/>
        <p:txBody>
          <a:bodyPr/>
          <a:lstStyle/>
          <a:p>
            <a:endParaRPr lang="en-US" dirty="0">
              <a:solidFill>
                <a:srgbClr val="4D4D4F">
                  <a:tint val="75000"/>
                </a:srgbClr>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546" y="5017273"/>
            <a:ext cx="931335" cy="914400"/>
          </a:xfrm>
          <a:prstGeom prst="rect">
            <a:avLst/>
          </a:prstGeom>
        </p:spPr>
      </p:pic>
    </p:spTree>
    <p:extLst>
      <p:ext uri="{BB962C8B-B14F-4D97-AF65-F5344CB8AC3E}">
        <p14:creationId xmlns:p14="http://schemas.microsoft.com/office/powerpoint/2010/main" val="420615365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D1436F6B-6078-47C2-96EF-122E14779BCF}"/>
              </a:ext>
            </a:extLst>
          </p:cNvPr>
          <p:cNvSpPr txBox="1">
            <a:spLocks/>
          </p:cNvSpPr>
          <p:nvPr/>
        </p:nvSpPr>
        <p:spPr bwMode="auto">
          <a:xfrm>
            <a:off x="513263" y="253308"/>
            <a:ext cx="11209619" cy="711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algn="l" rtl="0" eaLnBrk="1" fontAlgn="base" hangingPunct="1">
              <a:lnSpc>
                <a:spcPct val="85000"/>
              </a:lnSpc>
              <a:spcBef>
                <a:spcPct val="0"/>
              </a:spcBef>
              <a:spcAft>
                <a:spcPct val="0"/>
              </a:spcAft>
              <a:defRPr sz="3399"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9" b="1">
                <a:solidFill>
                  <a:srgbClr val="4E4E4E"/>
                </a:solidFill>
                <a:latin typeface="Helvetica" pitchFamily="34" charset="0"/>
              </a:defRPr>
            </a:lvl2pPr>
            <a:lvl3pPr algn="l" rtl="0" eaLnBrk="1" fontAlgn="base" hangingPunct="1">
              <a:lnSpc>
                <a:spcPct val="85000"/>
              </a:lnSpc>
              <a:spcBef>
                <a:spcPct val="0"/>
              </a:spcBef>
              <a:spcAft>
                <a:spcPct val="0"/>
              </a:spcAft>
              <a:defRPr sz="3699" b="1">
                <a:solidFill>
                  <a:srgbClr val="4E4E4E"/>
                </a:solidFill>
                <a:latin typeface="Helvetica" pitchFamily="34" charset="0"/>
              </a:defRPr>
            </a:lvl3pPr>
            <a:lvl4pPr algn="l" rtl="0" eaLnBrk="1" fontAlgn="base" hangingPunct="1">
              <a:lnSpc>
                <a:spcPct val="85000"/>
              </a:lnSpc>
              <a:spcBef>
                <a:spcPct val="0"/>
              </a:spcBef>
              <a:spcAft>
                <a:spcPct val="0"/>
              </a:spcAft>
              <a:defRPr sz="3699" b="1">
                <a:solidFill>
                  <a:srgbClr val="4E4E4E"/>
                </a:solidFill>
                <a:latin typeface="Helvetica" pitchFamily="34" charset="0"/>
              </a:defRPr>
            </a:lvl4pPr>
            <a:lvl5pPr algn="l" rtl="0" eaLnBrk="1" fontAlgn="base" hangingPunct="1">
              <a:lnSpc>
                <a:spcPct val="85000"/>
              </a:lnSpc>
              <a:spcBef>
                <a:spcPct val="0"/>
              </a:spcBef>
              <a:spcAft>
                <a:spcPct val="0"/>
              </a:spcAft>
              <a:defRPr sz="3699" b="1">
                <a:solidFill>
                  <a:srgbClr val="4E4E4E"/>
                </a:solidFill>
                <a:latin typeface="Helvetica" pitchFamily="34" charset="0"/>
              </a:defRPr>
            </a:lvl5pPr>
            <a:lvl6pPr marL="609310" algn="l" rtl="0" eaLnBrk="1" fontAlgn="base" hangingPunct="1">
              <a:lnSpc>
                <a:spcPct val="85000"/>
              </a:lnSpc>
              <a:spcBef>
                <a:spcPct val="0"/>
              </a:spcBef>
              <a:spcAft>
                <a:spcPct val="0"/>
              </a:spcAft>
              <a:defRPr sz="3699" b="1">
                <a:solidFill>
                  <a:srgbClr val="4E4E4E"/>
                </a:solidFill>
                <a:latin typeface="Helvetica" pitchFamily="34" charset="0"/>
              </a:defRPr>
            </a:lvl6pPr>
            <a:lvl7pPr marL="1218621" algn="l" rtl="0" eaLnBrk="1" fontAlgn="base" hangingPunct="1">
              <a:lnSpc>
                <a:spcPct val="85000"/>
              </a:lnSpc>
              <a:spcBef>
                <a:spcPct val="0"/>
              </a:spcBef>
              <a:spcAft>
                <a:spcPct val="0"/>
              </a:spcAft>
              <a:defRPr sz="3699" b="1">
                <a:solidFill>
                  <a:srgbClr val="4E4E4E"/>
                </a:solidFill>
                <a:latin typeface="Helvetica" pitchFamily="34" charset="0"/>
              </a:defRPr>
            </a:lvl7pPr>
            <a:lvl8pPr marL="1827931" algn="l" rtl="0" eaLnBrk="1" fontAlgn="base" hangingPunct="1">
              <a:lnSpc>
                <a:spcPct val="85000"/>
              </a:lnSpc>
              <a:spcBef>
                <a:spcPct val="0"/>
              </a:spcBef>
              <a:spcAft>
                <a:spcPct val="0"/>
              </a:spcAft>
              <a:defRPr sz="3699" b="1">
                <a:solidFill>
                  <a:srgbClr val="4E4E4E"/>
                </a:solidFill>
                <a:latin typeface="Helvetica" pitchFamily="34" charset="0"/>
              </a:defRPr>
            </a:lvl8pPr>
            <a:lvl9pPr marL="2437242" algn="l" rtl="0" eaLnBrk="1" fontAlgn="base" hangingPunct="1">
              <a:lnSpc>
                <a:spcPct val="85000"/>
              </a:lnSpc>
              <a:spcBef>
                <a:spcPct val="0"/>
              </a:spcBef>
              <a:spcAft>
                <a:spcPct val="0"/>
              </a:spcAft>
              <a:defRPr sz="3699" b="1">
                <a:solidFill>
                  <a:srgbClr val="4E4E4E"/>
                </a:solidFill>
                <a:latin typeface="Helvetica" pitchFamily="34" charset="0"/>
              </a:defRPr>
            </a:lvl9pPr>
          </a:lstStyle>
          <a:p>
            <a:pPr algn="ctr">
              <a:buClrTx/>
              <a:buFontTx/>
            </a:pPr>
            <a:r>
              <a:rPr lang="en-US" sz="3200" b="1" dirty="0">
                <a:solidFill>
                  <a:srgbClr val="B1527C"/>
                </a:solidFill>
              </a:rPr>
              <a:t>HARMONIZE SECURITY FOR USERS &amp; ACCESS</a:t>
            </a:r>
            <a:br>
              <a:rPr lang="en-GB" sz="3200" b="1" dirty="0">
                <a:solidFill>
                  <a:srgbClr val="B1527C"/>
                </a:solidFill>
              </a:rPr>
            </a:br>
            <a:r>
              <a:rPr lang="en-GB" sz="3200" dirty="0">
                <a:solidFill>
                  <a:srgbClr val="B1527C"/>
                </a:solidFill>
              </a:rPr>
              <a:t>HIGHEST LEVEL OF SECURITY</a:t>
            </a:r>
          </a:p>
          <a:p>
            <a:pPr algn="ctr">
              <a:buClrTx/>
              <a:buFontTx/>
            </a:pPr>
            <a:endParaRPr lang="en-GB" sz="3200" b="1" dirty="0">
              <a:solidFill>
                <a:srgbClr val="700046"/>
              </a:solidFill>
            </a:endParaRPr>
          </a:p>
        </p:txBody>
      </p:sp>
      <p:sp>
        <p:nvSpPr>
          <p:cNvPr id="3" name="Footer Placeholder 2" hidden="1"/>
          <p:cNvSpPr>
            <a:spLocks noGrp="1"/>
          </p:cNvSpPr>
          <p:nvPr>
            <p:ph type="ftr" sz="quarter" idx="11"/>
          </p:nvPr>
        </p:nvSpPr>
        <p:spPr/>
        <p:txBody>
          <a:bodyPr/>
          <a:lstStyle/>
          <a:p>
            <a:pPr defTabSz="914126">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defTabSz="914126" fontAlgn="base">
              <a:spcBef>
                <a:spcPct val="20000"/>
              </a:spcBef>
              <a:spcAft>
                <a:spcPct val="0"/>
              </a:spcAft>
              <a:buClr>
                <a:srgbClr val="FF0000"/>
              </a:buClr>
              <a:buSzPct val="65000"/>
              <a:defRPr/>
            </a:pPr>
            <a:endParaRPr lang="en-US" kern="1200" dirty="0">
              <a:solidFill>
                <a:srgbClr val="4D4D4F">
                  <a:tint val="75000"/>
                </a:srgbClr>
              </a:solidFill>
              <a:latin typeface="Helvetica" pitchFamily="34" charset="0"/>
              <a:ea typeface="+mn-ea"/>
              <a:cs typeface="+mn-cs"/>
            </a:endParaRPr>
          </a:p>
        </p:txBody>
      </p:sp>
      <p:sp>
        <p:nvSpPr>
          <p:cNvPr id="178" name="TextBox 177">
            <a:extLst>
              <a:ext uri="{FF2B5EF4-FFF2-40B4-BE49-F238E27FC236}">
                <a16:creationId xmlns:a16="http://schemas.microsoft.com/office/drawing/2014/main" id="{972886A0-C13A-44E0-94D0-89537620245D}"/>
              </a:ext>
            </a:extLst>
          </p:cNvPr>
          <p:cNvSpPr txBox="1"/>
          <p:nvPr/>
        </p:nvSpPr>
        <p:spPr bwMode="auto">
          <a:xfrm>
            <a:off x="907439" y="4668767"/>
            <a:ext cx="2935250"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700046"/>
                </a:solidFill>
                <a:latin typeface="Calibri" panose="020F0502020204030204" pitchFamily="34" charset="0"/>
                <a:ea typeface="+mn-ea"/>
                <a:cs typeface="Calibri" panose="020F0502020204030204" pitchFamily="34" charset="0"/>
              </a:rPr>
              <a:t>SIMPLE TO USE</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Consolidated security products</a:t>
            </a:r>
          </a:p>
        </p:txBody>
      </p:sp>
      <p:sp>
        <p:nvSpPr>
          <p:cNvPr id="179" name="TextBox 178">
            <a:extLst>
              <a:ext uri="{FF2B5EF4-FFF2-40B4-BE49-F238E27FC236}">
                <a16:creationId xmlns:a16="http://schemas.microsoft.com/office/drawing/2014/main" id="{E2993D28-C1F7-45CC-8FEE-619A551A1F52}"/>
              </a:ext>
            </a:extLst>
          </p:cNvPr>
          <p:cNvSpPr txBox="1"/>
          <p:nvPr/>
        </p:nvSpPr>
        <p:spPr bwMode="auto">
          <a:xfrm>
            <a:off x="8934680" y="4668767"/>
            <a:ext cx="2377574"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D51067"/>
                </a:solidFill>
                <a:latin typeface="Calibri" panose="020F0502020204030204" pitchFamily="34" charset="0"/>
                <a:ea typeface="+mn-ea"/>
                <a:cs typeface="Calibri" panose="020F0502020204030204" pitchFamily="34" charset="0"/>
              </a:rPr>
              <a:t>SIMPLE TO BUY </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Unified commercial package </a:t>
            </a:r>
            <a:endParaRPr lang="en-US" sz="1800" kern="1200" dirty="0">
              <a:solidFill>
                <a:srgbClr val="4D4D4F"/>
              </a:solidFill>
              <a:latin typeface="Calibri" panose="020F0502020204030204" pitchFamily="34" charset="0"/>
              <a:ea typeface="+mn-ea"/>
              <a:cs typeface="Calibri" panose="020F0502020204030204" pitchFamily="34" charset="0"/>
            </a:endParaRPr>
          </a:p>
        </p:txBody>
      </p:sp>
      <p:sp>
        <p:nvSpPr>
          <p:cNvPr id="180" name="TextBox 179">
            <a:extLst>
              <a:ext uri="{FF2B5EF4-FFF2-40B4-BE49-F238E27FC236}">
                <a16:creationId xmlns:a16="http://schemas.microsoft.com/office/drawing/2014/main" id="{5605F5E1-53B0-4837-A8FC-37E26654741C}"/>
              </a:ext>
            </a:extLst>
          </p:cNvPr>
          <p:cNvSpPr txBox="1"/>
          <p:nvPr/>
        </p:nvSpPr>
        <p:spPr bwMode="auto">
          <a:xfrm>
            <a:off x="4969078" y="4668767"/>
            <a:ext cx="2444668"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7E008E"/>
                </a:solidFill>
                <a:latin typeface="Calibri" panose="020F0502020204030204" pitchFamily="34" charset="0"/>
                <a:ea typeface="+mn-ea"/>
                <a:cs typeface="Calibri" panose="020F0502020204030204" pitchFamily="34" charset="0"/>
              </a:rPr>
              <a:t>SIMPLE TO MANAGE</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User-centric security management </a:t>
            </a:r>
          </a:p>
        </p:txBody>
      </p:sp>
      <p:cxnSp>
        <p:nvCxnSpPr>
          <p:cNvPr id="192" name="Straight Connector 191">
            <a:extLst>
              <a:ext uri="{FF2B5EF4-FFF2-40B4-BE49-F238E27FC236}">
                <a16:creationId xmlns:a16="http://schemas.microsoft.com/office/drawing/2014/main" id="{28D758BB-D2D6-4DFC-BE3D-46FB231AFAA6}"/>
              </a:ext>
            </a:extLst>
          </p:cNvPr>
          <p:cNvCxnSpPr>
            <a:cxnSpLocks/>
          </p:cNvCxnSpPr>
          <p:nvPr/>
        </p:nvCxnSpPr>
        <p:spPr bwMode="auto">
          <a:xfrm>
            <a:off x="1789979" y="5191025"/>
            <a:ext cx="1079719" cy="0"/>
          </a:xfrm>
          <a:prstGeom prst="line">
            <a:avLst/>
          </a:prstGeom>
          <a:solidFill>
            <a:schemeClr val="bg1"/>
          </a:solidFill>
          <a:ln w="19050" cap="rnd" cmpd="sng" algn="ctr">
            <a:solidFill>
              <a:srgbClr val="70004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6" name="Straight Connector 195">
            <a:extLst>
              <a:ext uri="{FF2B5EF4-FFF2-40B4-BE49-F238E27FC236}">
                <a16:creationId xmlns:a16="http://schemas.microsoft.com/office/drawing/2014/main" id="{79FEBCF4-45C2-482E-8AED-0811E5B03D68}"/>
              </a:ext>
            </a:extLst>
          </p:cNvPr>
          <p:cNvCxnSpPr>
            <a:cxnSpLocks/>
          </p:cNvCxnSpPr>
          <p:nvPr/>
        </p:nvCxnSpPr>
        <p:spPr bwMode="auto">
          <a:xfrm>
            <a:off x="5660754" y="5191025"/>
            <a:ext cx="1079719" cy="0"/>
          </a:xfrm>
          <a:prstGeom prst="line">
            <a:avLst/>
          </a:prstGeom>
          <a:solidFill>
            <a:schemeClr val="bg1"/>
          </a:solidFill>
          <a:ln w="19050" cap="rnd" cmpd="sng" algn="ctr">
            <a:solidFill>
              <a:srgbClr val="7E008E"/>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0" name="Straight Connector 199">
            <a:extLst>
              <a:ext uri="{FF2B5EF4-FFF2-40B4-BE49-F238E27FC236}">
                <a16:creationId xmlns:a16="http://schemas.microsoft.com/office/drawing/2014/main" id="{D05E0AD0-A750-4A60-8983-F15DBCB84C7A}"/>
              </a:ext>
            </a:extLst>
          </p:cNvPr>
          <p:cNvCxnSpPr>
            <a:cxnSpLocks/>
          </p:cNvCxnSpPr>
          <p:nvPr/>
        </p:nvCxnSpPr>
        <p:spPr bwMode="auto">
          <a:xfrm>
            <a:off x="9604694" y="5191025"/>
            <a:ext cx="1079719" cy="0"/>
          </a:xfrm>
          <a:prstGeom prst="line">
            <a:avLst/>
          </a:prstGeom>
          <a:solidFill>
            <a:schemeClr val="bg1"/>
          </a:solidFill>
          <a:ln w="19050" cap="rnd" cmpd="sng" algn="ctr">
            <a:solidFill>
              <a:srgbClr val="E4578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1" name="Group 30">
            <a:extLst>
              <a:ext uri="{FF2B5EF4-FFF2-40B4-BE49-F238E27FC236}">
                <a16:creationId xmlns:a16="http://schemas.microsoft.com/office/drawing/2014/main" id="{966E8D95-66AA-4030-B4F8-B6F63753E6BF}"/>
              </a:ext>
            </a:extLst>
          </p:cNvPr>
          <p:cNvGrpSpPr/>
          <p:nvPr/>
        </p:nvGrpSpPr>
        <p:grpSpPr>
          <a:xfrm>
            <a:off x="4638457" y="1585702"/>
            <a:ext cx="2835772" cy="2769036"/>
            <a:chOff x="6468325" y="1561966"/>
            <a:chExt cx="4376534" cy="4394093"/>
          </a:xfrm>
        </p:grpSpPr>
        <p:grpSp>
          <p:nvGrpSpPr>
            <p:cNvPr id="33" name="Group 32">
              <a:extLst>
                <a:ext uri="{FF2B5EF4-FFF2-40B4-BE49-F238E27FC236}">
                  <a16:creationId xmlns:a16="http://schemas.microsoft.com/office/drawing/2014/main" id="{0837934D-F9BE-4CE0-876D-F9E9E27A3002}"/>
                </a:ext>
              </a:extLst>
            </p:cNvPr>
            <p:cNvGrpSpPr/>
            <p:nvPr/>
          </p:nvGrpSpPr>
          <p:grpSpPr>
            <a:xfrm>
              <a:off x="6468325" y="1561966"/>
              <a:ext cx="4376534" cy="4394093"/>
              <a:chOff x="6468422" y="1561478"/>
              <a:chExt cx="4377674" cy="4395238"/>
            </a:xfrm>
          </p:grpSpPr>
          <p:sp>
            <p:nvSpPr>
              <p:cNvPr id="36" name="Freeform: Shape 35">
                <a:extLst>
                  <a:ext uri="{FF2B5EF4-FFF2-40B4-BE49-F238E27FC236}">
                    <a16:creationId xmlns:a16="http://schemas.microsoft.com/office/drawing/2014/main" id="{32BAFA30-4383-4D85-9363-91C63DA0A0C0}"/>
                  </a:ext>
                </a:extLst>
              </p:cNvPr>
              <p:cNvSpPr/>
              <p:nvPr/>
            </p:nvSpPr>
            <p:spPr>
              <a:xfrm>
                <a:off x="8467149" y="1561478"/>
                <a:ext cx="1968650" cy="3015564"/>
              </a:xfrm>
              <a:custGeom>
                <a:avLst/>
                <a:gdLst>
                  <a:gd name="connsiteX0" fmla="*/ 1349026 w 2194892"/>
                  <a:gd name="connsiteY0" fmla="*/ 1645920 h 3362118"/>
                  <a:gd name="connsiteX1" fmla="*/ 750284 w 2194892"/>
                  <a:gd name="connsiteY1" fmla="*/ 3148870 h 3362118"/>
                  <a:gd name="connsiteX2" fmla="*/ 750284 w 2194892"/>
                  <a:gd name="connsiteY2" fmla="*/ 3148870 h 3362118"/>
                  <a:gd name="connsiteX3" fmla="*/ 0 w 2194892"/>
                  <a:gd name="connsiteY3" fmla="*/ 3320320 h 3362118"/>
                  <a:gd name="connsiteX4" fmla="*/ 0 w 2194892"/>
                  <a:gd name="connsiteY4" fmla="*/ 3320320 h 3362118"/>
                  <a:gd name="connsiteX5" fmla="*/ 1548384 w 2194892"/>
                  <a:gd name="connsiteY5" fmla="*/ 2851499 h 3362118"/>
                  <a:gd name="connsiteX6" fmla="*/ 2183130 w 2194892"/>
                  <a:gd name="connsiteY6" fmla="*/ 1007174 h 3362118"/>
                  <a:gd name="connsiteX7" fmla="*/ 2183130 w 2194892"/>
                  <a:gd name="connsiteY7" fmla="*/ 1007174 h 3362118"/>
                  <a:gd name="connsiteX8" fmla="*/ 303086 w 2194892"/>
                  <a:gd name="connsiteY8" fmla="*/ 0 h 3362118"/>
                  <a:gd name="connsiteX9" fmla="*/ 1349026 w 2194892"/>
                  <a:gd name="connsiteY9" fmla="*/ 1645920 h 336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4892" h="3362118">
                    <a:moveTo>
                      <a:pt x="1349026" y="1645920"/>
                    </a:moveTo>
                    <a:cubicBezTo>
                      <a:pt x="1487901" y="2623280"/>
                      <a:pt x="750284" y="3148870"/>
                      <a:pt x="750284" y="3148870"/>
                    </a:cubicBezTo>
                    <a:lnTo>
                      <a:pt x="750284" y="3148870"/>
                    </a:lnTo>
                    <a:cubicBezTo>
                      <a:pt x="539325" y="3317253"/>
                      <a:pt x="263157" y="3380356"/>
                      <a:pt x="0" y="3320320"/>
                    </a:cubicBezTo>
                    <a:lnTo>
                      <a:pt x="0" y="3320320"/>
                    </a:lnTo>
                    <a:cubicBezTo>
                      <a:pt x="0" y="3320320"/>
                      <a:pt x="870776" y="3569399"/>
                      <a:pt x="1548384" y="2851499"/>
                    </a:cubicBezTo>
                    <a:cubicBezTo>
                      <a:pt x="2334863" y="2018062"/>
                      <a:pt x="2183130" y="1007174"/>
                      <a:pt x="2183130" y="1007174"/>
                    </a:cubicBezTo>
                    <a:lnTo>
                      <a:pt x="2183130" y="1007174"/>
                    </a:lnTo>
                    <a:cubicBezTo>
                      <a:pt x="1742685" y="402477"/>
                      <a:pt x="1050512" y="31664"/>
                      <a:pt x="303086" y="0"/>
                    </a:cubicBezTo>
                    <a:cubicBezTo>
                      <a:pt x="311944" y="5144"/>
                      <a:pt x="1188720" y="517303"/>
                      <a:pt x="1349026" y="1645920"/>
                    </a:cubicBezTo>
                    <a:close/>
                  </a:path>
                </a:pathLst>
              </a:custGeom>
              <a:solidFill>
                <a:srgbClr val="700046"/>
              </a:solidFill>
              <a:ln w="9525" cap="flat">
                <a:noFill/>
                <a:prstDash val="solid"/>
                <a:miter/>
              </a:ln>
              <a:effectLst>
                <a:outerShdw blurRad="50800" dist="38100" dir="8100000" algn="tr"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37" name="Freeform: Shape 36">
                <a:extLst>
                  <a:ext uri="{FF2B5EF4-FFF2-40B4-BE49-F238E27FC236}">
                    <a16:creationId xmlns:a16="http://schemas.microsoft.com/office/drawing/2014/main" id="{726A9806-1649-4493-9862-D7614F6B36E0}"/>
                  </a:ext>
                </a:extLst>
              </p:cNvPr>
              <p:cNvSpPr/>
              <p:nvPr/>
            </p:nvSpPr>
            <p:spPr>
              <a:xfrm>
                <a:off x="7002040" y="1565371"/>
                <a:ext cx="2711333" cy="2826347"/>
              </a:xfrm>
              <a:custGeom>
                <a:avLst/>
                <a:gdLst>
                  <a:gd name="connsiteX0" fmla="*/ 1939385 w 3022925"/>
                  <a:gd name="connsiteY0" fmla="*/ 1052609 h 3151157"/>
                  <a:gd name="connsiteX1" fmla="*/ 2740628 w 3022925"/>
                  <a:gd name="connsiteY1" fmla="*/ 2457928 h 3151157"/>
                  <a:gd name="connsiteX2" fmla="*/ 2406682 w 3022925"/>
                  <a:gd name="connsiteY2" fmla="*/ 3151157 h 3151157"/>
                  <a:gd name="connsiteX3" fmla="*/ 2406682 w 3022925"/>
                  <a:gd name="connsiteY3" fmla="*/ 3151157 h 3151157"/>
                  <a:gd name="connsiteX4" fmla="*/ 3005519 w 3022925"/>
                  <a:gd name="connsiteY4" fmla="*/ 1648303 h 3151157"/>
                  <a:gd name="connsiteX5" fmla="*/ 1959578 w 3022925"/>
                  <a:gd name="connsiteY5" fmla="*/ 2383 h 3151157"/>
                  <a:gd name="connsiteX6" fmla="*/ 1853660 w 3022925"/>
                  <a:gd name="connsiteY6" fmla="*/ 1 h 3151157"/>
                  <a:gd name="connsiteX7" fmla="*/ 0 w 3022925"/>
                  <a:gd name="connsiteY7" fmla="*/ 843917 h 3151157"/>
                  <a:gd name="connsiteX8" fmla="*/ 1939385 w 3022925"/>
                  <a:gd name="connsiteY8" fmla="*/ 1052609 h 315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2925" h="3151157">
                    <a:moveTo>
                      <a:pt x="1939385" y="1052609"/>
                    </a:moveTo>
                    <a:cubicBezTo>
                      <a:pt x="2789777" y="1553529"/>
                      <a:pt x="2740628" y="2457928"/>
                      <a:pt x="2740628" y="2457928"/>
                    </a:cubicBezTo>
                    <a:cubicBezTo>
                      <a:pt x="2740838" y="2727838"/>
                      <a:pt x="2617880" y="2983089"/>
                      <a:pt x="2406682" y="3151157"/>
                    </a:cubicBezTo>
                    <a:lnTo>
                      <a:pt x="2406682" y="3151157"/>
                    </a:lnTo>
                    <a:cubicBezTo>
                      <a:pt x="2406682" y="3151157"/>
                      <a:pt x="3144393" y="2625758"/>
                      <a:pt x="3005519" y="1648303"/>
                    </a:cubicBezTo>
                    <a:cubicBezTo>
                      <a:pt x="2845213" y="519686"/>
                      <a:pt x="1968436" y="7526"/>
                      <a:pt x="1959578" y="2383"/>
                    </a:cubicBezTo>
                    <a:cubicBezTo>
                      <a:pt x="1924431" y="954"/>
                      <a:pt x="1889189" y="1"/>
                      <a:pt x="1853660" y="1"/>
                    </a:cubicBezTo>
                    <a:cubicBezTo>
                      <a:pt x="1142638" y="-779"/>
                      <a:pt x="466287" y="307141"/>
                      <a:pt x="0" y="843917"/>
                    </a:cubicBezTo>
                    <a:cubicBezTo>
                      <a:pt x="2667" y="842869"/>
                      <a:pt x="953167" y="471965"/>
                      <a:pt x="1939385" y="1052609"/>
                    </a:cubicBezTo>
                    <a:close/>
                  </a:path>
                </a:pathLst>
              </a:custGeom>
              <a:solidFill>
                <a:srgbClr val="7D00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38" name="Freeform: Shape 37">
                <a:extLst>
                  <a:ext uri="{FF2B5EF4-FFF2-40B4-BE49-F238E27FC236}">
                    <a16:creationId xmlns:a16="http://schemas.microsoft.com/office/drawing/2014/main" id="{6C4A6A5A-BA3B-4DB0-9759-B8466831D280}"/>
                  </a:ext>
                </a:extLst>
              </p:cNvPr>
              <p:cNvSpPr/>
              <p:nvPr/>
            </p:nvSpPr>
            <p:spPr>
              <a:xfrm>
                <a:off x="7926021" y="2466104"/>
                <a:ext cx="2920075" cy="2475468"/>
              </a:xfrm>
              <a:custGeom>
                <a:avLst/>
                <a:gdLst>
                  <a:gd name="connsiteX0" fmla="*/ 2783872 w 3255658"/>
                  <a:gd name="connsiteY0" fmla="*/ 0 h 2759954"/>
                  <a:gd name="connsiteX1" fmla="*/ 2783872 w 3255658"/>
                  <a:gd name="connsiteY1" fmla="*/ 0 h 2759954"/>
                  <a:gd name="connsiteX2" fmla="*/ 2149126 w 3255658"/>
                  <a:gd name="connsiteY2" fmla="*/ 1844326 h 2759954"/>
                  <a:gd name="connsiteX3" fmla="*/ 600742 w 3255658"/>
                  <a:gd name="connsiteY3" fmla="*/ 2313146 h 2759954"/>
                  <a:gd name="connsiteX4" fmla="*/ 600742 w 3255658"/>
                  <a:gd name="connsiteY4" fmla="*/ 2313146 h 2759954"/>
                  <a:gd name="connsiteX5" fmla="*/ 0 w 3255658"/>
                  <a:gd name="connsiteY5" fmla="*/ 1835848 h 2759954"/>
                  <a:gd name="connsiteX6" fmla="*/ 1330833 w 3255658"/>
                  <a:gd name="connsiteY6" fmla="*/ 2751582 h 2759954"/>
                  <a:gd name="connsiteX7" fmla="*/ 3168587 w 3255658"/>
                  <a:gd name="connsiteY7" fmla="*/ 2097977 h 2759954"/>
                  <a:gd name="connsiteX8" fmla="*/ 3168587 w 3255658"/>
                  <a:gd name="connsiteY8" fmla="*/ 2098643 h 2759954"/>
                  <a:gd name="connsiteX9" fmla="*/ 2783586 w 3255658"/>
                  <a:gd name="connsiteY9" fmla="*/ 0 h 27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5658" h="2759954">
                    <a:moveTo>
                      <a:pt x="2783872" y="0"/>
                    </a:moveTo>
                    <a:lnTo>
                      <a:pt x="2783872" y="0"/>
                    </a:lnTo>
                    <a:cubicBezTo>
                      <a:pt x="2783872" y="0"/>
                      <a:pt x="2935605" y="1010888"/>
                      <a:pt x="2149126" y="1844326"/>
                    </a:cubicBezTo>
                    <a:cubicBezTo>
                      <a:pt x="1471517" y="2562225"/>
                      <a:pt x="600742" y="2313146"/>
                      <a:pt x="600742" y="2313146"/>
                    </a:cubicBezTo>
                    <a:lnTo>
                      <a:pt x="600742" y="2313146"/>
                    </a:lnTo>
                    <a:cubicBezTo>
                      <a:pt x="338595" y="2253129"/>
                      <a:pt x="117719" y="2077641"/>
                      <a:pt x="0" y="1835848"/>
                    </a:cubicBezTo>
                    <a:cubicBezTo>
                      <a:pt x="21812" y="1886045"/>
                      <a:pt x="378524" y="2672048"/>
                      <a:pt x="1330833" y="2751582"/>
                    </a:cubicBezTo>
                    <a:cubicBezTo>
                      <a:pt x="2472785" y="2846832"/>
                      <a:pt x="3168587" y="2097977"/>
                      <a:pt x="3168587" y="2097977"/>
                    </a:cubicBezTo>
                    <a:lnTo>
                      <a:pt x="3168587" y="2098643"/>
                    </a:lnTo>
                    <a:cubicBezTo>
                      <a:pt x="3365773" y="1376934"/>
                      <a:pt x="3224108" y="604723"/>
                      <a:pt x="2783586" y="0"/>
                    </a:cubicBezTo>
                    <a:close/>
                  </a:path>
                </a:pathLst>
              </a:custGeom>
              <a:solidFill>
                <a:schemeClr val="tx2">
                  <a:lumMod val="50000"/>
                </a:schemeClr>
              </a:solidFill>
              <a:ln w="9525" cap="flat">
                <a:noFill/>
                <a:prstDash val="solid"/>
                <a:miter/>
              </a:ln>
              <a:effectLst>
                <a:outerShdw blurRad="50800" dist="38100" dir="18900000" algn="b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39" name="Freeform: Shape 38">
                <a:extLst>
                  <a:ext uri="{FF2B5EF4-FFF2-40B4-BE49-F238E27FC236}">
                    <a16:creationId xmlns:a16="http://schemas.microsoft.com/office/drawing/2014/main" id="{A9C85453-4FA7-4484-A6CB-17922A25ED8C}"/>
                  </a:ext>
                </a:extLst>
              </p:cNvPr>
              <p:cNvSpPr/>
              <p:nvPr/>
            </p:nvSpPr>
            <p:spPr>
              <a:xfrm>
                <a:off x="7787580" y="3409986"/>
                <a:ext cx="2991265" cy="2368772"/>
              </a:xfrm>
              <a:custGeom>
                <a:avLst/>
                <a:gdLst>
                  <a:gd name="connsiteX0" fmla="*/ 1496514 w 3335029"/>
                  <a:gd name="connsiteY0" fmla="*/ 1685068 h 2640996"/>
                  <a:gd name="connsiteX1" fmla="*/ 165681 w 3335029"/>
                  <a:gd name="connsiteY1" fmla="*/ 769334 h 2640996"/>
                  <a:gd name="connsiteX2" fmla="*/ 162919 w 3335029"/>
                  <a:gd name="connsiteY2" fmla="*/ 0 h 2640996"/>
                  <a:gd name="connsiteX3" fmla="*/ 277219 w 3335029"/>
                  <a:gd name="connsiteY3" fmla="*/ 1610963 h 2640996"/>
                  <a:gd name="connsiteX4" fmla="*/ 1933902 w 3335029"/>
                  <a:gd name="connsiteY4" fmla="*/ 2640330 h 2640996"/>
                  <a:gd name="connsiteX5" fmla="*/ 1933902 w 3335029"/>
                  <a:gd name="connsiteY5" fmla="*/ 2640997 h 2640996"/>
                  <a:gd name="connsiteX6" fmla="*/ 3335030 w 3335029"/>
                  <a:gd name="connsiteY6" fmla="*/ 1032129 h 2640996"/>
                  <a:gd name="connsiteX7" fmla="*/ 3335030 w 3335029"/>
                  <a:gd name="connsiteY7" fmla="*/ 1031462 h 2640996"/>
                  <a:gd name="connsiteX8" fmla="*/ 1496514 w 3335029"/>
                  <a:gd name="connsiteY8" fmla="*/ 1685068 h 26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5029" h="2640996">
                    <a:moveTo>
                      <a:pt x="1496514" y="1685068"/>
                    </a:moveTo>
                    <a:cubicBezTo>
                      <a:pt x="544585" y="1605534"/>
                      <a:pt x="187493" y="820007"/>
                      <a:pt x="165681" y="769334"/>
                    </a:cubicBezTo>
                    <a:cubicBezTo>
                      <a:pt x="48038" y="526599"/>
                      <a:pt x="47018" y="243573"/>
                      <a:pt x="162919" y="0"/>
                    </a:cubicBezTo>
                    <a:cubicBezTo>
                      <a:pt x="135296" y="52483"/>
                      <a:pt x="-252943" y="819150"/>
                      <a:pt x="277219" y="1610963"/>
                    </a:cubicBezTo>
                    <a:cubicBezTo>
                      <a:pt x="914632" y="2563463"/>
                      <a:pt x="1933902" y="2640330"/>
                      <a:pt x="1933902" y="2640330"/>
                    </a:cubicBezTo>
                    <a:lnTo>
                      <a:pt x="1933902" y="2640997"/>
                    </a:lnTo>
                    <a:cubicBezTo>
                      <a:pt x="2620969" y="2345217"/>
                      <a:pt x="3136443" y="1753314"/>
                      <a:pt x="3335030" y="1032129"/>
                    </a:cubicBezTo>
                    <a:lnTo>
                      <a:pt x="3335030" y="1031462"/>
                    </a:lnTo>
                    <a:cubicBezTo>
                      <a:pt x="3335030" y="1031462"/>
                      <a:pt x="2638466" y="1780413"/>
                      <a:pt x="1496514" y="1685068"/>
                    </a:cubicBezTo>
                    <a:close/>
                  </a:path>
                </a:pathLst>
              </a:custGeom>
              <a:solidFill>
                <a:srgbClr val="EA7EA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40" name="Freeform: Shape 39">
                <a:extLst>
                  <a:ext uri="{FF2B5EF4-FFF2-40B4-BE49-F238E27FC236}">
                    <a16:creationId xmlns:a16="http://schemas.microsoft.com/office/drawing/2014/main" id="{44953B53-9F22-4B5E-B712-C5E90F931BBA}"/>
                  </a:ext>
                </a:extLst>
              </p:cNvPr>
              <p:cNvSpPr/>
              <p:nvPr/>
            </p:nvSpPr>
            <p:spPr>
              <a:xfrm>
                <a:off x="6468422" y="2213504"/>
                <a:ext cx="3000163" cy="1950439"/>
              </a:xfrm>
              <a:custGeom>
                <a:avLst/>
                <a:gdLst>
                  <a:gd name="connsiteX0" fmla="*/ 1411990 w 3344948"/>
                  <a:gd name="connsiteY0" fmla="*/ 788795 h 2174587"/>
                  <a:gd name="connsiteX1" fmla="*/ 3010475 w 3344948"/>
                  <a:gd name="connsiteY1" fmla="*/ 1038255 h 2174587"/>
                  <a:gd name="connsiteX2" fmla="*/ 3010475 w 3344948"/>
                  <a:gd name="connsiteY2" fmla="*/ 1038255 h 2174587"/>
                  <a:gd name="connsiteX3" fmla="*/ 3344422 w 3344948"/>
                  <a:gd name="connsiteY3" fmla="*/ 1731770 h 2174587"/>
                  <a:gd name="connsiteX4" fmla="*/ 2542988 w 3344948"/>
                  <a:gd name="connsiteY4" fmla="*/ 326452 h 2174587"/>
                  <a:gd name="connsiteX5" fmla="*/ 603793 w 3344948"/>
                  <a:gd name="connsiteY5" fmla="*/ 117759 h 2174587"/>
                  <a:gd name="connsiteX6" fmla="*/ 4 w 3344948"/>
                  <a:gd name="connsiteY6" fmla="*/ 1731770 h 2174587"/>
                  <a:gd name="connsiteX7" fmla="*/ 39818 w 3344948"/>
                  <a:gd name="connsiteY7" fmla="*/ 2174587 h 2174587"/>
                  <a:gd name="connsiteX8" fmla="*/ 39818 w 3344948"/>
                  <a:gd name="connsiteY8" fmla="*/ 2174587 h 2174587"/>
                  <a:gd name="connsiteX9" fmla="*/ 1411990 w 3344948"/>
                  <a:gd name="connsiteY9" fmla="*/ 788795 h 217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4948" h="2174587">
                    <a:moveTo>
                      <a:pt x="1411990" y="788795"/>
                    </a:moveTo>
                    <a:cubicBezTo>
                      <a:pt x="2334010" y="436370"/>
                      <a:pt x="3010475" y="1038255"/>
                      <a:pt x="3010475" y="1038255"/>
                    </a:cubicBezTo>
                    <a:lnTo>
                      <a:pt x="3010475" y="1038255"/>
                    </a:lnTo>
                    <a:cubicBezTo>
                      <a:pt x="3221749" y="1206390"/>
                      <a:pt x="3344717" y="1461765"/>
                      <a:pt x="3344422" y="1731770"/>
                    </a:cubicBezTo>
                    <a:cubicBezTo>
                      <a:pt x="3344422" y="1731770"/>
                      <a:pt x="3393571" y="827371"/>
                      <a:pt x="2542988" y="326452"/>
                    </a:cubicBezTo>
                    <a:cubicBezTo>
                      <a:pt x="1556960" y="-254573"/>
                      <a:pt x="606460" y="116902"/>
                      <a:pt x="603793" y="117759"/>
                    </a:cubicBezTo>
                    <a:cubicBezTo>
                      <a:pt x="213556" y="564796"/>
                      <a:pt x="-1013" y="1138363"/>
                      <a:pt x="4" y="1731770"/>
                    </a:cubicBezTo>
                    <a:cubicBezTo>
                      <a:pt x="-28" y="1880274"/>
                      <a:pt x="13297" y="2028474"/>
                      <a:pt x="39818" y="2174587"/>
                    </a:cubicBezTo>
                    <a:lnTo>
                      <a:pt x="39818" y="2174587"/>
                    </a:lnTo>
                    <a:cubicBezTo>
                      <a:pt x="39818" y="2174587"/>
                      <a:pt x="341761" y="1198370"/>
                      <a:pt x="1411990" y="788795"/>
                    </a:cubicBezTo>
                    <a:close/>
                  </a:path>
                </a:pathLst>
              </a:custGeom>
              <a:solidFill>
                <a:srgbClr val="7300D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41" name="Freeform: Shape 40">
                <a:extLst>
                  <a:ext uri="{FF2B5EF4-FFF2-40B4-BE49-F238E27FC236}">
                    <a16:creationId xmlns:a16="http://schemas.microsoft.com/office/drawing/2014/main" id="{5614339A-1065-4569-BEDD-A45B867B6E0C}"/>
                  </a:ext>
                </a:extLst>
              </p:cNvPr>
              <p:cNvSpPr/>
              <p:nvPr/>
            </p:nvSpPr>
            <p:spPr>
              <a:xfrm>
                <a:off x="7318793" y="2976590"/>
                <a:ext cx="2215877" cy="2980126"/>
              </a:xfrm>
              <a:custGeom>
                <a:avLst/>
                <a:gdLst>
                  <a:gd name="connsiteX0" fmla="*/ 813848 w 2470531"/>
                  <a:gd name="connsiteY0" fmla="*/ 2093786 h 3322608"/>
                  <a:gd name="connsiteX1" fmla="*/ 699548 w 2470531"/>
                  <a:gd name="connsiteY1" fmla="*/ 482822 h 3322608"/>
                  <a:gd name="connsiteX2" fmla="*/ 1302957 w 2470531"/>
                  <a:gd name="connsiteY2" fmla="*/ 0 h 3322608"/>
                  <a:gd name="connsiteX3" fmla="*/ 1302957 w 2470531"/>
                  <a:gd name="connsiteY3" fmla="*/ 0 h 3322608"/>
                  <a:gd name="connsiteX4" fmla="*/ 111284 w 2470531"/>
                  <a:gd name="connsiteY4" fmla="*/ 1094232 h 3322608"/>
                  <a:gd name="connsiteX5" fmla="*/ 339884 w 2470531"/>
                  <a:gd name="connsiteY5" fmla="*/ 3031331 h 3322608"/>
                  <a:gd name="connsiteX6" fmla="*/ 339312 w 2470531"/>
                  <a:gd name="connsiteY6" fmla="*/ 3031331 h 3322608"/>
                  <a:gd name="connsiteX7" fmla="*/ 2470531 w 2470531"/>
                  <a:gd name="connsiteY7" fmla="*/ 3123819 h 3322608"/>
                  <a:gd name="connsiteX8" fmla="*/ 2470531 w 2470531"/>
                  <a:gd name="connsiteY8" fmla="*/ 3123153 h 3322608"/>
                  <a:gd name="connsiteX9" fmla="*/ 813848 w 2470531"/>
                  <a:gd name="connsiteY9" fmla="*/ 2093786 h 332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0531" h="3322608">
                    <a:moveTo>
                      <a:pt x="813848" y="2093786"/>
                    </a:moveTo>
                    <a:cubicBezTo>
                      <a:pt x="283877" y="1301972"/>
                      <a:pt x="672116" y="535305"/>
                      <a:pt x="699548" y="482822"/>
                    </a:cubicBezTo>
                    <a:cubicBezTo>
                      <a:pt x="816486" y="238249"/>
                      <a:pt x="1038685" y="60446"/>
                      <a:pt x="1302957" y="0"/>
                    </a:cubicBezTo>
                    <a:lnTo>
                      <a:pt x="1302957" y="0"/>
                    </a:lnTo>
                    <a:cubicBezTo>
                      <a:pt x="1302957" y="0"/>
                      <a:pt x="410369" y="153448"/>
                      <a:pt x="111284" y="1094232"/>
                    </a:cubicBezTo>
                    <a:cubicBezTo>
                      <a:pt x="-235807" y="2186273"/>
                      <a:pt x="339884" y="3031331"/>
                      <a:pt x="339884" y="3031331"/>
                    </a:cubicBezTo>
                    <a:lnTo>
                      <a:pt x="339312" y="3031331"/>
                    </a:lnTo>
                    <a:cubicBezTo>
                      <a:pt x="998823" y="3384185"/>
                      <a:pt x="1782941" y="3418208"/>
                      <a:pt x="2470531" y="3123819"/>
                    </a:cubicBezTo>
                    <a:lnTo>
                      <a:pt x="2470531" y="3123153"/>
                    </a:lnTo>
                    <a:cubicBezTo>
                      <a:pt x="2470531" y="3123153"/>
                      <a:pt x="1451261" y="3046286"/>
                      <a:pt x="813848" y="2093786"/>
                    </a:cubicBezTo>
                    <a:close/>
                  </a:path>
                </a:pathLst>
              </a:custGeom>
              <a:solidFill>
                <a:srgbClr val="E457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42" name="Freeform: Shape 41">
                <a:extLst>
                  <a:ext uri="{FF2B5EF4-FFF2-40B4-BE49-F238E27FC236}">
                    <a16:creationId xmlns:a16="http://schemas.microsoft.com/office/drawing/2014/main" id="{FF81F4CF-F3A7-44CA-8E0E-C356A81EE221}"/>
                  </a:ext>
                </a:extLst>
              </p:cNvPr>
              <p:cNvSpPr/>
              <p:nvPr/>
            </p:nvSpPr>
            <p:spPr>
              <a:xfrm>
                <a:off x="6501193" y="2806186"/>
                <a:ext cx="2664366" cy="2888775"/>
              </a:xfrm>
              <a:custGeom>
                <a:avLst/>
                <a:gdLst>
                  <a:gd name="connsiteX0" fmla="*/ 1028605 w 2970561"/>
                  <a:gd name="connsiteY0" fmla="*/ 1283088 h 3220759"/>
                  <a:gd name="connsiteX1" fmla="*/ 2220278 w 2970561"/>
                  <a:gd name="connsiteY1" fmla="*/ 188856 h 3220759"/>
                  <a:gd name="connsiteX2" fmla="*/ 2220278 w 2970561"/>
                  <a:gd name="connsiteY2" fmla="*/ 188856 h 3220759"/>
                  <a:gd name="connsiteX3" fmla="*/ 2970562 w 2970561"/>
                  <a:gd name="connsiteY3" fmla="*/ 360306 h 3220759"/>
                  <a:gd name="connsiteX4" fmla="*/ 2970562 w 2970561"/>
                  <a:gd name="connsiteY4" fmla="*/ 360306 h 3220759"/>
                  <a:gd name="connsiteX5" fmla="*/ 1372267 w 2970561"/>
                  <a:gd name="connsiteY5" fmla="*/ 110656 h 3220759"/>
                  <a:gd name="connsiteX6" fmla="*/ 0 w 2970561"/>
                  <a:gd name="connsiteY6" fmla="*/ 1496734 h 3220759"/>
                  <a:gd name="connsiteX7" fmla="*/ 0 w 2970561"/>
                  <a:gd name="connsiteY7" fmla="*/ 1496734 h 3220759"/>
                  <a:gd name="connsiteX8" fmla="*/ 1256633 w 2970561"/>
                  <a:gd name="connsiteY8" fmla="*/ 3220759 h 3220759"/>
                  <a:gd name="connsiteX9" fmla="*/ 1257205 w 2970561"/>
                  <a:gd name="connsiteY9" fmla="*/ 3220759 h 3220759"/>
                  <a:gd name="connsiteX10" fmla="*/ 1028605 w 2970561"/>
                  <a:gd name="connsiteY10" fmla="*/ 1283088 h 322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0561" h="3220759">
                    <a:moveTo>
                      <a:pt x="1028605" y="1283088"/>
                    </a:moveTo>
                    <a:cubicBezTo>
                      <a:pt x="1327690" y="342304"/>
                      <a:pt x="2220278" y="188856"/>
                      <a:pt x="2220278" y="188856"/>
                    </a:cubicBezTo>
                    <a:lnTo>
                      <a:pt x="2220278" y="188856"/>
                    </a:lnTo>
                    <a:cubicBezTo>
                      <a:pt x="2483434" y="128706"/>
                      <a:pt x="2759650" y="191819"/>
                      <a:pt x="2970562" y="360306"/>
                    </a:cubicBezTo>
                    <a:lnTo>
                      <a:pt x="2970562" y="360306"/>
                    </a:lnTo>
                    <a:cubicBezTo>
                      <a:pt x="2970562" y="360306"/>
                      <a:pt x="2293906" y="-241769"/>
                      <a:pt x="1372267" y="110656"/>
                    </a:cubicBezTo>
                    <a:cubicBezTo>
                      <a:pt x="302038" y="520231"/>
                      <a:pt x="0" y="1496734"/>
                      <a:pt x="0" y="1496734"/>
                    </a:cubicBezTo>
                    <a:lnTo>
                      <a:pt x="0" y="1496734"/>
                    </a:lnTo>
                    <a:cubicBezTo>
                      <a:pt x="135093" y="2232521"/>
                      <a:pt x="597513" y="2866934"/>
                      <a:pt x="1256633" y="3220759"/>
                    </a:cubicBezTo>
                    <a:lnTo>
                      <a:pt x="1257205" y="3220759"/>
                    </a:lnTo>
                    <a:cubicBezTo>
                      <a:pt x="1257205" y="3220759"/>
                      <a:pt x="681514" y="2375130"/>
                      <a:pt x="1028605" y="1283088"/>
                    </a:cubicBezTo>
                    <a:close/>
                  </a:path>
                </a:pathLst>
              </a:custGeom>
              <a:solidFill>
                <a:schemeClr val="bg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grpSp>
        <p:sp>
          <p:nvSpPr>
            <p:cNvPr id="34" name="Oval 33">
              <a:extLst>
                <a:ext uri="{FF2B5EF4-FFF2-40B4-BE49-F238E27FC236}">
                  <a16:creationId xmlns:a16="http://schemas.microsoft.com/office/drawing/2014/main" id="{951D5E97-56FC-4861-B50F-AB6D6AB8979D}"/>
                </a:ext>
              </a:extLst>
            </p:cNvPr>
            <p:cNvSpPr/>
            <p:nvPr/>
          </p:nvSpPr>
          <p:spPr bwMode="auto">
            <a:xfrm>
              <a:off x="7206407" y="2314697"/>
              <a:ext cx="2889898" cy="2889900"/>
            </a:xfrm>
            <a:prstGeom prst="ellipse">
              <a:avLst/>
            </a:prstGeom>
            <a:solidFill>
              <a:schemeClr val="bg1"/>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398" b="1" kern="1200" dirty="0" err="1">
                <a:solidFill>
                  <a:srgbClr val="4D4D4F"/>
                </a:solidFill>
                <a:latin typeface="Arial Narrow" panose="020B0606020202030204" pitchFamily="34" charset="0"/>
                <a:ea typeface="+mn-ea"/>
                <a:cs typeface="Calibri" panose="020F0502020204030204" pitchFamily="34" charset="0"/>
              </a:endParaRPr>
            </a:p>
          </p:txBody>
        </p:sp>
      </p:gr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2647" y="2500683"/>
            <a:ext cx="1112431" cy="1092205"/>
          </a:xfrm>
          <a:prstGeom prst="rect">
            <a:avLst/>
          </a:prstGeom>
        </p:spPr>
      </p:pic>
    </p:spTree>
    <p:extLst>
      <p:ext uri="{BB962C8B-B14F-4D97-AF65-F5344CB8AC3E}">
        <p14:creationId xmlns:p14="http://schemas.microsoft.com/office/powerpoint/2010/main" val="3158200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05"/>
        <p:cNvGrpSpPr/>
        <p:nvPr/>
      </p:nvGrpSpPr>
      <p:grpSpPr>
        <a:xfrm>
          <a:off x="0" y="0"/>
          <a:ext cx="0" cy="0"/>
          <a:chOff x="0" y="0"/>
          <a:chExt cx="0" cy="0"/>
        </a:xfrm>
      </p:grpSpPr>
      <p:sp>
        <p:nvSpPr>
          <p:cNvPr id="5016" name="Google Shape;5016;p35"/>
          <p:cNvSpPr/>
          <p:nvPr/>
        </p:nvSpPr>
        <p:spPr>
          <a:xfrm>
            <a:off x="-50254" y="4510089"/>
            <a:ext cx="12188825" cy="204052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lang="en-US" sz="2400" dirty="0">
              <a:solidFill>
                <a:schemeClr val="dk1"/>
              </a:solidFill>
              <a:latin typeface="Calibri"/>
              <a:ea typeface="Calibri"/>
              <a:cs typeface="Calibri"/>
              <a:sym typeface="Calibri"/>
            </a:endParaRPr>
          </a:p>
        </p:txBody>
      </p:sp>
      <p:pic>
        <p:nvPicPr>
          <p:cNvPr id="58" name="Picture 57">
            <a:extLst>
              <a:ext uri="{FF2B5EF4-FFF2-40B4-BE49-F238E27FC236}">
                <a16:creationId xmlns:a16="http://schemas.microsoft.com/office/drawing/2014/main" id="{F701CAE0-D08F-4D8B-8E04-5EF38CA06D0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124825" y="0"/>
            <a:ext cx="4064000" cy="6858000"/>
          </a:xfrm>
          <a:prstGeom prst="rect">
            <a:avLst/>
          </a:prstGeom>
        </p:spPr>
      </p:pic>
      <p:cxnSp>
        <p:nvCxnSpPr>
          <p:cNvPr id="72" name="Straight Connector 71">
            <a:extLst>
              <a:ext uri="{FF2B5EF4-FFF2-40B4-BE49-F238E27FC236}">
                <a16:creationId xmlns:a16="http://schemas.microsoft.com/office/drawing/2014/main" id="{0423AC72-512E-45EE-8747-000E73B41500}"/>
              </a:ext>
            </a:extLst>
          </p:cNvPr>
          <p:cNvCxnSpPr>
            <a:cxnSpLocks/>
          </p:cNvCxnSpPr>
          <p:nvPr/>
        </p:nvCxnSpPr>
        <p:spPr bwMode="auto">
          <a:xfrm>
            <a:off x="5698999" y="3378920"/>
            <a:ext cx="2190369" cy="0"/>
          </a:xfrm>
          <a:prstGeom prst="line">
            <a:avLst/>
          </a:prstGeom>
          <a:noFill/>
          <a:ln w="73025" cap="sq" cmpd="sng" algn="ctr">
            <a:gradFill>
              <a:gsLst>
                <a:gs pos="0">
                  <a:schemeClr val="tx2">
                    <a:lumMod val="60000"/>
                    <a:lumOff val="40000"/>
                  </a:schemeClr>
                </a:gs>
                <a:gs pos="100000">
                  <a:schemeClr val="tx2">
                    <a:lumMod val="50000"/>
                  </a:schemeClr>
                </a:gs>
              </a:gsLst>
              <a:lin ang="0" scaled="0"/>
            </a:gradFill>
            <a:prstDash val="solid"/>
            <a:round/>
            <a:headEnd type="oval" w="sm" len="sm"/>
            <a:tailEnd type="oval" w="sm" len="sm"/>
          </a:ln>
          <a:effectLst/>
        </p:spPr>
      </p:cxnSp>
      <p:grpSp>
        <p:nvGrpSpPr>
          <p:cNvPr id="5018" name="Google Shape;5018;p35"/>
          <p:cNvGrpSpPr/>
          <p:nvPr/>
        </p:nvGrpSpPr>
        <p:grpSpPr>
          <a:xfrm>
            <a:off x="539666" y="3655348"/>
            <a:ext cx="3121015" cy="646331"/>
            <a:chOff x="8057986" y="2930085"/>
            <a:chExt cx="3121015" cy="646331"/>
          </a:xfrm>
        </p:grpSpPr>
        <p:sp>
          <p:nvSpPr>
            <p:cNvPr id="5022" name="Google Shape;5022;p35"/>
            <p:cNvSpPr/>
            <p:nvPr/>
          </p:nvSpPr>
          <p:spPr>
            <a:xfrm flipH="1">
              <a:off x="8655111" y="3059182"/>
              <a:ext cx="2523890"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cap="none" dirty="0">
                  <a:solidFill>
                    <a:srgbClr val="262627"/>
                  </a:solidFill>
                  <a:latin typeface="Calibri"/>
                  <a:ea typeface="Calibri"/>
                  <a:cs typeface="Calibri"/>
                  <a:sym typeface="Calibri"/>
                </a:rPr>
                <a:t>Runtime protection</a:t>
              </a:r>
              <a:endParaRPr lang="en-US" sz="1600" b="1" dirty="0">
                <a:latin typeface="Calibri" panose="020F0502020204030204" pitchFamily="34" charset="0"/>
                <a:cs typeface="Calibri" panose="020F0502020204030204" pitchFamily="34" charset="0"/>
              </a:endParaRPr>
            </a:p>
          </p:txBody>
        </p:sp>
        <p:sp>
          <p:nvSpPr>
            <p:cNvPr id="5023" name="Google Shape;5023;p35"/>
            <p:cNvSpPr txBox="1"/>
            <p:nvPr/>
          </p:nvSpPr>
          <p:spPr>
            <a:xfrm>
              <a:off x="8057986" y="2930085"/>
              <a:ext cx="801740" cy="646331"/>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3600" dirty="0">
                  <a:solidFill>
                    <a:srgbClr val="F360A1"/>
                  </a:solidFill>
                  <a:latin typeface="Calibri"/>
                  <a:ea typeface="Calibri"/>
                  <a:cs typeface="Calibri"/>
                  <a:sym typeface="Calibri"/>
                </a:rPr>
                <a:t>03</a:t>
              </a:r>
              <a:endParaRPr lang="en-US" dirty="0">
                <a:latin typeface="Calibri" panose="020F0502020204030204" pitchFamily="34" charset="0"/>
                <a:cs typeface="Calibri" panose="020F0502020204030204" pitchFamily="34" charset="0"/>
              </a:endParaRPr>
            </a:p>
          </p:txBody>
        </p:sp>
      </p:grpSp>
      <p:grpSp>
        <p:nvGrpSpPr>
          <p:cNvPr id="5027" name="Google Shape;5027;p35"/>
          <p:cNvGrpSpPr/>
          <p:nvPr/>
        </p:nvGrpSpPr>
        <p:grpSpPr>
          <a:xfrm>
            <a:off x="540559" y="1511607"/>
            <a:ext cx="2527861" cy="757257"/>
            <a:chOff x="8058879" y="786344"/>
            <a:chExt cx="2527861" cy="757257"/>
          </a:xfrm>
        </p:grpSpPr>
        <p:sp>
          <p:nvSpPr>
            <p:cNvPr id="5031" name="Google Shape;5031;p35"/>
            <p:cNvSpPr/>
            <p:nvPr/>
          </p:nvSpPr>
          <p:spPr>
            <a:xfrm flipH="1">
              <a:off x="8629982" y="897311"/>
              <a:ext cx="1956758" cy="646290"/>
            </a:xfrm>
            <a:prstGeom prst="rect">
              <a:avLst/>
            </a:prstGeom>
            <a:noFill/>
            <a:ln>
              <a:noFill/>
            </a:ln>
          </p:spPr>
          <p:txBody>
            <a:bodyPr spcFirstLastPara="1" wrap="square" lIns="91425" tIns="45700" rIns="91425" bIns="45700" anchor="t" anchorCtr="0">
              <a:spAutoFit/>
            </a:bodyPr>
            <a:lstStyle/>
            <a:p>
              <a:pPr marL="0" marR="0" lvl="1" indent="0" algn="l" rtl="0">
                <a:spcBef>
                  <a:spcPts val="0"/>
                </a:spcBef>
                <a:spcAft>
                  <a:spcPts val="0"/>
                </a:spcAft>
                <a:buNone/>
              </a:pPr>
              <a:r>
                <a:rPr lang="en-US" sz="1800" b="1" i="0" u="none" strike="noStrike" cap="none" dirty="0">
                  <a:solidFill>
                    <a:srgbClr val="262627"/>
                  </a:solidFill>
                  <a:latin typeface="Calibri"/>
                  <a:ea typeface="Calibri"/>
                  <a:cs typeface="Calibri"/>
                  <a:sym typeface="Calibri"/>
                </a:rPr>
                <a:t>Reducing the attack surface</a:t>
              </a:r>
              <a:endParaRPr lang="en-US" sz="1600" b="1" dirty="0">
                <a:latin typeface="Calibri" panose="020F0502020204030204" pitchFamily="34" charset="0"/>
                <a:cs typeface="Calibri" panose="020F0502020204030204" pitchFamily="34" charset="0"/>
              </a:endParaRPr>
            </a:p>
          </p:txBody>
        </p:sp>
        <p:sp>
          <p:nvSpPr>
            <p:cNvPr id="5032" name="Google Shape;5032;p35"/>
            <p:cNvSpPr txBox="1"/>
            <p:nvPr/>
          </p:nvSpPr>
          <p:spPr>
            <a:xfrm>
              <a:off x="8058879" y="786344"/>
              <a:ext cx="801740" cy="646331"/>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3600" dirty="0">
                  <a:solidFill>
                    <a:schemeClr val="dk2"/>
                  </a:solidFill>
                  <a:latin typeface="Calibri"/>
                  <a:ea typeface="Calibri"/>
                  <a:cs typeface="Calibri"/>
                  <a:sym typeface="Calibri"/>
                </a:rPr>
                <a:t>01</a:t>
              </a:r>
              <a:endParaRPr lang="en-US" dirty="0">
                <a:latin typeface="Calibri" panose="020F0502020204030204" pitchFamily="34" charset="0"/>
                <a:cs typeface="Calibri" panose="020F0502020204030204" pitchFamily="34" charset="0"/>
              </a:endParaRPr>
            </a:p>
          </p:txBody>
        </p:sp>
      </p:grpSp>
      <p:grpSp>
        <p:nvGrpSpPr>
          <p:cNvPr id="5036" name="Google Shape;5036;p35"/>
          <p:cNvGrpSpPr/>
          <p:nvPr/>
        </p:nvGrpSpPr>
        <p:grpSpPr>
          <a:xfrm>
            <a:off x="540559" y="2709445"/>
            <a:ext cx="3145250" cy="717077"/>
            <a:chOff x="8058879" y="1984182"/>
            <a:chExt cx="3145250" cy="717077"/>
          </a:xfrm>
        </p:grpSpPr>
        <p:sp>
          <p:nvSpPr>
            <p:cNvPr id="5037" name="Google Shape;5037;p35"/>
            <p:cNvSpPr/>
            <p:nvPr/>
          </p:nvSpPr>
          <p:spPr>
            <a:xfrm flipH="1">
              <a:off x="8629983" y="2054969"/>
              <a:ext cx="2574146" cy="646290"/>
            </a:xfrm>
            <a:prstGeom prst="rect">
              <a:avLst/>
            </a:prstGeom>
            <a:noFill/>
            <a:ln>
              <a:noFill/>
            </a:ln>
          </p:spPr>
          <p:txBody>
            <a:bodyPr spcFirstLastPara="1" wrap="square" lIns="91425" tIns="45700" rIns="91425" bIns="45700" anchor="t" anchorCtr="0">
              <a:spAutoFit/>
            </a:bodyPr>
            <a:lstStyle/>
            <a:p>
              <a:pPr marL="0" marR="0" lvl="1" indent="0" algn="l" rtl="0">
                <a:spcBef>
                  <a:spcPts val="0"/>
                </a:spcBef>
                <a:spcAft>
                  <a:spcPts val="0"/>
                </a:spcAft>
                <a:buNone/>
              </a:pPr>
              <a:r>
                <a:rPr lang="en-US" sz="1800" b="1" i="0" u="none" strike="noStrike" cap="none" dirty="0">
                  <a:solidFill>
                    <a:srgbClr val="262627"/>
                  </a:solidFill>
                  <a:latin typeface="Calibri"/>
                  <a:ea typeface="Calibri"/>
                  <a:cs typeface="Calibri"/>
                  <a:sym typeface="Calibri"/>
                </a:rPr>
                <a:t>Preventing attacks before they run</a:t>
              </a:r>
              <a:endParaRPr lang="en-US" sz="1600" b="1" dirty="0">
                <a:latin typeface="Calibri" panose="020F0502020204030204" pitchFamily="34" charset="0"/>
                <a:cs typeface="Calibri" panose="020F0502020204030204" pitchFamily="34" charset="0"/>
              </a:endParaRPr>
            </a:p>
          </p:txBody>
        </p:sp>
        <p:sp>
          <p:nvSpPr>
            <p:cNvPr id="5039" name="Google Shape;5039;p35"/>
            <p:cNvSpPr txBox="1"/>
            <p:nvPr/>
          </p:nvSpPr>
          <p:spPr>
            <a:xfrm>
              <a:off x="8058879" y="1984182"/>
              <a:ext cx="801740" cy="646331"/>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3600" dirty="0">
                  <a:solidFill>
                    <a:schemeClr val="lt2"/>
                  </a:solidFill>
                  <a:latin typeface="Calibri"/>
                  <a:ea typeface="Calibri"/>
                  <a:cs typeface="Calibri"/>
                  <a:sym typeface="Calibri"/>
                </a:rPr>
                <a:t>02</a:t>
              </a:r>
              <a:endParaRPr lang="en-US" dirty="0">
                <a:latin typeface="Calibri" panose="020F0502020204030204" pitchFamily="34" charset="0"/>
                <a:cs typeface="Calibri" panose="020F0502020204030204" pitchFamily="34" charset="0"/>
              </a:endParaRPr>
            </a:p>
          </p:txBody>
        </p:sp>
      </p:grpSp>
      <p:grpSp>
        <p:nvGrpSpPr>
          <p:cNvPr id="5044" name="Google Shape;5044;p35"/>
          <p:cNvGrpSpPr/>
          <p:nvPr/>
        </p:nvGrpSpPr>
        <p:grpSpPr>
          <a:xfrm>
            <a:off x="605643" y="4783627"/>
            <a:ext cx="1839473" cy="1233200"/>
            <a:chOff x="5546303" y="4770948"/>
            <a:chExt cx="1839473" cy="1233200"/>
          </a:xfrm>
        </p:grpSpPr>
        <p:sp>
          <p:nvSpPr>
            <p:cNvPr id="5045" name="Google Shape;5045;p35"/>
            <p:cNvSpPr/>
            <p:nvPr/>
          </p:nvSpPr>
          <p:spPr>
            <a:xfrm>
              <a:off x="5546303" y="5076093"/>
              <a:ext cx="1839473" cy="928055"/>
            </a:xfrm>
            <a:prstGeom prst="rect">
              <a:avLst/>
            </a:prstGeom>
            <a:noFill/>
            <a:ln>
              <a:noFill/>
            </a:ln>
          </p:spPr>
          <p:txBody>
            <a:bodyPr spcFirstLastPara="1" wrap="square" lIns="72000" tIns="180000" rIns="72000" bIns="72000" anchor="ctr" anchorCtr="0">
              <a:noAutofit/>
            </a:bodyPr>
            <a:lstStyle/>
            <a:p>
              <a:pPr marL="0" marR="0" lvl="0" indent="0" algn="l" rtl="0">
                <a:lnSpc>
                  <a:spcPct val="118750"/>
                </a:lnSpc>
                <a:spcBef>
                  <a:spcPts val="0"/>
                </a:spcBef>
                <a:spcAft>
                  <a:spcPts val="0"/>
                </a:spcAft>
                <a:buNone/>
              </a:pPr>
              <a:r>
                <a:rPr lang="en-US" dirty="0">
                  <a:solidFill>
                    <a:srgbClr val="262627"/>
                  </a:solidFill>
                  <a:latin typeface="Calibri"/>
                  <a:ea typeface="Calibri"/>
                  <a:cs typeface="Calibri"/>
                  <a:sym typeface="Calibri"/>
                </a:rPr>
                <a:t>Host Firewall</a:t>
              </a:r>
              <a:endParaRPr sz="1200" dirty="0">
                <a:latin typeface="Calibri" panose="020F0502020204030204" pitchFamily="34" charset="0"/>
                <a:cs typeface="Calibri" panose="020F0502020204030204" pitchFamily="34" charset="0"/>
              </a:endParaRPr>
            </a:p>
            <a:p>
              <a:pPr marL="0" marR="0" lvl="0" indent="0" algn="l" rtl="0">
                <a:lnSpc>
                  <a:spcPct val="118750"/>
                </a:lnSpc>
                <a:spcBef>
                  <a:spcPts val="0"/>
                </a:spcBef>
                <a:spcAft>
                  <a:spcPts val="0"/>
                </a:spcAft>
                <a:buNone/>
              </a:pPr>
              <a:r>
                <a:rPr lang="en-US" dirty="0">
                  <a:solidFill>
                    <a:srgbClr val="262627"/>
                  </a:solidFill>
                  <a:latin typeface="Calibri"/>
                  <a:ea typeface="Calibri"/>
                  <a:cs typeface="Calibri"/>
                  <a:sym typeface="Calibri"/>
                </a:rPr>
                <a:t>Compliance </a:t>
              </a:r>
              <a:endParaRPr sz="1200" dirty="0">
                <a:latin typeface="Calibri" panose="020F0502020204030204" pitchFamily="34" charset="0"/>
                <a:cs typeface="Calibri" panose="020F0502020204030204" pitchFamily="34" charset="0"/>
              </a:endParaRPr>
            </a:p>
            <a:p>
              <a:pPr marL="0" marR="0" lvl="0" indent="0" algn="l" rtl="0">
                <a:lnSpc>
                  <a:spcPct val="118750"/>
                </a:lnSpc>
                <a:spcBef>
                  <a:spcPts val="0"/>
                </a:spcBef>
                <a:spcAft>
                  <a:spcPts val="0"/>
                </a:spcAft>
                <a:buNone/>
              </a:pPr>
              <a:r>
                <a:rPr lang="en-US" dirty="0">
                  <a:solidFill>
                    <a:srgbClr val="262627"/>
                  </a:solidFill>
                  <a:latin typeface="Calibri"/>
                  <a:ea typeface="Calibri"/>
                  <a:cs typeface="Calibri"/>
                  <a:sym typeface="Calibri"/>
                </a:rPr>
                <a:t>VPN</a:t>
              </a:r>
              <a:endParaRPr sz="1200" dirty="0">
                <a:latin typeface="Calibri" panose="020F0502020204030204" pitchFamily="34" charset="0"/>
                <a:cs typeface="Calibri" panose="020F0502020204030204" pitchFamily="34" charset="0"/>
              </a:endParaRPr>
            </a:p>
            <a:p>
              <a:pPr marL="0" marR="0" lvl="0" indent="0" algn="l" rtl="0">
                <a:lnSpc>
                  <a:spcPct val="118750"/>
                </a:lnSpc>
                <a:spcBef>
                  <a:spcPts val="0"/>
                </a:spcBef>
                <a:spcAft>
                  <a:spcPts val="0"/>
                </a:spcAft>
                <a:buNone/>
              </a:pPr>
              <a:r>
                <a:rPr lang="en-US" dirty="0">
                  <a:solidFill>
                    <a:srgbClr val="262627"/>
                  </a:solidFill>
                  <a:latin typeface="Calibri"/>
                  <a:ea typeface="Calibri"/>
                  <a:cs typeface="Calibri"/>
                  <a:sym typeface="Calibri"/>
                </a:rPr>
                <a:t>Web protection</a:t>
              </a:r>
              <a:endParaRPr sz="1200" dirty="0">
                <a:latin typeface="Calibri" panose="020F0502020204030204" pitchFamily="34" charset="0"/>
                <a:cs typeface="Calibri" panose="020F0502020204030204" pitchFamily="34" charset="0"/>
              </a:endParaRPr>
            </a:p>
            <a:p>
              <a:pPr marL="0" marR="0" lvl="0" indent="0" algn="l" rtl="0">
                <a:lnSpc>
                  <a:spcPct val="118750"/>
                </a:lnSpc>
                <a:spcBef>
                  <a:spcPts val="0"/>
                </a:spcBef>
                <a:spcAft>
                  <a:spcPts val="0"/>
                </a:spcAft>
                <a:buNone/>
              </a:pPr>
              <a:r>
                <a:rPr lang="en-US" dirty="0">
                  <a:solidFill>
                    <a:srgbClr val="262627"/>
                  </a:solidFill>
                  <a:latin typeface="Calibri"/>
                  <a:ea typeface="Calibri"/>
                  <a:cs typeface="Calibri"/>
                  <a:sym typeface="Calibri"/>
                </a:rPr>
                <a:t>Data Security</a:t>
              </a:r>
              <a:endParaRPr sz="1200" dirty="0">
                <a:latin typeface="Calibri" panose="020F0502020204030204" pitchFamily="34" charset="0"/>
                <a:cs typeface="Calibri" panose="020F0502020204030204" pitchFamily="34" charset="0"/>
              </a:endParaRPr>
            </a:p>
          </p:txBody>
        </p:sp>
        <p:cxnSp>
          <p:nvCxnSpPr>
            <p:cNvPr id="5046" name="Google Shape;5046;p35"/>
            <p:cNvCxnSpPr/>
            <p:nvPr/>
          </p:nvCxnSpPr>
          <p:spPr>
            <a:xfrm rot="10800000">
              <a:off x="5648033" y="4770948"/>
              <a:ext cx="504000" cy="0"/>
            </a:xfrm>
            <a:prstGeom prst="straightConnector1">
              <a:avLst/>
            </a:prstGeom>
            <a:solidFill>
              <a:schemeClr val="lt1"/>
            </a:solidFill>
            <a:ln w="38100" cap="rnd" cmpd="sng">
              <a:solidFill>
                <a:schemeClr val="dk2"/>
              </a:solidFill>
              <a:prstDash val="solid"/>
              <a:round/>
              <a:headEnd type="none" w="sm" len="sm"/>
              <a:tailEnd type="none" w="sm" len="sm"/>
            </a:ln>
          </p:spPr>
        </p:cxnSp>
      </p:grpSp>
      <p:grpSp>
        <p:nvGrpSpPr>
          <p:cNvPr id="5047" name="Google Shape;5047;p35"/>
          <p:cNvGrpSpPr/>
          <p:nvPr/>
        </p:nvGrpSpPr>
        <p:grpSpPr>
          <a:xfrm>
            <a:off x="2971436" y="4783627"/>
            <a:ext cx="1860714" cy="1545136"/>
            <a:chOff x="7664306" y="4770948"/>
            <a:chExt cx="1860714" cy="1545136"/>
          </a:xfrm>
        </p:grpSpPr>
        <p:sp>
          <p:nvSpPr>
            <p:cNvPr id="5048" name="Google Shape;5048;p35"/>
            <p:cNvSpPr/>
            <p:nvPr/>
          </p:nvSpPr>
          <p:spPr>
            <a:xfrm>
              <a:off x="7664306" y="4931130"/>
              <a:ext cx="1860714" cy="13849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solidFill>
                    <a:srgbClr val="262627"/>
                  </a:solidFill>
                  <a:latin typeface="Calibri"/>
                  <a:ea typeface="Calibri"/>
                  <a:cs typeface="Calibri"/>
                  <a:sym typeface="Calibri"/>
                </a:rPr>
                <a:t>Content Disarm &amp; Reconstruction </a:t>
              </a:r>
              <a:endParaRPr sz="1200"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dirty="0">
                  <a:solidFill>
                    <a:srgbClr val="262627"/>
                  </a:solidFill>
                  <a:latin typeface="Calibri"/>
                  <a:ea typeface="Calibri"/>
                  <a:cs typeface="Calibri"/>
                  <a:sym typeface="Calibri"/>
                </a:rPr>
                <a:t>Sandboxing </a:t>
              </a:r>
              <a:endParaRPr sz="1200"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dirty="0">
                  <a:solidFill>
                    <a:srgbClr val="262627"/>
                  </a:solidFill>
                  <a:latin typeface="Calibri"/>
                  <a:ea typeface="Calibri"/>
                  <a:cs typeface="Calibri"/>
                  <a:sym typeface="Calibri"/>
                </a:rPr>
                <a:t>NGAV</a:t>
              </a:r>
              <a:endParaRPr sz="1200"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dirty="0">
                  <a:solidFill>
                    <a:srgbClr val="262627"/>
                  </a:solidFill>
                  <a:latin typeface="Calibri"/>
                  <a:ea typeface="Calibri"/>
                  <a:cs typeface="Calibri"/>
                  <a:sym typeface="Calibri"/>
                </a:rPr>
                <a:t>Anti-malware </a:t>
              </a:r>
              <a:endParaRPr sz="1200"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dirty="0">
                  <a:solidFill>
                    <a:srgbClr val="262627"/>
                  </a:solidFill>
                  <a:latin typeface="Calibri"/>
                  <a:ea typeface="Calibri"/>
                  <a:cs typeface="Calibri"/>
                  <a:sym typeface="Calibri"/>
                </a:rPr>
                <a:t>Zero-phishing </a:t>
              </a:r>
              <a:endParaRPr sz="1200" dirty="0">
                <a:latin typeface="Calibri" panose="020F0502020204030204" pitchFamily="34" charset="0"/>
                <a:cs typeface="Calibri" panose="020F0502020204030204" pitchFamily="34" charset="0"/>
              </a:endParaRPr>
            </a:p>
          </p:txBody>
        </p:sp>
        <p:cxnSp>
          <p:nvCxnSpPr>
            <p:cNvPr id="5049" name="Google Shape;5049;p35"/>
            <p:cNvCxnSpPr/>
            <p:nvPr/>
          </p:nvCxnSpPr>
          <p:spPr>
            <a:xfrm rot="10800000">
              <a:off x="7742185" y="4770948"/>
              <a:ext cx="504000" cy="0"/>
            </a:xfrm>
            <a:prstGeom prst="straightConnector1">
              <a:avLst/>
            </a:prstGeom>
            <a:solidFill>
              <a:schemeClr val="lt1"/>
            </a:solidFill>
            <a:ln w="38100" cap="rnd" cmpd="sng">
              <a:solidFill>
                <a:schemeClr val="lt2"/>
              </a:solidFill>
              <a:prstDash val="solid"/>
              <a:round/>
              <a:headEnd type="none" w="sm" len="sm"/>
              <a:tailEnd type="none" w="sm" len="sm"/>
            </a:ln>
          </p:spPr>
        </p:cxnSp>
      </p:grpSp>
      <p:grpSp>
        <p:nvGrpSpPr>
          <p:cNvPr id="5050" name="Google Shape;5050;p35"/>
          <p:cNvGrpSpPr/>
          <p:nvPr/>
        </p:nvGrpSpPr>
        <p:grpSpPr>
          <a:xfrm>
            <a:off x="5336077" y="4783627"/>
            <a:ext cx="2177708" cy="1368165"/>
            <a:chOff x="9803550" y="4770948"/>
            <a:chExt cx="2177708" cy="1368165"/>
          </a:xfrm>
        </p:grpSpPr>
        <p:sp>
          <p:nvSpPr>
            <p:cNvPr id="5051" name="Google Shape;5051;p35"/>
            <p:cNvSpPr/>
            <p:nvPr/>
          </p:nvSpPr>
          <p:spPr>
            <a:xfrm>
              <a:off x="9803550" y="4931130"/>
              <a:ext cx="2177708" cy="1207983"/>
            </a:xfrm>
            <a:prstGeom prst="rect">
              <a:avLst/>
            </a:prstGeom>
            <a:noFill/>
            <a:ln>
              <a:noFill/>
            </a:ln>
          </p:spPr>
          <p:txBody>
            <a:bodyPr spcFirstLastPara="1" wrap="square" lIns="91425" tIns="45700" rIns="91425" bIns="45700" anchor="t" anchorCtr="0">
              <a:spAutoFit/>
            </a:bodyPr>
            <a:lstStyle/>
            <a:p>
              <a:pPr marL="0" marR="0" lvl="0" indent="0" algn="l" rtl="0">
                <a:lnSpc>
                  <a:spcPct val="125000"/>
                </a:lnSpc>
                <a:spcBef>
                  <a:spcPts val="0"/>
                </a:spcBef>
                <a:spcAft>
                  <a:spcPts val="0"/>
                </a:spcAft>
                <a:buNone/>
              </a:pPr>
              <a:r>
                <a:rPr lang="en-US" dirty="0">
                  <a:solidFill>
                    <a:srgbClr val="262627"/>
                  </a:solidFill>
                  <a:latin typeface="Calibri"/>
                  <a:ea typeface="Calibri"/>
                  <a:cs typeface="Calibri"/>
                  <a:sym typeface="Calibri"/>
                </a:rPr>
                <a:t>Anti-ransomware </a:t>
              </a:r>
              <a:endParaRPr sz="1200" dirty="0">
                <a:latin typeface="Calibri" panose="020F0502020204030204" pitchFamily="34" charset="0"/>
                <a:cs typeface="Calibri" panose="020F0502020204030204" pitchFamily="34" charset="0"/>
              </a:endParaRPr>
            </a:p>
            <a:p>
              <a:pPr marL="0" marR="0" lvl="0" indent="0" algn="l" rtl="0">
                <a:lnSpc>
                  <a:spcPct val="125000"/>
                </a:lnSpc>
                <a:spcBef>
                  <a:spcPts val="0"/>
                </a:spcBef>
                <a:spcAft>
                  <a:spcPts val="0"/>
                </a:spcAft>
                <a:buNone/>
              </a:pPr>
              <a:r>
                <a:rPr lang="en-US" dirty="0">
                  <a:solidFill>
                    <a:srgbClr val="262627"/>
                  </a:solidFill>
                  <a:latin typeface="Calibri"/>
                  <a:ea typeface="Calibri"/>
                  <a:cs typeface="Calibri"/>
                  <a:sym typeface="Calibri"/>
                </a:rPr>
                <a:t>Anti-bot </a:t>
              </a:r>
              <a:endParaRPr sz="1200" dirty="0">
                <a:latin typeface="Calibri" panose="020F0502020204030204" pitchFamily="34" charset="0"/>
                <a:cs typeface="Calibri" panose="020F0502020204030204" pitchFamily="34" charset="0"/>
              </a:endParaRPr>
            </a:p>
            <a:p>
              <a:pPr marL="0" marR="0" lvl="0" indent="0" algn="l" rtl="0">
                <a:lnSpc>
                  <a:spcPct val="125000"/>
                </a:lnSpc>
                <a:spcBef>
                  <a:spcPts val="0"/>
                </a:spcBef>
                <a:spcAft>
                  <a:spcPts val="0"/>
                </a:spcAft>
                <a:buNone/>
              </a:pPr>
              <a:r>
                <a:rPr lang="en-US" dirty="0">
                  <a:solidFill>
                    <a:srgbClr val="262627"/>
                  </a:solidFill>
                  <a:latin typeface="Calibri"/>
                  <a:ea typeface="Calibri"/>
                  <a:cs typeface="Calibri"/>
                  <a:sym typeface="Calibri"/>
                </a:rPr>
                <a:t>Anti-exploit</a:t>
              </a:r>
              <a:endParaRPr sz="1200" dirty="0">
                <a:latin typeface="Calibri" panose="020F0502020204030204" pitchFamily="34" charset="0"/>
                <a:cs typeface="Calibri" panose="020F0502020204030204" pitchFamily="34" charset="0"/>
              </a:endParaRPr>
            </a:p>
            <a:p>
              <a:pPr marL="0" marR="0" lvl="0" indent="0" algn="l" rtl="0">
                <a:lnSpc>
                  <a:spcPct val="125000"/>
                </a:lnSpc>
                <a:spcBef>
                  <a:spcPts val="0"/>
                </a:spcBef>
                <a:spcAft>
                  <a:spcPts val="0"/>
                </a:spcAft>
                <a:buNone/>
              </a:pPr>
              <a:r>
                <a:rPr lang="en-US" dirty="0">
                  <a:solidFill>
                    <a:srgbClr val="262627"/>
                  </a:solidFill>
                  <a:latin typeface="Calibri"/>
                  <a:ea typeface="Calibri"/>
                  <a:cs typeface="Calibri"/>
                  <a:sym typeface="Calibri"/>
                </a:rPr>
                <a:t>Behavioral Analysis </a:t>
              </a:r>
              <a:endParaRPr sz="1200" dirty="0">
                <a:latin typeface="Calibri" panose="020F0502020204030204" pitchFamily="34" charset="0"/>
                <a:cs typeface="Calibri" panose="020F0502020204030204" pitchFamily="34" charset="0"/>
              </a:endParaRPr>
            </a:p>
          </p:txBody>
        </p:sp>
        <p:cxnSp>
          <p:nvCxnSpPr>
            <p:cNvPr id="5052" name="Google Shape;5052;p35"/>
            <p:cNvCxnSpPr/>
            <p:nvPr/>
          </p:nvCxnSpPr>
          <p:spPr>
            <a:xfrm rot="10800000">
              <a:off x="9901709" y="4770948"/>
              <a:ext cx="504000" cy="0"/>
            </a:xfrm>
            <a:prstGeom prst="straightConnector1">
              <a:avLst/>
            </a:prstGeom>
            <a:solidFill>
              <a:schemeClr val="lt1"/>
            </a:solidFill>
            <a:ln w="38100" cap="rnd" cmpd="sng">
              <a:solidFill>
                <a:srgbClr val="F360A1"/>
              </a:solidFill>
              <a:prstDash val="solid"/>
              <a:round/>
              <a:headEnd type="none" w="sm" len="sm"/>
              <a:tailEnd type="none" w="sm" len="sm"/>
            </a:ln>
          </p:spPr>
        </p:cxnSp>
      </p:gr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cxnSp>
        <p:nvCxnSpPr>
          <p:cNvPr id="61" name="Straight Connector 60">
            <a:extLst>
              <a:ext uri="{FF2B5EF4-FFF2-40B4-BE49-F238E27FC236}">
                <a16:creationId xmlns:a16="http://schemas.microsoft.com/office/drawing/2014/main" id="{CF94D323-BB0D-4070-9D53-4C81A2C9F548}"/>
              </a:ext>
            </a:extLst>
          </p:cNvPr>
          <p:cNvCxnSpPr>
            <a:cxnSpLocks/>
          </p:cNvCxnSpPr>
          <p:nvPr/>
        </p:nvCxnSpPr>
        <p:spPr bwMode="auto">
          <a:xfrm>
            <a:off x="8541967" y="3551406"/>
            <a:ext cx="2455350" cy="2053149"/>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Oval 61">
            <a:extLst>
              <a:ext uri="{FF2B5EF4-FFF2-40B4-BE49-F238E27FC236}">
                <a16:creationId xmlns:a16="http://schemas.microsoft.com/office/drawing/2014/main" id="{F79532A7-335E-4731-AC96-AE12C1A72A19}"/>
              </a:ext>
            </a:extLst>
          </p:cNvPr>
          <p:cNvSpPr/>
          <p:nvPr/>
        </p:nvSpPr>
        <p:spPr bwMode="auto">
          <a:xfrm>
            <a:off x="7710388" y="2976694"/>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63" name="Graphic 22">
            <a:extLst>
              <a:ext uri="{FF2B5EF4-FFF2-40B4-BE49-F238E27FC236}">
                <a16:creationId xmlns:a16="http://schemas.microsoft.com/office/drawing/2014/main" id="{0FFBCAAF-1659-45C7-8AFB-3D1B9FFBB463}"/>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89368" y="3179538"/>
            <a:ext cx="507820" cy="423183"/>
          </a:xfrm>
          <a:prstGeom prst="rect">
            <a:avLst/>
          </a:prstGeom>
        </p:spPr>
      </p:pic>
      <p:sp>
        <p:nvSpPr>
          <p:cNvPr id="64" name="Google Shape;828;p12"/>
          <p:cNvSpPr txBox="1"/>
          <p:nvPr/>
        </p:nvSpPr>
        <p:spPr>
          <a:xfrm>
            <a:off x="500709" y="731594"/>
            <a:ext cx="7562635" cy="461624"/>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Calibri" panose="020F0502020204030204" pitchFamily="34" charset="0"/>
                <a:cs typeface="Calibri" panose="020F0502020204030204" pitchFamily="34" charset="0"/>
              </a:rPr>
              <a:t>PROTECT THE ENDPOINT FROM ALL IMMINENT THREATS </a:t>
            </a:r>
          </a:p>
        </p:txBody>
      </p:sp>
      <p:pic>
        <p:nvPicPr>
          <p:cNvPr id="69" name="Google Shape;2047;p17"/>
          <p:cNvPicPr preferRelativeResize="0"/>
          <p:nvPr/>
        </p:nvPicPr>
        <p:blipFill rotWithShape="1">
          <a:blip r:embed="rId6">
            <a:alphaModFix/>
          </a:blip>
          <a:srcRect/>
          <a:stretch/>
        </p:blipFill>
        <p:spPr>
          <a:xfrm>
            <a:off x="3311281" y="1559903"/>
            <a:ext cx="4309617" cy="2833581"/>
          </a:xfrm>
          <a:custGeom>
            <a:avLst/>
            <a:gdLst/>
            <a:ahLst/>
            <a:cxnLst/>
            <a:rect l="l" t="t" r="r" b="b"/>
            <a:pathLst>
              <a:path w="6435172" h="3859414" extrusionOk="0">
                <a:moveTo>
                  <a:pt x="887588" y="296702"/>
                </a:moveTo>
                <a:lnTo>
                  <a:pt x="887588" y="3090952"/>
                </a:lnTo>
                <a:lnTo>
                  <a:pt x="5551351" y="3090952"/>
                </a:lnTo>
                <a:lnTo>
                  <a:pt x="5551351" y="296702"/>
                </a:lnTo>
                <a:close/>
                <a:moveTo>
                  <a:pt x="0" y="0"/>
                </a:moveTo>
                <a:lnTo>
                  <a:pt x="6435172" y="0"/>
                </a:lnTo>
                <a:lnTo>
                  <a:pt x="6435172" y="3859414"/>
                </a:lnTo>
                <a:lnTo>
                  <a:pt x="0" y="3859414"/>
                </a:lnTo>
                <a:close/>
              </a:path>
            </a:pathLst>
          </a:custGeom>
          <a:noFill/>
          <a:ln>
            <a:noFill/>
          </a:ln>
        </p:spPr>
      </p:pic>
      <p:pic>
        <p:nvPicPr>
          <p:cNvPr id="70" name="Google Shape;2048;p17"/>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3881503" y="1774954"/>
            <a:ext cx="3164077" cy="2077923"/>
          </a:xfrm>
          <a:prstGeom prst="rect">
            <a:avLst/>
          </a:prstGeom>
          <a:noFill/>
          <a:ln>
            <a:noFill/>
          </a:ln>
        </p:spPr>
      </p:pic>
      <p:pic>
        <p:nvPicPr>
          <p:cNvPr id="71" name="Google Shape;2049;p17"/>
          <p:cNvPicPr preferRelativeResize="0"/>
          <p:nvPr/>
        </p:nvPicPr>
        <p:blipFill rotWithShape="1">
          <a:blip r:embed="rId8">
            <a:alphaModFix/>
          </a:blip>
          <a:srcRect/>
          <a:stretch/>
        </p:blipFill>
        <p:spPr>
          <a:xfrm>
            <a:off x="4508801" y="2001590"/>
            <a:ext cx="1723696" cy="1377330"/>
          </a:xfrm>
          <a:prstGeom prst="rect">
            <a:avLst/>
          </a:prstGeom>
          <a:noFill/>
          <a:ln>
            <a:noFill/>
          </a:ln>
        </p:spPr>
      </p:pic>
      <p:grpSp>
        <p:nvGrpSpPr>
          <p:cNvPr id="73" name="Group 72">
            <a:extLst>
              <a:ext uri="{FF2B5EF4-FFF2-40B4-BE49-F238E27FC236}">
                <a16:creationId xmlns:a16="http://schemas.microsoft.com/office/drawing/2014/main" id="{A7749A4A-62ED-4083-BC89-931531D48BCD}"/>
              </a:ext>
            </a:extLst>
          </p:cNvPr>
          <p:cNvGrpSpPr/>
          <p:nvPr/>
        </p:nvGrpSpPr>
        <p:grpSpPr>
          <a:xfrm>
            <a:off x="10852708" y="5595491"/>
            <a:ext cx="760131" cy="619632"/>
            <a:chOff x="5604663" y="2320025"/>
            <a:chExt cx="2223881" cy="1812829"/>
          </a:xfrm>
        </p:grpSpPr>
        <p:sp>
          <p:nvSpPr>
            <p:cNvPr id="74" name="Freeform: Shape 25">
              <a:extLst>
                <a:ext uri="{FF2B5EF4-FFF2-40B4-BE49-F238E27FC236}">
                  <a16:creationId xmlns:a16="http://schemas.microsoft.com/office/drawing/2014/main" id="{81AE7230-3260-4C05-841C-8C8EBD3E3684}"/>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75" name="Freeform: Shape 26">
              <a:extLst>
                <a:ext uri="{FF2B5EF4-FFF2-40B4-BE49-F238E27FC236}">
                  <a16:creationId xmlns:a16="http://schemas.microsoft.com/office/drawing/2014/main" id="{64B605DB-D550-4162-8EF8-3B6CA93BABA4}"/>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76" name="Freeform: Shape 27">
              <a:extLst>
                <a:ext uri="{FF2B5EF4-FFF2-40B4-BE49-F238E27FC236}">
                  <a16:creationId xmlns:a16="http://schemas.microsoft.com/office/drawing/2014/main" id="{2A985256-5D4F-4A9A-B854-D362928AD33D}"/>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77" name="Freeform: Shape 28">
              <a:extLst>
                <a:ext uri="{FF2B5EF4-FFF2-40B4-BE49-F238E27FC236}">
                  <a16:creationId xmlns:a16="http://schemas.microsoft.com/office/drawing/2014/main" id="{636DA6C8-FBCB-41FC-B744-DF81EA5B1494}"/>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grpSp>
      <p:sp>
        <p:nvSpPr>
          <p:cNvPr id="78" name="Google Shape;12;p56"/>
          <p:cNvSpPr txBox="1"/>
          <p:nvPr/>
        </p:nvSpPr>
        <p:spPr>
          <a:xfrm>
            <a:off x="9080500" y="6542102"/>
            <a:ext cx="2744799" cy="304221"/>
          </a:xfrm>
          <a:prstGeom prst="rect">
            <a:avLst/>
          </a:prstGeom>
          <a:noFill/>
          <a:ln>
            <a:noFill/>
          </a:ln>
        </p:spPr>
        <p:txBody>
          <a:bodyPr spcFirstLastPara="1" wrap="square" lIns="121875" tIns="60925" rIns="121875" bIns="60925" anchor="ctr" anchorCtr="0">
            <a:noAutofit/>
          </a:bodyPr>
          <a:lstStyle/>
          <a:p>
            <a:pPr marL="0" marR="0" lvl="0" indent="0" algn="l" rtl="0">
              <a:spcBef>
                <a:spcPts val="0"/>
              </a:spcBef>
              <a:spcAft>
                <a:spcPts val="0"/>
              </a:spcAft>
              <a:buClr>
                <a:srgbClr val="B6B6B8"/>
              </a:buClr>
              <a:buSzPts val="900"/>
              <a:buFont typeface="Noto Sans Symbols"/>
              <a:buNone/>
            </a:pPr>
            <a:r>
              <a:rPr lang="en-US" sz="900" b="0" i="0" u="none" strike="noStrike" cap="none" dirty="0">
                <a:solidFill>
                  <a:srgbClr val="B6B6B8"/>
                </a:solidFill>
                <a:latin typeface="Calibri"/>
                <a:ea typeface="Calibri"/>
                <a:cs typeface="Calibri"/>
                <a:sym typeface="Calibri"/>
              </a:rPr>
              <a:t>©2021 Check Point Software Technologies Ltd. </a:t>
            </a:r>
            <a:endParaRPr dirty="0">
              <a:latin typeface="Calibri" panose="020F0502020204030204" pitchFamily="34" charset="0"/>
              <a:cs typeface="Calibri" panose="020F0502020204030204" pitchFamily="34" charset="0"/>
            </a:endParaRPr>
          </a:p>
        </p:txBody>
      </p:sp>
      <p:cxnSp>
        <p:nvCxnSpPr>
          <p:cNvPr id="79" name="Google Shape;14;p56"/>
          <p:cNvCxnSpPr/>
          <p:nvPr/>
        </p:nvCxnSpPr>
        <p:spPr>
          <a:xfrm>
            <a:off x="0" y="6505756"/>
            <a:ext cx="12188825" cy="3837"/>
          </a:xfrm>
          <a:prstGeom prst="straightConnector1">
            <a:avLst/>
          </a:prstGeom>
          <a:solidFill>
            <a:schemeClr val="lt1"/>
          </a:solidFill>
          <a:ln w="9525" cap="flat" cmpd="sng">
            <a:solidFill>
              <a:srgbClr val="D8D8D8"/>
            </a:solidFill>
            <a:prstDash val="solid"/>
            <a:round/>
            <a:headEnd type="none" w="sm" len="sm"/>
            <a:tailEnd type="none" w="sm" len="sm"/>
          </a:ln>
        </p:spPr>
      </p:cxnSp>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4422" y="177071"/>
            <a:ext cx="1532044" cy="640080"/>
          </a:xfrm>
          <a:prstGeom prst="rect">
            <a:avLst/>
          </a:prstGeom>
        </p:spPr>
      </p:pic>
    </p:spTree>
    <p:extLst>
      <p:ext uri="{BB962C8B-B14F-4D97-AF65-F5344CB8AC3E}">
        <p14:creationId xmlns:p14="http://schemas.microsoft.com/office/powerpoint/2010/main" val="255699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27"/>
                                        </p:tgtEl>
                                        <p:attrNameLst>
                                          <p:attrName>style.visibility</p:attrName>
                                        </p:attrNameLst>
                                      </p:cBhvr>
                                      <p:to>
                                        <p:strVal val="visible"/>
                                      </p:to>
                                    </p:set>
                                    <p:animEffect transition="in" filter="fade">
                                      <p:cBhvr>
                                        <p:cTn id="12" dur="1500"/>
                                        <p:tgtEl>
                                          <p:spTgt spid="5027"/>
                                        </p:tgtEl>
                                      </p:cBhvr>
                                    </p:animEffect>
                                  </p:childTnLst>
                                </p:cTn>
                              </p:par>
                              <p:par>
                                <p:cTn id="13" presetID="10" presetClass="entr" presetSubtype="0" fill="hold" nodeType="withEffect">
                                  <p:stCondLst>
                                    <p:cond delay="0"/>
                                  </p:stCondLst>
                                  <p:childTnLst>
                                    <p:set>
                                      <p:cBhvr>
                                        <p:cTn id="14" dur="1" fill="hold">
                                          <p:stCondLst>
                                            <p:cond delay="0"/>
                                          </p:stCondLst>
                                        </p:cTn>
                                        <p:tgtEl>
                                          <p:spTgt spid="5044"/>
                                        </p:tgtEl>
                                        <p:attrNameLst>
                                          <p:attrName>style.visibility</p:attrName>
                                        </p:attrNameLst>
                                      </p:cBhvr>
                                      <p:to>
                                        <p:strVal val="visible"/>
                                      </p:to>
                                    </p:set>
                                    <p:animEffect transition="in" filter="fade">
                                      <p:cBhvr>
                                        <p:cTn id="15" dur="1500"/>
                                        <p:tgtEl>
                                          <p:spTgt spid="504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036"/>
                                        </p:tgtEl>
                                        <p:attrNameLst>
                                          <p:attrName>style.visibility</p:attrName>
                                        </p:attrNameLst>
                                      </p:cBhvr>
                                      <p:to>
                                        <p:strVal val="visible"/>
                                      </p:to>
                                    </p:set>
                                    <p:animEffect transition="in" filter="fade">
                                      <p:cBhvr>
                                        <p:cTn id="20" dur="1500"/>
                                        <p:tgtEl>
                                          <p:spTgt spid="5036"/>
                                        </p:tgtEl>
                                      </p:cBhvr>
                                    </p:animEffect>
                                  </p:childTnLst>
                                </p:cTn>
                              </p:par>
                              <p:par>
                                <p:cTn id="21" presetID="10" presetClass="entr" presetSubtype="0" fill="hold" nodeType="withEffect">
                                  <p:stCondLst>
                                    <p:cond delay="0"/>
                                  </p:stCondLst>
                                  <p:childTnLst>
                                    <p:set>
                                      <p:cBhvr>
                                        <p:cTn id="22" dur="1" fill="hold">
                                          <p:stCondLst>
                                            <p:cond delay="0"/>
                                          </p:stCondLst>
                                        </p:cTn>
                                        <p:tgtEl>
                                          <p:spTgt spid="5047"/>
                                        </p:tgtEl>
                                        <p:attrNameLst>
                                          <p:attrName>style.visibility</p:attrName>
                                        </p:attrNameLst>
                                      </p:cBhvr>
                                      <p:to>
                                        <p:strVal val="visible"/>
                                      </p:to>
                                    </p:set>
                                    <p:animEffect transition="in" filter="fade">
                                      <p:cBhvr>
                                        <p:cTn id="23" dur="1500"/>
                                        <p:tgtEl>
                                          <p:spTgt spid="504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018"/>
                                        </p:tgtEl>
                                        <p:attrNameLst>
                                          <p:attrName>style.visibility</p:attrName>
                                        </p:attrNameLst>
                                      </p:cBhvr>
                                      <p:to>
                                        <p:strVal val="visible"/>
                                      </p:to>
                                    </p:set>
                                    <p:animEffect transition="in" filter="fade">
                                      <p:cBhvr>
                                        <p:cTn id="28" dur="1500"/>
                                        <p:tgtEl>
                                          <p:spTgt spid="5018"/>
                                        </p:tgtEl>
                                      </p:cBhvr>
                                    </p:animEffect>
                                  </p:childTnLst>
                                </p:cTn>
                              </p:par>
                              <p:par>
                                <p:cTn id="29" presetID="10" presetClass="entr" presetSubtype="0" fill="hold" nodeType="withEffect">
                                  <p:stCondLst>
                                    <p:cond delay="0"/>
                                  </p:stCondLst>
                                  <p:childTnLst>
                                    <p:set>
                                      <p:cBhvr>
                                        <p:cTn id="30" dur="1" fill="hold">
                                          <p:stCondLst>
                                            <p:cond delay="0"/>
                                          </p:stCondLst>
                                        </p:cTn>
                                        <p:tgtEl>
                                          <p:spTgt spid="5050"/>
                                        </p:tgtEl>
                                        <p:attrNameLst>
                                          <p:attrName>style.visibility</p:attrName>
                                        </p:attrNameLst>
                                      </p:cBhvr>
                                      <p:to>
                                        <p:strVal val="visible"/>
                                      </p:to>
                                    </p:set>
                                    <p:animEffect transition="in" filter="fade">
                                      <p:cBhvr>
                                        <p:cTn id="31" dur="1500"/>
                                        <p:tgtEl>
                                          <p:spTgt spid="5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 name="Google Shape;828;p12"/>
          <p:cNvSpPr txBox="1"/>
          <p:nvPr/>
        </p:nvSpPr>
        <p:spPr>
          <a:xfrm>
            <a:off x="544254" y="515329"/>
            <a:ext cx="9075584" cy="830956"/>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mn-lt"/>
                <a:cs typeface="Segoe UI" panose="020B0502040204020203" pitchFamily="34" charset="0"/>
              </a:rPr>
              <a:t>CLOUD-DELIVERED SECURITY (SASE)</a:t>
            </a:r>
          </a:p>
          <a:p>
            <a:pPr fontAlgn="base">
              <a:spcAft>
                <a:spcPct val="0"/>
              </a:spcAft>
              <a:buClr>
                <a:srgbClr val="FF0000"/>
              </a:buClr>
              <a:buSzPct val="65000"/>
            </a:pPr>
            <a:r>
              <a:rPr lang="en-US" sz="2400" kern="1200" dirty="0">
                <a:solidFill>
                  <a:schemeClr val="tx1"/>
                </a:solidFill>
                <a:latin typeface="+mn-lt"/>
                <a:cs typeface="Segoe UI" panose="020B0502040204020203" pitchFamily="34" charset="0"/>
              </a:rPr>
              <a:t>CONSOLIDATING 11 SECURITY SERVICES </a:t>
            </a:r>
          </a:p>
        </p:txBody>
      </p:sp>
      <p:pic>
        <p:nvPicPr>
          <p:cNvPr id="6" name="Picture 5">
            <a:extLst>
              <a:ext uri="{FF2B5EF4-FFF2-40B4-BE49-F238E27FC236}">
                <a16:creationId xmlns:a16="http://schemas.microsoft.com/office/drawing/2014/main" id="{F701CAE0-D08F-4D8B-8E04-5EF38CA06D0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124825" y="0"/>
            <a:ext cx="4064000" cy="6858000"/>
          </a:xfrm>
          <a:prstGeom prst="rect">
            <a:avLst/>
          </a:prstGeom>
        </p:spPr>
      </p:pic>
      <p:sp>
        <p:nvSpPr>
          <p:cNvPr id="92" name="Freeform: Shape 91">
            <a:extLst>
              <a:ext uri="{FF2B5EF4-FFF2-40B4-BE49-F238E27FC236}">
                <a16:creationId xmlns:a16="http://schemas.microsoft.com/office/drawing/2014/main" id="{165E47A9-1CAB-4B3D-A47C-CCD2EEB3BEF5}"/>
              </a:ext>
            </a:extLst>
          </p:cNvPr>
          <p:cNvSpPr/>
          <p:nvPr/>
        </p:nvSpPr>
        <p:spPr bwMode="auto">
          <a:xfrm>
            <a:off x="7298871" y="3347357"/>
            <a:ext cx="800100" cy="1877786"/>
          </a:xfrm>
          <a:custGeom>
            <a:avLst/>
            <a:gdLst>
              <a:gd name="connsiteX0" fmla="*/ 800100 w 800100"/>
              <a:gd name="connsiteY0" fmla="*/ 0 h 1877786"/>
              <a:gd name="connsiteX1" fmla="*/ 212272 w 800100"/>
              <a:gd name="connsiteY1" fmla="*/ 0 h 1877786"/>
              <a:gd name="connsiteX2" fmla="*/ 212272 w 800100"/>
              <a:gd name="connsiteY2" fmla="*/ 1877786 h 1877786"/>
              <a:gd name="connsiteX3" fmla="*/ 0 w 800100"/>
              <a:gd name="connsiteY3" fmla="*/ 1877786 h 1877786"/>
            </a:gdLst>
            <a:ahLst/>
            <a:cxnLst>
              <a:cxn ang="0">
                <a:pos x="connsiteX0" y="connsiteY0"/>
              </a:cxn>
              <a:cxn ang="0">
                <a:pos x="connsiteX1" y="connsiteY1"/>
              </a:cxn>
              <a:cxn ang="0">
                <a:pos x="connsiteX2" y="connsiteY2"/>
              </a:cxn>
              <a:cxn ang="0">
                <a:pos x="connsiteX3" y="connsiteY3"/>
              </a:cxn>
            </a:cxnLst>
            <a:rect l="l" t="t" r="r" b="b"/>
            <a:pathLst>
              <a:path w="800100" h="1877786">
                <a:moveTo>
                  <a:pt x="800100" y="0"/>
                </a:moveTo>
                <a:lnTo>
                  <a:pt x="212272" y="0"/>
                </a:lnTo>
                <a:lnTo>
                  <a:pt x="212272" y="1877786"/>
                </a:lnTo>
                <a:lnTo>
                  <a:pt x="0" y="1877786"/>
                </a:lnTo>
              </a:path>
            </a:pathLst>
          </a:custGeom>
          <a:noFill/>
          <a:ln w="73025" cap="sq" cmpd="sng" algn="ctr">
            <a:gradFill>
              <a:gsLst>
                <a:gs pos="0">
                  <a:schemeClr val="tx2">
                    <a:lumMod val="60000"/>
                    <a:lumOff val="40000"/>
                  </a:schemeClr>
                </a:gs>
                <a:gs pos="100000">
                  <a:schemeClr val="tx2">
                    <a:lumMod val="50000"/>
                  </a:schemeClr>
                </a:gs>
              </a:gsLst>
              <a:lin ang="5400000" scaled="0"/>
            </a:gradFill>
            <a:prstDash val="solid"/>
            <a:round/>
            <a:headEnd type="oval" w="sm" len="sm"/>
            <a:tailEnd type="oval" w="sm" len="sm"/>
          </a:ln>
          <a:effectLst/>
        </p:spPr>
        <p:txBody>
          <a:bodyPr rtlCol="0" anchor="ctr"/>
          <a:lstStyle/>
          <a:p>
            <a:pPr algn="ctr" fontAlgn="base">
              <a:spcBef>
                <a:spcPct val="20000"/>
              </a:spcBef>
              <a:spcAft>
                <a:spcPct val="0"/>
              </a:spcAft>
              <a:buClr>
                <a:srgbClr val="FF0000"/>
              </a:buClr>
              <a:buSzPct val="65000"/>
              <a:buFont typeface="Wingdings" pitchFamily="2" charset="2"/>
              <a:buNone/>
            </a:pPr>
            <a:endParaRPr lang="en-US" sz="4400" kern="1200" dirty="0">
              <a:solidFill>
                <a:srgbClr val="4D4D4F"/>
              </a:solidFill>
              <a:latin typeface="+mj-lt"/>
              <a:ea typeface="+mn-ea"/>
              <a:cs typeface="Calibri" panose="020F0502020204030204" pitchFamily="34" charset="0"/>
            </a:endParaRPr>
          </a:p>
        </p:txBody>
      </p:sp>
      <p:grpSp>
        <p:nvGrpSpPr>
          <p:cNvPr id="89" name="Group 88">
            <a:extLst>
              <a:ext uri="{FF2B5EF4-FFF2-40B4-BE49-F238E27FC236}">
                <a16:creationId xmlns:a16="http://schemas.microsoft.com/office/drawing/2014/main" id="{8BCADB80-6934-4680-8893-6A2F34A20AE7}"/>
              </a:ext>
            </a:extLst>
          </p:cNvPr>
          <p:cNvGrpSpPr/>
          <p:nvPr/>
        </p:nvGrpSpPr>
        <p:grpSpPr>
          <a:xfrm>
            <a:off x="829896" y="1697522"/>
            <a:ext cx="6430336" cy="4803810"/>
            <a:chOff x="799247" y="1504360"/>
            <a:chExt cx="6430336" cy="4803810"/>
          </a:xfrm>
        </p:grpSpPr>
        <p:cxnSp>
          <p:nvCxnSpPr>
            <p:cNvPr id="81" name="Straight Connector 80">
              <a:extLst>
                <a:ext uri="{FF2B5EF4-FFF2-40B4-BE49-F238E27FC236}">
                  <a16:creationId xmlns:a16="http://schemas.microsoft.com/office/drawing/2014/main" id="{2980E99E-0B83-477C-82A9-518DD4C6E221}"/>
                </a:ext>
              </a:extLst>
            </p:cNvPr>
            <p:cNvCxnSpPr>
              <a:cxnSpLocks/>
            </p:cNvCxnSpPr>
            <p:nvPr/>
          </p:nvCxnSpPr>
          <p:spPr bwMode="auto">
            <a:xfrm>
              <a:off x="6534343" y="1930139"/>
              <a:ext cx="0" cy="2456075"/>
            </a:xfrm>
            <a:prstGeom prst="line">
              <a:avLst/>
            </a:prstGeom>
            <a:noFill/>
            <a:ln w="25400" cap="sq" cmpd="sng" algn="ctr">
              <a:solidFill>
                <a:schemeClr val="tx1">
                  <a:lumMod val="75000"/>
                </a:schemeClr>
              </a:solidFill>
              <a:prstDash val="sysDot"/>
              <a:bevel/>
              <a:headEnd type="oval" w="sm" len="sm"/>
              <a:tailEnd type="oval" w="sm" len="sm"/>
            </a:ln>
            <a:effectLst/>
          </p:spPr>
        </p:cxnSp>
        <p:cxnSp>
          <p:nvCxnSpPr>
            <p:cNvPr id="79" name="Straight Connector 78">
              <a:extLst>
                <a:ext uri="{FF2B5EF4-FFF2-40B4-BE49-F238E27FC236}">
                  <a16:creationId xmlns:a16="http://schemas.microsoft.com/office/drawing/2014/main" id="{1EBED087-19B4-4974-A5ED-45B47D0E92E0}"/>
                </a:ext>
              </a:extLst>
            </p:cNvPr>
            <p:cNvCxnSpPr>
              <a:cxnSpLocks/>
            </p:cNvCxnSpPr>
            <p:nvPr/>
          </p:nvCxnSpPr>
          <p:spPr bwMode="auto">
            <a:xfrm>
              <a:off x="5204332" y="1930139"/>
              <a:ext cx="0" cy="1402369"/>
            </a:xfrm>
            <a:prstGeom prst="line">
              <a:avLst/>
            </a:prstGeom>
            <a:noFill/>
            <a:ln w="25400" cap="sq" cmpd="sng" algn="ctr">
              <a:solidFill>
                <a:schemeClr val="tx1">
                  <a:lumMod val="75000"/>
                </a:schemeClr>
              </a:solidFill>
              <a:prstDash val="sysDot"/>
              <a:bevel/>
              <a:headEnd type="oval" w="sm" len="sm"/>
              <a:tailEnd type="oval" w="sm" len="sm"/>
            </a:ln>
            <a:effectLst/>
          </p:spPr>
        </p:cxnSp>
        <p:cxnSp>
          <p:nvCxnSpPr>
            <p:cNvPr id="77" name="Straight Connector 76">
              <a:extLst>
                <a:ext uri="{FF2B5EF4-FFF2-40B4-BE49-F238E27FC236}">
                  <a16:creationId xmlns:a16="http://schemas.microsoft.com/office/drawing/2014/main" id="{F9EBC01F-D17A-4F71-A815-6CEBAB851665}"/>
                </a:ext>
              </a:extLst>
            </p:cNvPr>
            <p:cNvCxnSpPr>
              <a:cxnSpLocks/>
            </p:cNvCxnSpPr>
            <p:nvPr/>
          </p:nvCxnSpPr>
          <p:spPr bwMode="auto">
            <a:xfrm>
              <a:off x="4066910" y="1930139"/>
              <a:ext cx="0" cy="952385"/>
            </a:xfrm>
            <a:prstGeom prst="line">
              <a:avLst/>
            </a:prstGeom>
            <a:noFill/>
            <a:ln w="25400" cap="sq" cmpd="sng" algn="ctr">
              <a:solidFill>
                <a:schemeClr val="tx1">
                  <a:lumMod val="75000"/>
                </a:schemeClr>
              </a:solidFill>
              <a:prstDash val="sysDot"/>
              <a:bevel/>
              <a:headEnd type="oval" w="sm" len="sm"/>
              <a:tailEnd type="oval" w="sm" len="sm"/>
            </a:ln>
            <a:effectLst/>
          </p:spPr>
        </p:cxnSp>
        <p:cxnSp>
          <p:nvCxnSpPr>
            <p:cNvPr id="75" name="Straight Connector 74">
              <a:extLst>
                <a:ext uri="{FF2B5EF4-FFF2-40B4-BE49-F238E27FC236}">
                  <a16:creationId xmlns:a16="http://schemas.microsoft.com/office/drawing/2014/main" id="{05C70E00-D0AD-4BCA-B6E5-5A99E84D64B7}"/>
                </a:ext>
              </a:extLst>
            </p:cNvPr>
            <p:cNvCxnSpPr>
              <a:cxnSpLocks/>
            </p:cNvCxnSpPr>
            <p:nvPr/>
          </p:nvCxnSpPr>
          <p:spPr bwMode="auto">
            <a:xfrm>
              <a:off x="2741529" y="1930139"/>
              <a:ext cx="0" cy="1720371"/>
            </a:xfrm>
            <a:prstGeom prst="line">
              <a:avLst/>
            </a:prstGeom>
            <a:noFill/>
            <a:ln w="25400" cap="sq" cmpd="sng" algn="ctr">
              <a:solidFill>
                <a:schemeClr val="tx1">
                  <a:lumMod val="75000"/>
                </a:schemeClr>
              </a:solidFill>
              <a:prstDash val="sysDot"/>
              <a:bevel/>
              <a:headEnd type="oval" w="sm" len="sm"/>
              <a:tailEnd type="oval" w="sm" len="sm"/>
            </a:ln>
            <a:effectLst/>
          </p:spPr>
        </p:cxnSp>
        <p:cxnSp>
          <p:nvCxnSpPr>
            <p:cNvPr id="19" name="Straight Connector 18">
              <a:extLst>
                <a:ext uri="{FF2B5EF4-FFF2-40B4-BE49-F238E27FC236}">
                  <a16:creationId xmlns:a16="http://schemas.microsoft.com/office/drawing/2014/main" id="{B7CAE16A-012F-4A2E-88C2-AB50D5600883}"/>
                </a:ext>
              </a:extLst>
            </p:cNvPr>
            <p:cNvCxnSpPr>
              <a:cxnSpLocks/>
            </p:cNvCxnSpPr>
            <p:nvPr/>
          </p:nvCxnSpPr>
          <p:spPr bwMode="auto">
            <a:xfrm>
              <a:off x="1196263" y="1930139"/>
              <a:ext cx="0" cy="2278599"/>
            </a:xfrm>
            <a:prstGeom prst="line">
              <a:avLst/>
            </a:prstGeom>
            <a:noFill/>
            <a:ln w="25400" cap="sq" cmpd="sng" algn="ctr">
              <a:solidFill>
                <a:schemeClr val="tx1">
                  <a:lumMod val="75000"/>
                </a:schemeClr>
              </a:solidFill>
              <a:prstDash val="sysDot"/>
              <a:bevel/>
              <a:headEnd type="oval" w="sm" len="sm"/>
              <a:tailEnd type="oval" w="sm" len="sm"/>
            </a:ln>
            <a:effectLst/>
          </p:spPr>
        </p:cxnSp>
        <p:grpSp>
          <p:nvGrpSpPr>
            <p:cNvPr id="88" name="Group 87">
              <a:extLst>
                <a:ext uri="{FF2B5EF4-FFF2-40B4-BE49-F238E27FC236}">
                  <a16:creationId xmlns:a16="http://schemas.microsoft.com/office/drawing/2014/main" id="{144C6095-2E03-41D9-9ACC-B69CC5531E8B}"/>
                </a:ext>
              </a:extLst>
            </p:cNvPr>
            <p:cNvGrpSpPr/>
            <p:nvPr/>
          </p:nvGrpSpPr>
          <p:grpSpPr>
            <a:xfrm>
              <a:off x="799247" y="2496350"/>
              <a:ext cx="6430336" cy="3811820"/>
              <a:chOff x="799247" y="2496350"/>
              <a:chExt cx="6430336" cy="3811820"/>
            </a:xfrm>
          </p:grpSpPr>
          <p:sp>
            <p:nvSpPr>
              <p:cNvPr id="24" name="Freeform: Shape 41">
                <a:extLst>
                  <a:ext uri="{FF2B5EF4-FFF2-40B4-BE49-F238E27FC236}">
                    <a16:creationId xmlns:a16="http://schemas.microsoft.com/office/drawing/2014/main" id="{51488987-8A10-41C5-A049-B52C7601F417}"/>
                  </a:ext>
                </a:extLst>
              </p:cNvPr>
              <p:cNvSpPr/>
              <p:nvPr/>
            </p:nvSpPr>
            <p:spPr>
              <a:xfrm>
                <a:off x="799247" y="2496350"/>
                <a:ext cx="4503" cy="4503"/>
              </a:xfrm>
              <a:custGeom>
                <a:avLst/>
                <a:gdLst/>
                <a:ahLst/>
                <a:cxnLst/>
                <a:rect l="l" t="t" r="r" b="b"/>
                <a:pathLst>
                  <a:path w="5010" h="5010"/>
                </a:pathLst>
              </a:custGeom>
              <a:gradFill flip="none" rotWithShape="1">
                <a:gsLst>
                  <a:gs pos="0">
                    <a:schemeClr val="bg1">
                      <a:lumMod val="85000"/>
                    </a:schemeClr>
                  </a:gs>
                  <a:gs pos="79000">
                    <a:schemeClr val="bg1">
                      <a:lumMod val="95000"/>
                    </a:schemeClr>
                  </a:gs>
                  <a:gs pos="100000">
                    <a:schemeClr val="bg1"/>
                  </a:gs>
                </a:gsLst>
                <a:lin ang="10800000" scaled="1"/>
                <a:tileRect/>
              </a:gradFill>
              <a:ln w="19050" cap="flat">
                <a:solidFill>
                  <a:schemeClr val="tx2"/>
                </a:solid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25" name="Freeform: Shape 42">
                <a:extLst>
                  <a:ext uri="{FF2B5EF4-FFF2-40B4-BE49-F238E27FC236}">
                    <a16:creationId xmlns:a16="http://schemas.microsoft.com/office/drawing/2014/main" id="{C9FE7041-3C5D-44F5-9DE4-00BBF6D32DFC}"/>
                  </a:ext>
                </a:extLst>
              </p:cNvPr>
              <p:cNvSpPr/>
              <p:nvPr/>
            </p:nvSpPr>
            <p:spPr>
              <a:xfrm>
                <a:off x="799247" y="2496350"/>
                <a:ext cx="4503" cy="4503"/>
              </a:xfrm>
              <a:custGeom>
                <a:avLst/>
                <a:gdLst/>
                <a:ahLst/>
                <a:cxnLst/>
                <a:rect l="l" t="t" r="r" b="b"/>
                <a:pathLst>
                  <a:path w="5010" h="5010"/>
                </a:pathLst>
              </a:custGeom>
              <a:gradFill flip="none" rotWithShape="1">
                <a:gsLst>
                  <a:gs pos="0">
                    <a:schemeClr val="bg1">
                      <a:lumMod val="85000"/>
                    </a:schemeClr>
                  </a:gs>
                  <a:gs pos="79000">
                    <a:schemeClr val="bg1">
                      <a:lumMod val="95000"/>
                    </a:schemeClr>
                  </a:gs>
                  <a:gs pos="100000">
                    <a:schemeClr val="bg1"/>
                  </a:gs>
                </a:gsLst>
                <a:lin ang="10800000" scaled="1"/>
                <a:tileRect/>
              </a:gradFill>
              <a:ln w="19050" cap="flat">
                <a:solidFill>
                  <a:schemeClr val="tx2"/>
                </a:solid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26" name="Freeform: Shape 43">
                <a:extLst>
                  <a:ext uri="{FF2B5EF4-FFF2-40B4-BE49-F238E27FC236}">
                    <a16:creationId xmlns:a16="http://schemas.microsoft.com/office/drawing/2014/main" id="{09122DDC-BE76-49B2-957F-4EC599921B21}"/>
                  </a:ext>
                </a:extLst>
              </p:cNvPr>
              <p:cNvSpPr/>
              <p:nvPr/>
            </p:nvSpPr>
            <p:spPr>
              <a:xfrm>
                <a:off x="1906993" y="4867649"/>
                <a:ext cx="901" cy="901"/>
              </a:xfrm>
              <a:custGeom>
                <a:avLst/>
                <a:gdLst>
                  <a:gd name="connsiteX0" fmla="*/ 0 w 1002"/>
                  <a:gd name="connsiteY0" fmla="*/ 1002 h 1002"/>
                  <a:gd name="connsiteX1" fmla="*/ 1002 w 1002"/>
                  <a:gd name="connsiteY1" fmla="*/ 0 h 1002"/>
                </a:gdLst>
                <a:ahLst/>
                <a:cxnLst>
                  <a:cxn ang="0">
                    <a:pos x="connsiteX0" y="connsiteY0"/>
                  </a:cxn>
                  <a:cxn ang="0">
                    <a:pos x="connsiteX1" y="connsiteY1"/>
                  </a:cxn>
                </a:cxnLst>
                <a:rect l="l" t="t" r="r" b="b"/>
                <a:pathLst>
                  <a:path w="1002" h="1002">
                    <a:moveTo>
                      <a:pt x="0" y="1002"/>
                    </a:moveTo>
                    <a:lnTo>
                      <a:pt x="1002" y="0"/>
                    </a:lnTo>
                  </a:path>
                </a:pathLst>
              </a:custGeom>
              <a:gradFill flip="none" rotWithShape="1">
                <a:gsLst>
                  <a:gs pos="0">
                    <a:schemeClr val="bg1">
                      <a:lumMod val="85000"/>
                    </a:schemeClr>
                  </a:gs>
                  <a:gs pos="79000">
                    <a:schemeClr val="bg1">
                      <a:lumMod val="95000"/>
                    </a:schemeClr>
                  </a:gs>
                  <a:gs pos="100000">
                    <a:schemeClr val="bg1"/>
                  </a:gs>
                </a:gsLst>
                <a:lin ang="10800000" scaled="1"/>
                <a:tileRect/>
              </a:gradFill>
              <a:ln w="19050" cap="flat">
                <a:solidFill>
                  <a:schemeClr val="tx2"/>
                </a:solid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27" name="Freeform: Shape 44">
                <a:extLst>
                  <a:ext uri="{FF2B5EF4-FFF2-40B4-BE49-F238E27FC236}">
                    <a16:creationId xmlns:a16="http://schemas.microsoft.com/office/drawing/2014/main" id="{AFDE61E4-A0F1-4375-A5BE-D8124CF03E8E}"/>
                  </a:ext>
                </a:extLst>
              </p:cNvPr>
              <p:cNvSpPr/>
              <p:nvPr/>
            </p:nvSpPr>
            <p:spPr>
              <a:xfrm>
                <a:off x="799247" y="2496350"/>
                <a:ext cx="4503" cy="4503"/>
              </a:xfrm>
              <a:custGeom>
                <a:avLst/>
                <a:gdLst/>
                <a:ahLst/>
                <a:cxnLst/>
                <a:rect l="l" t="t" r="r" b="b"/>
                <a:pathLst>
                  <a:path w="5010" h="5010"/>
                </a:pathLst>
              </a:custGeom>
              <a:gradFill flip="none" rotWithShape="1">
                <a:gsLst>
                  <a:gs pos="0">
                    <a:schemeClr val="bg1">
                      <a:lumMod val="85000"/>
                    </a:schemeClr>
                  </a:gs>
                  <a:gs pos="79000">
                    <a:schemeClr val="bg1">
                      <a:lumMod val="95000"/>
                    </a:schemeClr>
                  </a:gs>
                  <a:gs pos="100000">
                    <a:schemeClr val="bg1"/>
                  </a:gs>
                </a:gsLst>
                <a:lin ang="10800000" scaled="1"/>
                <a:tileRect/>
              </a:gradFill>
              <a:ln w="19050" cap="flat">
                <a:solidFill>
                  <a:schemeClr val="tx2"/>
                </a:solid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66" name="Freeform: Shape 38">
                <a:extLst>
                  <a:ext uri="{FF2B5EF4-FFF2-40B4-BE49-F238E27FC236}">
                    <a16:creationId xmlns:a16="http://schemas.microsoft.com/office/drawing/2014/main" id="{98E4F489-F858-4359-BA36-0BDBE27D1C52}"/>
                  </a:ext>
                </a:extLst>
              </p:cNvPr>
              <p:cNvSpPr/>
              <p:nvPr/>
            </p:nvSpPr>
            <p:spPr>
              <a:xfrm>
                <a:off x="2901714" y="2496350"/>
                <a:ext cx="1933604" cy="1001024"/>
              </a:xfrm>
              <a:custGeom>
                <a:avLst/>
                <a:gdLst>
                  <a:gd name="connsiteX0" fmla="*/ 0 w 2151361"/>
                  <a:gd name="connsiteY0" fmla="*/ 1113758 h 1113757"/>
                  <a:gd name="connsiteX1" fmla="*/ 576669 w 2151361"/>
                  <a:gd name="connsiteY1" fmla="*/ 1113758 h 1113757"/>
                  <a:gd name="connsiteX2" fmla="*/ 570657 w 2151361"/>
                  <a:gd name="connsiteY2" fmla="*/ 1108748 h 1113757"/>
                  <a:gd name="connsiteX3" fmla="*/ 483480 w 2151361"/>
                  <a:gd name="connsiteY3" fmla="*/ 960948 h 1113757"/>
                  <a:gd name="connsiteX4" fmla="*/ 677373 w 2151361"/>
                  <a:gd name="connsiteY4" fmla="*/ 780081 h 1113757"/>
                  <a:gd name="connsiteX5" fmla="*/ 693406 w 2151361"/>
                  <a:gd name="connsiteY5" fmla="*/ 780081 h 1113757"/>
                  <a:gd name="connsiteX6" fmla="*/ 885796 w 2151361"/>
                  <a:gd name="connsiteY6" fmla="*/ 960948 h 1113757"/>
                  <a:gd name="connsiteX7" fmla="*/ 799120 w 2151361"/>
                  <a:gd name="connsiteY7" fmla="*/ 1108748 h 1113757"/>
                  <a:gd name="connsiteX8" fmla="*/ 795112 w 2151361"/>
                  <a:gd name="connsiteY8" fmla="*/ 1111754 h 1113757"/>
                  <a:gd name="connsiteX9" fmla="*/ 2151362 w 2151361"/>
                  <a:gd name="connsiteY9" fmla="*/ 1111754 h 1113757"/>
                  <a:gd name="connsiteX10" fmla="*/ 2151362 w 2151361"/>
                  <a:gd name="connsiteY10" fmla="*/ 226960 h 1113757"/>
                  <a:gd name="connsiteX11" fmla="*/ 1392323 w 2151361"/>
                  <a:gd name="connsiteY11" fmla="*/ 0 h 1113757"/>
                  <a:gd name="connsiteX12" fmla="*/ 226459 w 2151361"/>
                  <a:gd name="connsiteY12" fmla="*/ 635789 h 1113757"/>
                  <a:gd name="connsiteX13" fmla="*/ 0 w 2151361"/>
                  <a:gd name="connsiteY13" fmla="*/ 499012 h 1113757"/>
                  <a:gd name="connsiteX14" fmla="*/ 0 w 2151361"/>
                  <a:gd name="connsiteY14" fmla="*/ 1113758 h 111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51361" h="1113757">
                    <a:moveTo>
                      <a:pt x="0" y="1113758"/>
                    </a:moveTo>
                    <a:lnTo>
                      <a:pt x="576669" y="1113758"/>
                    </a:lnTo>
                    <a:cubicBezTo>
                      <a:pt x="574665" y="1112255"/>
                      <a:pt x="573162" y="1110251"/>
                      <a:pt x="570657" y="1108748"/>
                    </a:cubicBezTo>
                    <a:cubicBezTo>
                      <a:pt x="515545" y="1070671"/>
                      <a:pt x="483480" y="1034096"/>
                      <a:pt x="483480" y="960948"/>
                    </a:cubicBezTo>
                    <a:cubicBezTo>
                      <a:pt x="483480" y="864753"/>
                      <a:pt x="568653" y="785092"/>
                      <a:pt x="677373" y="780081"/>
                    </a:cubicBezTo>
                    <a:cubicBezTo>
                      <a:pt x="679878" y="780081"/>
                      <a:pt x="689899" y="780081"/>
                      <a:pt x="693406" y="780081"/>
                    </a:cubicBezTo>
                    <a:cubicBezTo>
                      <a:pt x="801124" y="785593"/>
                      <a:pt x="885796" y="865254"/>
                      <a:pt x="885796" y="960948"/>
                    </a:cubicBezTo>
                    <a:cubicBezTo>
                      <a:pt x="885796" y="1034096"/>
                      <a:pt x="853731" y="1070671"/>
                      <a:pt x="799120" y="1108748"/>
                    </a:cubicBezTo>
                    <a:cubicBezTo>
                      <a:pt x="797617" y="1109750"/>
                      <a:pt x="796114" y="1110752"/>
                      <a:pt x="795112" y="1111754"/>
                    </a:cubicBezTo>
                    <a:lnTo>
                      <a:pt x="2151362" y="1111754"/>
                    </a:lnTo>
                    <a:lnTo>
                      <a:pt x="2151362" y="226960"/>
                    </a:lnTo>
                    <a:cubicBezTo>
                      <a:pt x="1933921" y="83670"/>
                      <a:pt x="1672892" y="0"/>
                      <a:pt x="1392323" y="0"/>
                    </a:cubicBezTo>
                    <a:cubicBezTo>
                      <a:pt x="903332" y="0"/>
                      <a:pt x="473460" y="253514"/>
                      <a:pt x="226459" y="635789"/>
                    </a:cubicBezTo>
                    <a:cubicBezTo>
                      <a:pt x="160325" y="577671"/>
                      <a:pt x="83670" y="531077"/>
                      <a:pt x="0" y="499012"/>
                    </a:cubicBezTo>
                    <a:lnTo>
                      <a:pt x="0" y="1113758"/>
                    </a:lnTo>
                    <a:close/>
                  </a:path>
                </a:pathLst>
              </a:custGeom>
              <a:solidFill>
                <a:schemeClr val="bg2"/>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64" name="Freeform: Shape 5">
                <a:extLst>
                  <a:ext uri="{FF2B5EF4-FFF2-40B4-BE49-F238E27FC236}">
                    <a16:creationId xmlns:a16="http://schemas.microsoft.com/office/drawing/2014/main" id="{CFD76DBF-672A-44B9-A794-0FAB1A6A3BAD}"/>
                  </a:ext>
                </a:extLst>
              </p:cNvPr>
              <p:cNvSpPr/>
              <p:nvPr/>
            </p:nvSpPr>
            <p:spPr>
              <a:xfrm>
                <a:off x="2604064" y="3248807"/>
                <a:ext cx="2233957" cy="1214469"/>
              </a:xfrm>
              <a:custGeom>
                <a:avLst/>
                <a:gdLst>
                  <a:gd name="connsiteX0" fmla="*/ 2485539 w 2485539"/>
                  <a:gd name="connsiteY0" fmla="*/ 1350237 h 1351239"/>
                  <a:gd name="connsiteX1" fmla="*/ 2485539 w 2485539"/>
                  <a:gd name="connsiteY1" fmla="*/ 961449 h 1351239"/>
                  <a:gd name="connsiteX2" fmla="*/ 2480529 w 2485539"/>
                  <a:gd name="connsiteY2" fmla="*/ 967461 h 1351239"/>
                  <a:gd name="connsiteX3" fmla="*/ 2332730 w 2485539"/>
                  <a:gd name="connsiteY3" fmla="*/ 1054638 h 1351239"/>
                  <a:gd name="connsiteX4" fmla="*/ 2151863 w 2485539"/>
                  <a:gd name="connsiteY4" fmla="*/ 860745 h 1351239"/>
                  <a:gd name="connsiteX5" fmla="*/ 2151863 w 2485539"/>
                  <a:gd name="connsiteY5" fmla="*/ 845213 h 1351239"/>
                  <a:gd name="connsiteX6" fmla="*/ 2332730 w 2485539"/>
                  <a:gd name="connsiteY6" fmla="*/ 652322 h 1351239"/>
                  <a:gd name="connsiteX7" fmla="*/ 2480529 w 2485539"/>
                  <a:gd name="connsiteY7" fmla="*/ 739499 h 1351239"/>
                  <a:gd name="connsiteX8" fmla="*/ 2485539 w 2485539"/>
                  <a:gd name="connsiteY8" fmla="*/ 745010 h 1351239"/>
                  <a:gd name="connsiteX9" fmla="*/ 2485539 w 2485539"/>
                  <a:gd name="connsiteY9" fmla="*/ 331672 h 1351239"/>
                  <a:gd name="connsiteX10" fmla="*/ 1114760 w 2485539"/>
                  <a:gd name="connsiteY10" fmla="*/ 331672 h 1351239"/>
                  <a:gd name="connsiteX11" fmla="*/ 1089208 w 2485539"/>
                  <a:gd name="connsiteY11" fmla="*/ 331672 h 1351239"/>
                  <a:gd name="connsiteX12" fmla="*/ 1061653 w 2485539"/>
                  <a:gd name="connsiteY12" fmla="*/ 304117 h 1351239"/>
                  <a:gd name="connsiteX13" fmla="*/ 1101233 w 2485539"/>
                  <a:gd name="connsiteY13" fmla="*/ 227962 h 1351239"/>
                  <a:gd name="connsiteX14" fmla="*/ 1164361 w 2485539"/>
                  <a:gd name="connsiteY14" fmla="*/ 125755 h 1351239"/>
                  <a:gd name="connsiteX15" fmla="*/ 1023575 w 2485539"/>
                  <a:gd name="connsiteY15" fmla="*/ 0 h 1351239"/>
                  <a:gd name="connsiteX16" fmla="*/ 1013054 w 2485539"/>
                  <a:gd name="connsiteY16" fmla="*/ 0 h 1351239"/>
                  <a:gd name="connsiteX17" fmla="*/ 871767 w 2485539"/>
                  <a:gd name="connsiteY17" fmla="*/ 125755 h 1351239"/>
                  <a:gd name="connsiteX18" fmla="*/ 934896 w 2485539"/>
                  <a:gd name="connsiteY18" fmla="*/ 227962 h 1351239"/>
                  <a:gd name="connsiteX19" fmla="*/ 975478 w 2485539"/>
                  <a:gd name="connsiteY19" fmla="*/ 306121 h 1351239"/>
                  <a:gd name="connsiteX20" fmla="*/ 947922 w 2485539"/>
                  <a:gd name="connsiteY20" fmla="*/ 333676 h 1351239"/>
                  <a:gd name="connsiteX21" fmla="*/ 333175 w 2485539"/>
                  <a:gd name="connsiteY21" fmla="*/ 333676 h 1351239"/>
                  <a:gd name="connsiteX22" fmla="*/ 333175 w 2485539"/>
                  <a:gd name="connsiteY22" fmla="*/ 784090 h 1351239"/>
                  <a:gd name="connsiteX23" fmla="*/ 305620 w 2485539"/>
                  <a:gd name="connsiteY23" fmla="*/ 811645 h 1351239"/>
                  <a:gd name="connsiteX24" fmla="*/ 227962 w 2485539"/>
                  <a:gd name="connsiteY24" fmla="*/ 771063 h 1351239"/>
                  <a:gd name="connsiteX25" fmla="*/ 125755 w 2485539"/>
                  <a:gd name="connsiteY25" fmla="*/ 707935 h 1351239"/>
                  <a:gd name="connsiteX26" fmla="*/ 0 w 2485539"/>
                  <a:gd name="connsiteY26" fmla="*/ 848721 h 1351239"/>
                  <a:gd name="connsiteX27" fmla="*/ 0 w 2485539"/>
                  <a:gd name="connsiteY27" fmla="*/ 859242 h 1351239"/>
                  <a:gd name="connsiteX28" fmla="*/ 125755 w 2485539"/>
                  <a:gd name="connsiteY28" fmla="*/ 1000528 h 1351239"/>
                  <a:gd name="connsiteX29" fmla="*/ 227962 w 2485539"/>
                  <a:gd name="connsiteY29" fmla="*/ 937400 h 1351239"/>
                  <a:gd name="connsiteX30" fmla="*/ 305620 w 2485539"/>
                  <a:gd name="connsiteY30" fmla="*/ 896818 h 1351239"/>
                  <a:gd name="connsiteX31" fmla="*/ 333175 w 2485539"/>
                  <a:gd name="connsiteY31" fmla="*/ 924374 h 1351239"/>
                  <a:gd name="connsiteX32" fmla="*/ 333175 w 2485539"/>
                  <a:gd name="connsiteY32" fmla="*/ 1351239 h 1351239"/>
                  <a:gd name="connsiteX33" fmla="*/ 2485539 w 2485539"/>
                  <a:gd name="connsiteY33" fmla="*/ 1351239 h 135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85539" h="1351239">
                    <a:moveTo>
                      <a:pt x="2485539" y="1350237"/>
                    </a:moveTo>
                    <a:lnTo>
                      <a:pt x="2485539" y="961449"/>
                    </a:lnTo>
                    <a:cubicBezTo>
                      <a:pt x="2484036" y="962952"/>
                      <a:pt x="2482032" y="964956"/>
                      <a:pt x="2480529" y="967461"/>
                    </a:cubicBezTo>
                    <a:cubicBezTo>
                      <a:pt x="2442452" y="1022573"/>
                      <a:pt x="2405878" y="1054638"/>
                      <a:pt x="2332730" y="1054638"/>
                    </a:cubicBezTo>
                    <a:cubicBezTo>
                      <a:pt x="2236535" y="1054638"/>
                      <a:pt x="2156873" y="969465"/>
                      <a:pt x="2151863" y="860745"/>
                    </a:cubicBezTo>
                    <a:cubicBezTo>
                      <a:pt x="2151863" y="857739"/>
                      <a:pt x="2151863" y="848220"/>
                      <a:pt x="2151863" y="845213"/>
                    </a:cubicBezTo>
                    <a:cubicBezTo>
                      <a:pt x="2157374" y="736994"/>
                      <a:pt x="2237035" y="652322"/>
                      <a:pt x="2332730" y="652322"/>
                    </a:cubicBezTo>
                    <a:cubicBezTo>
                      <a:pt x="2405878" y="652322"/>
                      <a:pt x="2442452" y="684388"/>
                      <a:pt x="2480529" y="739499"/>
                    </a:cubicBezTo>
                    <a:cubicBezTo>
                      <a:pt x="2482032" y="741503"/>
                      <a:pt x="2483535" y="743507"/>
                      <a:pt x="2485539" y="745010"/>
                    </a:cubicBezTo>
                    <a:lnTo>
                      <a:pt x="2485539" y="331672"/>
                    </a:lnTo>
                    <a:lnTo>
                      <a:pt x="1114760" y="331672"/>
                    </a:lnTo>
                    <a:lnTo>
                      <a:pt x="1089208" y="331672"/>
                    </a:lnTo>
                    <a:cubicBezTo>
                      <a:pt x="1074178" y="331672"/>
                      <a:pt x="1061653" y="319147"/>
                      <a:pt x="1061653" y="304117"/>
                    </a:cubicBezTo>
                    <a:cubicBezTo>
                      <a:pt x="1061653" y="273054"/>
                      <a:pt x="1075681" y="245999"/>
                      <a:pt x="1101233" y="227962"/>
                    </a:cubicBezTo>
                    <a:cubicBezTo>
                      <a:pt x="1150833" y="193392"/>
                      <a:pt x="1164361" y="171848"/>
                      <a:pt x="1164361" y="125755"/>
                    </a:cubicBezTo>
                    <a:cubicBezTo>
                      <a:pt x="1164361" y="59621"/>
                      <a:pt x="1102736" y="4509"/>
                      <a:pt x="1023575" y="0"/>
                    </a:cubicBezTo>
                    <a:cubicBezTo>
                      <a:pt x="1021070" y="0"/>
                      <a:pt x="1014557" y="0"/>
                      <a:pt x="1013054" y="0"/>
                    </a:cubicBezTo>
                    <a:cubicBezTo>
                      <a:pt x="933894" y="3507"/>
                      <a:pt x="871767" y="59120"/>
                      <a:pt x="871767" y="125755"/>
                    </a:cubicBezTo>
                    <a:cubicBezTo>
                      <a:pt x="871767" y="171848"/>
                      <a:pt x="885295" y="193893"/>
                      <a:pt x="934896" y="227962"/>
                    </a:cubicBezTo>
                    <a:cubicBezTo>
                      <a:pt x="960948" y="245999"/>
                      <a:pt x="975478" y="273555"/>
                      <a:pt x="975478" y="306121"/>
                    </a:cubicBezTo>
                    <a:cubicBezTo>
                      <a:pt x="975478" y="321151"/>
                      <a:pt x="962952" y="333676"/>
                      <a:pt x="947922" y="333676"/>
                    </a:cubicBezTo>
                    <a:lnTo>
                      <a:pt x="333175" y="333676"/>
                    </a:lnTo>
                    <a:lnTo>
                      <a:pt x="333175" y="784090"/>
                    </a:lnTo>
                    <a:cubicBezTo>
                      <a:pt x="333175" y="799120"/>
                      <a:pt x="320650" y="811645"/>
                      <a:pt x="305620" y="811645"/>
                    </a:cubicBezTo>
                    <a:cubicBezTo>
                      <a:pt x="274056" y="811645"/>
                      <a:pt x="245498" y="797116"/>
                      <a:pt x="227962" y="771063"/>
                    </a:cubicBezTo>
                    <a:cubicBezTo>
                      <a:pt x="193392" y="721463"/>
                      <a:pt x="171347" y="707935"/>
                      <a:pt x="125755" y="707935"/>
                    </a:cubicBezTo>
                    <a:cubicBezTo>
                      <a:pt x="59621" y="707935"/>
                      <a:pt x="4509" y="769560"/>
                      <a:pt x="0" y="848721"/>
                    </a:cubicBezTo>
                    <a:cubicBezTo>
                      <a:pt x="0" y="851226"/>
                      <a:pt x="0" y="857238"/>
                      <a:pt x="0" y="859242"/>
                    </a:cubicBezTo>
                    <a:cubicBezTo>
                      <a:pt x="3507" y="938402"/>
                      <a:pt x="59120" y="1000528"/>
                      <a:pt x="125755" y="1000528"/>
                    </a:cubicBezTo>
                    <a:cubicBezTo>
                      <a:pt x="171849" y="1000528"/>
                      <a:pt x="193893" y="987001"/>
                      <a:pt x="227962" y="937400"/>
                    </a:cubicBezTo>
                    <a:cubicBezTo>
                      <a:pt x="245999" y="911348"/>
                      <a:pt x="273555" y="896818"/>
                      <a:pt x="305620" y="896818"/>
                    </a:cubicBezTo>
                    <a:cubicBezTo>
                      <a:pt x="320650" y="896818"/>
                      <a:pt x="333175" y="909344"/>
                      <a:pt x="333175" y="924374"/>
                    </a:cubicBezTo>
                    <a:lnTo>
                      <a:pt x="333175" y="1351239"/>
                    </a:lnTo>
                    <a:lnTo>
                      <a:pt x="2485539" y="1351239"/>
                    </a:lnTo>
                    <a:close/>
                  </a:path>
                </a:pathLst>
              </a:custGeom>
              <a:solidFill>
                <a:schemeClr val="bg2">
                  <a:lumMod val="75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62" name="Freeform: Shape 37">
                <a:extLst>
                  <a:ext uri="{FF2B5EF4-FFF2-40B4-BE49-F238E27FC236}">
                    <a16:creationId xmlns:a16="http://schemas.microsoft.com/office/drawing/2014/main" id="{F2BFE193-5233-475C-A398-DF7E8FEAF1DF}"/>
                  </a:ext>
                </a:extLst>
              </p:cNvPr>
              <p:cNvSpPr/>
              <p:nvPr/>
            </p:nvSpPr>
            <p:spPr>
              <a:xfrm>
                <a:off x="4585850" y="2734560"/>
                <a:ext cx="1240586" cy="1726914"/>
              </a:xfrm>
              <a:custGeom>
                <a:avLst/>
                <a:gdLst>
                  <a:gd name="connsiteX0" fmla="*/ 333175 w 1380298"/>
                  <a:gd name="connsiteY0" fmla="*/ 1354246 h 1921395"/>
                  <a:gd name="connsiteX1" fmla="*/ 305620 w 1380298"/>
                  <a:gd name="connsiteY1" fmla="*/ 1381801 h 1921395"/>
                  <a:gd name="connsiteX2" fmla="*/ 227962 w 1380298"/>
                  <a:gd name="connsiteY2" fmla="*/ 1341219 h 1921395"/>
                  <a:gd name="connsiteX3" fmla="*/ 125755 w 1380298"/>
                  <a:gd name="connsiteY3" fmla="*/ 1278091 h 1921395"/>
                  <a:gd name="connsiteX4" fmla="*/ 0 w 1380298"/>
                  <a:gd name="connsiteY4" fmla="*/ 1418877 h 1921395"/>
                  <a:gd name="connsiteX5" fmla="*/ 0 w 1380298"/>
                  <a:gd name="connsiteY5" fmla="*/ 1429398 h 1921395"/>
                  <a:gd name="connsiteX6" fmla="*/ 125755 w 1380298"/>
                  <a:gd name="connsiteY6" fmla="*/ 1570684 h 1921395"/>
                  <a:gd name="connsiteX7" fmla="*/ 227962 w 1380298"/>
                  <a:gd name="connsiteY7" fmla="*/ 1507556 h 1921395"/>
                  <a:gd name="connsiteX8" fmla="*/ 305620 w 1380298"/>
                  <a:gd name="connsiteY8" fmla="*/ 1466974 h 1921395"/>
                  <a:gd name="connsiteX9" fmla="*/ 333175 w 1380298"/>
                  <a:gd name="connsiteY9" fmla="*/ 1494530 h 1921395"/>
                  <a:gd name="connsiteX10" fmla="*/ 333175 w 1380298"/>
                  <a:gd name="connsiteY10" fmla="*/ 1921395 h 1921395"/>
                  <a:gd name="connsiteX11" fmla="*/ 1380298 w 1380298"/>
                  <a:gd name="connsiteY11" fmla="*/ 1921395 h 1921395"/>
                  <a:gd name="connsiteX12" fmla="*/ 1380298 w 1380298"/>
                  <a:gd name="connsiteY12" fmla="*/ 771063 h 1921395"/>
                  <a:gd name="connsiteX13" fmla="*/ 987001 w 1380298"/>
                  <a:gd name="connsiteY13" fmla="*/ 658836 h 1921395"/>
                  <a:gd name="connsiteX14" fmla="*/ 830684 w 1380298"/>
                  <a:gd name="connsiteY14" fmla="*/ 675369 h 1921395"/>
                  <a:gd name="connsiteX15" fmla="*/ 333175 w 1380298"/>
                  <a:gd name="connsiteY15" fmla="*/ 0 h 1921395"/>
                  <a:gd name="connsiteX16" fmla="*/ 333175 w 1380298"/>
                  <a:gd name="connsiteY16" fmla="*/ 1354246 h 192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298" h="1921395">
                    <a:moveTo>
                      <a:pt x="333175" y="1354246"/>
                    </a:moveTo>
                    <a:cubicBezTo>
                      <a:pt x="333175" y="1369276"/>
                      <a:pt x="320650" y="1381801"/>
                      <a:pt x="305620" y="1381801"/>
                    </a:cubicBezTo>
                    <a:cubicBezTo>
                      <a:pt x="274055" y="1381801"/>
                      <a:pt x="245498" y="1367272"/>
                      <a:pt x="227962" y="1341219"/>
                    </a:cubicBezTo>
                    <a:cubicBezTo>
                      <a:pt x="193392" y="1291619"/>
                      <a:pt x="171347" y="1278091"/>
                      <a:pt x="125755" y="1278091"/>
                    </a:cubicBezTo>
                    <a:cubicBezTo>
                      <a:pt x="59621" y="1278091"/>
                      <a:pt x="4509" y="1339716"/>
                      <a:pt x="0" y="1418877"/>
                    </a:cubicBezTo>
                    <a:cubicBezTo>
                      <a:pt x="0" y="1420881"/>
                      <a:pt x="0" y="1427394"/>
                      <a:pt x="0" y="1429398"/>
                    </a:cubicBezTo>
                    <a:cubicBezTo>
                      <a:pt x="3507" y="1508558"/>
                      <a:pt x="59120" y="1570684"/>
                      <a:pt x="125755" y="1570684"/>
                    </a:cubicBezTo>
                    <a:cubicBezTo>
                      <a:pt x="171848" y="1570684"/>
                      <a:pt x="193893" y="1557157"/>
                      <a:pt x="227962" y="1507556"/>
                    </a:cubicBezTo>
                    <a:cubicBezTo>
                      <a:pt x="245999" y="1481504"/>
                      <a:pt x="273554" y="1466974"/>
                      <a:pt x="305620" y="1466974"/>
                    </a:cubicBezTo>
                    <a:cubicBezTo>
                      <a:pt x="320650" y="1466974"/>
                      <a:pt x="333175" y="1479500"/>
                      <a:pt x="333175" y="1494530"/>
                    </a:cubicBezTo>
                    <a:lnTo>
                      <a:pt x="333175" y="1921395"/>
                    </a:lnTo>
                    <a:lnTo>
                      <a:pt x="1380298" y="1921395"/>
                    </a:lnTo>
                    <a:lnTo>
                      <a:pt x="1380298" y="771063"/>
                    </a:lnTo>
                    <a:cubicBezTo>
                      <a:pt x="1266067" y="699919"/>
                      <a:pt x="1131293" y="658836"/>
                      <a:pt x="987001" y="658836"/>
                    </a:cubicBezTo>
                    <a:cubicBezTo>
                      <a:pt x="933392" y="658836"/>
                      <a:pt x="881287" y="664347"/>
                      <a:pt x="830684" y="675369"/>
                    </a:cubicBezTo>
                    <a:cubicBezTo>
                      <a:pt x="737996" y="401815"/>
                      <a:pt x="562139" y="166838"/>
                      <a:pt x="333175" y="0"/>
                    </a:cubicBezTo>
                    <a:lnTo>
                      <a:pt x="333175" y="1354246"/>
                    </a:lnTo>
                    <a:close/>
                  </a:path>
                </a:pathLst>
              </a:custGeom>
              <a:solidFill>
                <a:schemeClr val="bg2"/>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60" name="Freeform: Shape 39">
                <a:extLst>
                  <a:ext uri="{FF2B5EF4-FFF2-40B4-BE49-F238E27FC236}">
                    <a16:creationId xmlns:a16="http://schemas.microsoft.com/office/drawing/2014/main" id="{3A0B570E-0EFD-4651-BC1E-A27D4F58A646}"/>
                  </a:ext>
                </a:extLst>
              </p:cNvPr>
              <p:cNvSpPr/>
              <p:nvPr/>
            </p:nvSpPr>
            <p:spPr>
              <a:xfrm>
                <a:off x="3892383" y="4511009"/>
                <a:ext cx="2233056" cy="1217621"/>
              </a:xfrm>
              <a:custGeom>
                <a:avLst/>
                <a:gdLst>
                  <a:gd name="connsiteX0" fmla="*/ 1503 w 2484537"/>
                  <a:gd name="connsiteY0" fmla="*/ 401815 h 1354746"/>
                  <a:gd name="connsiteX1" fmla="*/ 6012 w 2484537"/>
                  <a:gd name="connsiteY1" fmla="*/ 396303 h 1354746"/>
                  <a:gd name="connsiteX2" fmla="*/ 153812 w 2484537"/>
                  <a:gd name="connsiteY2" fmla="*/ 309127 h 1354746"/>
                  <a:gd name="connsiteX3" fmla="*/ 153812 w 2484537"/>
                  <a:gd name="connsiteY3" fmla="*/ 309127 h 1354746"/>
                  <a:gd name="connsiteX4" fmla="*/ 334678 w 2484537"/>
                  <a:gd name="connsiteY4" fmla="*/ 502018 h 1354746"/>
                  <a:gd name="connsiteX5" fmla="*/ 334678 w 2484537"/>
                  <a:gd name="connsiteY5" fmla="*/ 518050 h 1354746"/>
                  <a:gd name="connsiteX6" fmla="*/ 153812 w 2484537"/>
                  <a:gd name="connsiteY6" fmla="*/ 711943 h 1354746"/>
                  <a:gd name="connsiteX7" fmla="*/ 6012 w 2484537"/>
                  <a:gd name="connsiteY7" fmla="*/ 625268 h 1354746"/>
                  <a:gd name="connsiteX8" fmla="*/ 0 w 2484537"/>
                  <a:gd name="connsiteY8" fmla="*/ 618253 h 1354746"/>
                  <a:gd name="connsiteX9" fmla="*/ 0 w 2484537"/>
                  <a:gd name="connsiteY9" fmla="*/ 1021571 h 1354746"/>
                  <a:gd name="connsiteX10" fmla="*/ 435884 w 2484537"/>
                  <a:gd name="connsiteY10" fmla="*/ 1021571 h 1354746"/>
                  <a:gd name="connsiteX11" fmla="*/ 463440 w 2484537"/>
                  <a:gd name="connsiteY11" fmla="*/ 1049127 h 1354746"/>
                  <a:gd name="connsiteX12" fmla="*/ 422857 w 2484537"/>
                  <a:gd name="connsiteY12" fmla="*/ 1126784 h 1354746"/>
                  <a:gd name="connsiteX13" fmla="*/ 359729 w 2484537"/>
                  <a:gd name="connsiteY13" fmla="*/ 1228992 h 1354746"/>
                  <a:gd name="connsiteX14" fmla="*/ 500515 w 2484537"/>
                  <a:gd name="connsiteY14" fmla="*/ 1354747 h 1354746"/>
                  <a:gd name="connsiteX15" fmla="*/ 510535 w 2484537"/>
                  <a:gd name="connsiteY15" fmla="*/ 1354747 h 1354746"/>
                  <a:gd name="connsiteX16" fmla="*/ 651821 w 2484537"/>
                  <a:gd name="connsiteY16" fmla="*/ 1228992 h 1354746"/>
                  <a:gd name="connsiteX17" fmla="*/ 588694 w 2484537"/>
                  <a:gd name="connsiteY17" fmla="*/ 1126784 h 1354746"/>
                  <a:gd name="connsiteX18" fmla="*/ 548111 w 2484537"/>
                  <a:gd name="connsiteY18" fmla="*/ 1049127 h 1354746"/>
                  <a:gd name="connsiteX19" fmla="*/ 575667 w 2484537"/>
                  <a:gd name="connsiteY19" fmla="*/ 1021571 h 1354746"/>
                  <a:gd name="connsiteX20" fmla="*/ 2150860 w 2484537"/>
                  <a:gd name="connsiteY20" fmla="*/ 1021571 h 1354746"/>
                  <a:gd name="connsiteX21" fmla="*/ 2149859 w 2484537"/>
                  <a:gd name="connsiteY21" fmla="*/ 606229 h 1354746"/>
                  <a:gd name="connsiteX22" fmla="*/ 2150360 w 2484537"/>
                  <a:gd name="connsiteY22" fmla="*/ 588694 h 1354746"/>
                  <a:gd name="connsiteX23" fmla="*/ 2177915 w 2484537"/>
                  <a:gd name="connsiteY23" fmla="*/ 561639 h 1354746"/>
                  <a:gd name="connsiteX24" fmla="*/ 2256575 w 2484537"/>
                  <a:gd name="connsiteY24" fmla="*/ 602221 h 1354746"/>
                  <a:gd name="connsiteX25" fmla="*/ 2358782 w 2484537"/>
                  <a:gd name="connsiteY25" fmla="*/ 665349 h 1354746"/>
                  <a:gd name="connsiteX26" fmla="*/ 2358782 w 2484537"/>
                  <a:gd name="connsiteY26" fmla="*/ 665349 h 1354746"/>
                  <a:gd name="connsiteX27" fmla="*/ 2484537 w 2484537"/>
                  <a:gd name="connsiteY27" fmla="*/ 524563 h 1354746"/>
                  <a:gd name="connsiteX28" fmla="*/ 2484537 w 2484537"/>
                  <a:gd name="connsiteY28" fmla="*/ 514042 h 1354746"/>
                  <a:gd name="connsiteX29" fmla="*/ 2358782 w 2484537"/>
                  <a:gd name="connsiteY29" fmla="*/ 372756 h 1354746"/>
                  <a:gd name="connsiteX30" fmla="*/ 2256575 w 2484537"/>
                  <a:gd name="connsiteY30" fmla="*/ 435884 h 1354746"/>
                  <a:gd name="connsiteX31" fmla="*/ 2178918 w 2484537"/>
                  <a:gd name="connsiteY31" fmla="*/ 476466 h 1354746"/>
                  <a:gd name="connsiteX32" fmla="*/ 2178918 w 2484537"/>
                  <a:gd name="connsiteY32" fmla="*/ 476466 h 1354746"/>
                  <a:gd name="connsiteX33" fmla="*/ 2151362 w 2484537"/>
                  <a:gd name="connsiteY33" fmla="*/ 448910 h 1354746"/>
                  <a:gd name="connsiteX34" fmla="*/ 2151362 w 2484537"/>
                  <a:gd name="connsiteY34" fmla="*/ 0 h 1354746"/>
                  <a:gd name="connsiteX35" fmla="*/ 1087204 w 2484537"/>
                  <a:gd name="connsiteY35" fmla="*/ 0 h 1354746"/>
                  <a:gd name="connsiteX36" fmla="*/ 1077184 w 2484537"/>
                  <a:gd name="connsiteY36" fmla="*/ 2004 h 1354746"/>
                  <a:gd name="connsiteX37" fmla="*/ 1067164 w 2484537"/>
                  <a:gd name="connsiteY37" fmla="*/ 0 h 1354746"/>
                  <a:gd name="connsiteX38" fmla="*/ 501 w 2484537"/>
                  <a:gd name="connsiteY38" fmla="*/ 0 h 1354746"/>
                  <a:gd name="connsiteX39" fmla="*/ 501 w 2484537"/>
                  <a:gd name="connsiteY39" fmla="*/ 402817 h 1354746"/>
                  <a:gd name="connsiteX40" fmla="*/ 1503 w 2484537"/>
                  <a:gd name="connsiteY40" fmla="*/ 401815 h 13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537" h="1354746">
                    <a:moveTo>
                      <a:pt x="1503" y="401815"/>
                    </a:moveTo>
                    <a:cubicBezTo>
                      <a:pt x="3006" y="400312"/>
                      <a:pt x="5010" y="398308"/>
                      <a:pt x="6012" y="396303"/>
                    </a:cubicBezTo>
                    <a:cubicBezTo>
                      <a:pt x="44089" y="341192"/>
                      <a:pt x="80663" y="309127"/>
                      <a:pt x="153812" y="309127"/>
                    </a:cubicBezTo>
                    <a:cubicBezTo>
                      <a:pt x="153812" y="309127"/>
                      <a:pt x="153812" y="309127"/>
                      <a:pt x="153812" y="309127"/>
                    </a:cubicBezTo>
                    <a:cubicBezTo>
                      <a:pt x="249506" y="309127"/>
                      <a:pt x="329167" y="393798"/>
                      <a:pt x="334678" y="502018"/>
                    </a:cubicBezTo>
                    <a:cubicBezTo>
                      <a:pt x="334678" y="505525"/>
                      <a:pt x="334678" y="515044"/>
                      <a:pt x="334678" y="518050"/>
                    </a:cubicBezTo>
                    <a:cubicBezTo>
                      <a:pt x="329668" y="626771"/>
                      <a:pt x="250007" y="711943"/>
                      <a:pt x="153812" y="711943"/>
                    </a:cubicBezTo>
                    <a:cubicBezTo>
                      <a:pt x="80663" y="711943"/>
                      <a:pt x="44089" y="679878"/>
                      <a:pt x="6012" y="625268"/>
                    </a:cubicBezTo>
                    <a:cubicBezTo>
                      <a:pt x="4008" y="622763"/>
                      <a:pt x="2004" y="620258"/>
                      <a:pt x="0" y="618253"/>
                    </a:cubicBezTo>
                    <a:lnTo>
                      <a:pt x="0" y="1021571"/>
                    </a:lnTo>
                    <a:lnTo>
                      <a:pt x="435884" y="1021571"/>
                    </a:lnTo>
                    <a:cubicBezTo>
                      <a:pt x="450914" y="1021571"/>
                      <a:pt x="463440" y="1034096"/>
                      <a:pt x="463440" y="1049127"/>
                    </a:cubicBezTo>
                    <a:cubicBezTo>
                      <a:pt x="463440" y="1080691"/>
                      <a:pt x="448910" y="1109249"/>
                      <a:pt x="422857" y="1126784"/>
                    </a:cubicBezTo>
                    <a:cubicBezTo>
                      <a:pt x="373257" y="1161355"/>
                      <a:pt x="359729" y="1183399"/>
                      <a:pt x="359729" y="1228992"/>
                    </a:cubicBezTo>
                    <a:cubicBezTo>
                      <a:pt x="359729" y="1295126"/>
                      <a:pt x="421354" y="1350238"/>
                      <a:pt x="500515" y="1354747"/>
                    </a:cubicBezTo>
                    <a:cubicBezTo>
                      <a:pt x="503020" y="1354747"/>
                      <a:pt x="509032" y="1354747"/>
                      <a:pt x="510535" y="1354747"/>
                    </a:cubicBezTo>
                    <a:cubicBezTo>
                      <a:pt x="589695" y="1351239"/>
                      <a:pt x="651821" y="1295627"/>
                      <a:pt x="651821" y="1228992"/>
                    </a:cubicBezTo>
                    <a:cubicBezTo>
                      <a:pt x="651821" y="1182898"/>
                      <a:pt x="638294" y="1160853"/>
                      <a:pt x="588694" y="1126784"/>
                    </a:cubicBezTo>
                    <a:cubicBezTo>
                      <a:pt x="562641" y="1108748"/>
                      <a:pt x="548111" y="1081192"/>
                      <a:pt x="548111" y="1049127"/>
                    </a:cubicBezTo>
                    <a:cubicBezTo>
                      <a:pt x="548111" y="1033596"/>
                      <a:pt x="560636" y="1021571"/>
                      <a:pt x="575667" y="1021571"/>
                    </a:cubicBezTo>
                    <a:lnTo>
                      <a:pt x="2150860" y="1021571"/>
                    </a:lnTo>
                    <a:lnTo>
                      <a:pt x="2149859" y="606229"/>
                    </a:lnTo>
                    <a:lnTo>
                      <a:pt x="2150360" y="588694"/>
                    </a:lnTo>
                    <a:cubicBezTo>
                      <a:pt x="2150860" y="573663"/>
                      <a:pt x="2162885" y="561639"/>
                      <a:pt x="2177915" y="561639"/>
                    </a:cubicBezTo>
                    <a:cubicBezTo>
                      <a:pt x="2209981" y="561639"/>
                      <a:pt x="2238538" y="576168"/>
                      <a:pt x="2256575" y="602221"/>
                    </a:cubicBezTo>
                    <a:cubicBezTo>
                      <a:pt x="2291145" y="651822"/>
                      <a:pt x="2313190" y="665349"/>
                      <a:pt x="2358782" y="665349"/>
                    </a:cubicBezTo>
                    <a:cubicBezTo>
                      <a:pt x="2358782" y="665349"/>
                      <a:pt x="2358782" y="665349"/>
                      <a:pt x="2358782" y="665349"/>
                    </a:cubicBezTo>
                    <a:cubicBezTo>
                      <a:pt x="2424916" y="665349"/>
                      <a:pt x="2480028" y="603724"/>
                      <a:pt x="2484537" y="524563"/>
                    </a:cubicBezTo>
                    <a:cubicBezTo>
                      <a:pt x="2484537" y="522058"/>
                      <a:pt x="2484537" y="515545"/>
                      <a:pt x="2484537" y="514042"/>
                    </a:cubicBezTo>
                    <a:cubicBezTo>
                      <a:pt x="2481030" y="434882"/>
                      <a:pt x="2425918" y="372756"/>
                      <a:pt x="2358782" y="372756"/>
                    </a:cubicBezTo>
                    <a:cubicBezTo>
                      <a:pt x="2312689" y="372756"/>
                      <a:pt x="2290644" y="386283"/>
                      <a:pt x="2256575" y="435884"/>
                    </a:cubicBezTo>
                    <a:cubicBezTo>
                      <a:pt x="2238538" y="461936"/>
                      <a:pt x="2210982" y="476466"/>
                      <a:pt x="2178918" y="476466"/>
                    </a:cubicBezTo>
                    <a:cubicBezTo>
                      <a:pt x="2178918" y="476466"/>
                      <a:pt x="2178918" y="476466"/>
                      <a:pt x="2178918" y="476466"/>
                    </a:cubicBezTo>
                    <a:cubicBezTo>
                      <a:pt x="2163887" y="476466"/>
                      <a:pt x="2151362" y="463941"/>
                      <a:pt x="2151362" y="448910"/>
                    </a:cubicBezTo>
                    <a:lnTo>
                      <a:pt x="2151362" y="0"/>
                    </a:lnTo>
                    <a:lnTo>
                      <a:pt x="1087204" y="0"/>
                    </a:lnTo>
                    <a:cubicBezTo>
                      <a:pt x="1084198" y="1002"/>
                      <a:pt x="1080691" y="2004"/>
                      <a:pt x="1077184" y="2004"/>
                    </a:cubicBezTo>
                    <a:cubicBezTo>
                      <a:pt x="1073677" y="2004"/>
                      <a:pt x="1070170" y="1503"/>
                      <a:pt x="1067164" y="0"/>
                    </a:cubicBezTo>
                    <a:lnTo>
                      <a:pt x="501" y="0"/>
                    </a:lnTo>
                    <a:lnTo>
                      <a:pt x="501" y="402817"/>
                    </a:lnTo>
                    <a:lnTo>
                      <a:pt x="1503" y="401815"/>
                    </a:lnTo>
                    <a:close/>
                  </a:path>
                </a:pathLst>
              </a:custGeom>
              <a:solidFill>
                <a:schemeClr val="bg2">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57" name="Freeform: Shape 40">
                <a:extLst>
                  <a:ext uri="{FF2B5EF4-FFF2-40B4-BE49-F238E27FC236}">
                    <a16:creationId xmlns:a16="http://schemas.microsoft.com/office/drawing/2014/main" id="{243A44A6-EAB2-4DE5-B38B-26F432794BAA}"/>
                  </a:ext>
                </a:extLst>
              </p:cNvPr>
              <p:cNvSpPr/>
              <p:nvPr/>
            </p:nvSpPr>
            <p:spPr>
              <a:xfrm>
                <a:off x="2901714" y="4511459"/>
                <a:ext cx="1239686" cy="918169"/>
              </a:xfrm>
              <a:custGeom>
                <a:avLst/>
                <a:gdLst>
                  <a:gd name="connsiteX0" fmla="*/ 1378795 w 1379296"/>
                  <a:gd name="connsiteY0" fmla="*/ 509032 h 1021571"/>
                  <a:gd name="connsiteX1" fmla="*/ 1253040 w 1379296"/>
                  <a:gd name="connsiteY1" fmla="*/ 367746 h 1021571"/>
                  <a:gd name="connsiteX2" fmla="*/ 1150833 w 1379296"/>
                  <a:gd name="connsiteY2" fmla="*/ 430874 h 1021571"/>
                  <a:gd name="connsiteX3" fmla="*/ 1073176 w 1379296"/>
                  <a:gd name="connsiteY3" fmla="*/ 471456 h 1021571"/>
                  <a:gd name="connsiteX4" fmla="*/ 1073176 w 1379296"/>
                  <a:gd name="connsiteY4" fmla="*/ 471456 h 1021571"/>
                  <a:gd name="connsiteX5" fmla="*/ 1047624 w 1379296"/>
                  <a:gd name="connsiteY5" fmla="*/ 453920 h 1021571"/>
                  <a:gd name="connsiteX6" fmla="*/ 1047624 w 1379296"/>
                  <a:gd name="connsiteY6" fmla="*/ 0 h 1021571"/>
                  <a:gd name="connsiteX7" fmla="*/ 0 w 1379296"/>
                  <a:gd name="connsiteY7" fmla="*/ 0 h 1021571"/>
                  <a:gd name="connsiteX8" fmla="*/ 0 w 1379296"/>
                  <a:gd name="connsiteY8" fmla="*/ 1021571 h 1021571"/>
                  <a:gd name="connsiteX9" fmla="*/ 1047624 w 1379296"/>
                  <a:gd name="connsiteY9" fmla="*/ 1021571 h 1021571"/>
                  <a:gd name="connsiteX10" fmla="*/ 1047624 w 1379296"/>
                  <a:gd name="connsiteY10" fmla="*/ 573162 h 1021571"/>
                  <a:gd name="connsiteX11" fmla="*/ 1072675 w 1379296"/>
                  <a:gd name="connsiteY11" fmla="*/ 557130 h 1021571"/>
                  <a:gd name="connsiteX12" fmla="*/ 1151334 w 1379296"/>
                  <a:gd name="connsiteY12" fmla="*/ 597712 h 1021571"/>
                  <a:gd name="connsiteX13" fmla="*/ 1253541 w 1379296"/>
                  <a:gd name="connsiteY13" fmla="*/ 660840 h 1021571"/>
                  <a:gd name="connsiteX14" fmla="*/ 1253541 w 1379296"/>
                  <a:gd name="connsiteY14" fmla="*/ 660840 h 1021571"/>
                  <a:gd name="connsiteX15" fmla="*/ 1379297 w 1379296"/>
                  <a:gd name="connsiteY15" fmla="*/ 520054 h 1021571"/>
                  <a:gd name="connsiteX16" fmla="*/ 1378795 w 1379296"/>
                  <a:gd name="connsiteY16" fmla="*/ 509032 h 102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9296" h="1021571">
                    <a:moveTo>
                      <a:pt x="1378795" y="509032"/>
                    </a:moveTo>
                    <a:cubicBezTo>
                      <a:pt x="1375288" y="429871"/>
                      <a:pt x="1320177" y="367746"/>
                      <a:pt x="1253040" y="367746"/>
                    </a:cubicBezTo>
                    <a:cubicBezTo>
                      <a:pt x="1206947" y="367746"/>
                      <a:pt x="1184902" y="381273"/>
                      <a:pt x="1150833" y="430874"/>
                    </a:cubicBezTo>
                    <a:cubicBezTo>
                      <a:pt x="1132797" y="456926"/>
                      <a:pt x="1105241" y="471456"/>
                      <a:pt x="1073176" y="471456"/>
                    </a:cubicBezTo>
                    <a:cubicBezTo>
                      <a:pt x="1073176" y="471456"/>
                      <a:pt x="1073176" y="471456"/>
                      <a:pt x="1073176" y="471456"/>
                    </a:cubicBezTo>
                    <a:cubicBezTo>
                      <a:pt x="1061652" y="471456"/>
                      <a:pt x="1051632" y="464442"/>
                      <a:pt x="1047624" y="453920"/>
                    </a:cubicBezTo>
                    <a:lnTo>
                      <a:pt x="1047624" y="0"/>
                    </a:lnTo>
                    <a:lnTo>
                      <a:pt x="0" y="0"/>
                    </a:lnTo>
                    <a:lnTo>
                      <a:pt x="0" y="1021571"/>
                    </a:lnTo>
                    <a:lnTo>
                      <a:pt x="1047624" y="1021571"/>
                    </a:lnTo>
                    <a:lnTo>
                      <a:pt x="1047624" y="573162"/>
                    </a:lnTo>
                    <a:cubicBezTo>
                      <a:pt x="1052133" y="563643"/>
                      <a:pt x="1061652" y="557130"/>
                      <a:pt x="1072675" y="557130"/>
                    </a:cubicBezTo>
                    <a:cubicBezTo>
                      <a:pt x="1104740" y="557130"/>
                      <a:pt x="1133298" y="571659"/>
                      <a:pt x="1151334" y="597712"/>
                    </a:cubicBezTo>
                    <a:cubicBezTo>
                      <a:pt x="1185904" y="647312"/>
                      <a:pt x="1207949" y="660840"/>
                      <a:pt x="1253541" y="660840"/>
                    </a:cubicBezTo>
                    <a:cubicBezTo>
                      <a:pt x="1253541" y="660840"/>
                      <a:pt x="1253541" y="660840"/>
                      <a:pt x="1253541" y="660840"/>
                    </a:cubicBezTo>
                    <a:cubicBezTo>
                      <a:pt x="1319676" y="660840"/>
                      <a:pt x="1374787" y="599215"/>
                      <a:pt x="1379297" y="520054"/>
                    </a:cubicBezTo>
                    <a:cubicBezTo>
                      <a:pt x="1378795" y="517048"/>
                      <a:pt x="1378795" y="510535"/>
                      <a:pt x="1378795" y="509032"/>
                    </a:cubicBezTo>
                    <a:close/>
                  </a:path>
                </a:pathLst>
              </a:custGeom>
              <a:solidFill>
                <a:schemeClr val="accent1">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55" name="Freeform: Shape 23">
                <a:extLst>
                  <a:ext uri="{FF2B5EF4-FFF2-40B4-BE49-F238E27FC236}">
                    <a16:creationId xmlns:a16="http://schemas.microsoft.com/office/drawing/2014/main" id="{22ABD093-0268-4BAB-AA14-3FD2A4FD7E10}"/>
                  </a:ext>
                </a:extLst>
              </p:cNvPr>
              <p:cNvSpPr/>
              <p:nvPr/>
            </p:nvSpPr>
            <p:spPr>
              <a:xfrm>
                <a:off x="5875520" y="3460450"/>
                <a:ext cx="1354063" cy="1967827"/>
              </a:xfrm>
              <a:custGeom>
                <a:avLst/>
                <a:gdLst>
                  <a:gd name="connsiteX0" fmla="*/ 1002 w 1506554"/>
                  <a:gd name="connsiteY0" fmla="*/ 1138809 h 2189438"/>
                  <a:gd name="connsiteX1" fmla="*/ 1002 w 1506554"/>
                  <a:gd name="connsiteY1" fmla="*/ 1141314 h 2189438"/>
                  <a:gd name="connsiteX2" fmla="*/ 1002 w 1506554"/>
                  <a:gd name="connsiteY2" fmla="*/ 1143819 h 2189438"/>
                  <a:gd name="connsiteX3" fmla="*/ 1002 w 1506554"/>
                  <a:gd name="connsiteY3" fmla="*/ 1579202 h 2189438"/>
                  <a:gd name="connsiteX4" fmla="*/ 6012 w 1506554"/>
                  <a:gd name="connsiteY4" fmla="*/ 1573189 h 2189438"/>
                  <a:gd name="connsiteX5" fmla="*/ 153812 w 1506554"/>
                  <a:gd name="connsiteY5" fmla="*/ 1486013 h 2189438"/>
                  <a:gd name="connsiteX6" fmla="*/ 334678 w 1506554"/>
                  <a:gd name="connsiteY6" fmla="*/ 1679906 h 2189438"/>
                  <a:gd name="connsiteX7" fmla="*/ 334678 w 1506554"/>
                  <a:gd name="connsiteY7" fmla="*/ 1695938 h 2189438"/>
                  <a:gd name="connsiteX8" fmla="*/ 153812 w 1506554"/>
                  <a:gd name="connsiteY8" fmla="*/ 1888829 h 2189438"/>
                  <a:gd name="connsiteX9" fmla="*/ 153812 w 1506554"/>
                  <a:gd name="connsiteY9" fmla="*/ 1888829 h 2189438"/>
                  <a:gd name="connsiteX10" fmla="*/ 6012 w 1506554"/>
                  <a:gd name="connsiteY10" fmla="*/ 1801653 h 2189438"/>
                  <a:gd name="connsiteX11" fmla="*/ 0 w 1506554"/>
                  <a:gd name="connsiteY11" fmla="*/ 1795139 h 2189438"/>
                  <a:gd name="connsiteX12" fmla="*/ 1002 w 1506554"/>
                  <a:gd name="connsiteY12" fmla="*/ 2189439 h 2189438"/>
                  <a:gd name="connsiteX13" fmla="*/ 1486514 w 1506554"/>
                  <a:gd name="connsiteY13" fmla="*/ 2189439 h 2189438"/>
                  <a:gd name="connsiteX14" fmla="*/ 1506554 w 1506554"/>
                  <a:gd name="connsiteY14" fmla="*/ 1970495 h 2189438"/>
                  <a:gd name="connsiteX15" fmla="*/ 310128 w 1506554"/>
                  <a:gd name="connsiteY15" fmla="*/ 774069 h 2189438"/>
                  <a:gd name="connsiteX16" fmla="*/ 277061 w 1506554"/>
                  <a:gd name="connsiteY16" fmla="*/ 774570 h 2189438"/>
                  <a:gd name="connsiteX17" fmla="*/ 298605 w 1506554"/>
                  <a:gd name="connsiteY17" fmla="*/ 596209 h 2189438"/>
                  <a:gd name="connsiteX18" fmla="*/ 1002 w 1506554"/>
                  <a:gd name="connsiteY18" fmla="*/ 0 h 2189438"/>
                  <a:gd name="connsiteX19" fmla="*/ 1002 w 1506554"/>
                  <a:gd name="connsiteY19" fmla="*/ 1138809 h 218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06554" h="2189438">
                    <a:moveTo>
                      <a:pt x="1002" y="1138809"/>
                    </a:moveTo>
                    <a:cubicBezTo>
                      <a:pt x="1002" y="1139811"/>
                      <a:pt x="1002" y="1140312"/>
                      <a:pt x="1002" y="1141314"/>
                    </a:cubicBezTo>
                    <a:cubicBezTo>
                      <a:pt x="1002" y="1142316"/>
                      <a:pt x="1002" y="1142817"/>
                      <a:pt x="1002" y="1143819"/>
                    </a:cubicBezTo>
                    <a:lnTo>
                      <a:pt x="1002" y="1579202"/>
                    </a:lnTo>
                    <a:cubicBezTo>
                      <a:pt x="2505" y="1577699"/>
                      <a:pt x="4509" y="1575694"/>
                      <a:pt x="6012" y="1573189"/>
                    </a:cubicBezTo>
                    <a:cubicBezTo>
                      <a:pt x="44089" y="1518078"/>
                      <a:pt x="80663" y="1486013"/>
                      <a:pt x="153812" y="1486013"/>
                    </a:cubicBezTo>
                    <a:cubicBezTo>
                      <a:pt x="250006" y="1486013"/>
                      <a:pt x="329668" y="1571185"/>
                      <a:pt x="334678" y="1679906"/>
                    </a:cubicBezTo>
                    <a:cubicBezTo>
                      <a:pt x="334678" y="1682912"/>
                      <a:pt x="334678" y="1692431"/>
                      <a:pt x="334678" y="1695938"/>
                    </a:cubicBezTo>
                    <a:cubicBezTo>
                      <a:pt x="329167" y="1803657"/>
                      <a:pt x="249505" y="1888829"/>
                      <a:pt x="153812" y="1888829"/>
                    </a:cubicBezTo>
                    <a:cubicBezTo>
                      <a:pt x="153812" y="1888829"/>
                      <a:pt x="153812" y="1888829"/>
                      <a:pt x="153812" y="1888829"/>
                    </a:cubicBezTo>
                    <a:cubicBezTo>
                      <a:pt x="80663" y="1888829"/>
                      <a:pt x="44089" y="1856764"/>
                      <a:pt x="6012" y="1801653"/>
                    </a:cubicBezTo>
                    <a:cubicBezTo>
                      <a:pt x="4509" y="1799148"/>
                      <a:pt x="2505" y="1797143"/>
                      <a:pt x="0" y="1795139"/>
                    </a:cubicBezTo>
                    <a:lnTo>
                      <a:pt x="1002" y="2189439"/>
                    </a:lnTo>
                    <a:lnTo>
                      <a:pt x="1486514" y="2189439"/>
                    </a:lnTo>
                    <a:cubicBezTo>
                      <a:pt x="1499540" y="2118295"/>
                      <a:pt x="1506554" y="2045146"/>
                      <a:pt x="1506554" y="1970495"/>
                    </a:cubicBezTo>
                    <a:cubicBezTo>
                      <a:pt x="1506554" y="1309655"/>
                      <a:pt x="970968" y="774069"/>
                      <a:pt x="310128" y="774069"/>
                    </a:cubicBezTo>
                    <a:cubicBezTo>
                      <a:pt x="299106" y="774069"/>
                      <a:pt x="288084" y="774069"/>
                      <a:pt x="277061" y="774570"/>
                    </a:cubicBezTo>
                    <a:cubicBezTo>
                      <a:pt x="291090" y="717454"/>
                      <a:pt x="298605" y="657834"/>
                      <a:pt x="298605" y="596209"/>
                    </a:cubicBezTo>
                    <a:cubicBezTo>
                      <a:pt x="298605" y="352715"/>
                      <a:pt x="181868" y="136276"/>
                      <a:pt x="1002" y="0"/>
                    </a:cubicBezTo>
                    <a:lnTo>
                      <a:pt x="1002" y="1138809"/>
                    </a:lnTo>
                    <a:close/>
                  </a:path>
                </a:pathLst>
              </a:custGeom>
              <a:solidFill>
                <a:schemeClr val="bg2">
                  <a:lumMod val="75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52" name="Freeform: Shape 35">
                <a:extLst>
                  <a:ext uri="{FF2B5EF4-FFF2-40B4-BE49-F238E27FC236}">
                    <a16:creationId xmlns:a16="http://schemas.microsoft.com/office/drawing/2014/main" id="{0F21E152-0CF0-49F3-ABE2-5BD9AEB1C194}"/>
                  </a:ext>
                </a:extLst>
              </p:cNvPr>
              <p:cNvSpPr/>
              <p:nvPr/>
            </p:nvSpPr>
            <p:spPr>
              <a:xfrm>
                <a:off x="799247" y="4511009"/>
                <a:ext cx="1057762" cy="1782752"/>
              </a:xfrm>
              <a:custGeom>
                <a:avLst/>
                <a:gdLst>
                  <a:gd name="connsiteX0" fmla="*/ 1176886 w 1176885"/>
                  <a:gd name="connsiteY0" fmla="*/ 1270576 h 1983521"/>
                  <a:gd name="connsiteX1" fmla="*/ 1171876 w 1176885"/>
                  <a:gd name="connsiteY1" fmla="*/ 1276588 h 1983521"/>
                  <a:gd name="connsiteX2" fmla="*/ 1024076 w 1176885"/>
                  <a:gd name="connsiteY2" fmla="*/ 1363765 h 1983521"/>
                  <a:gd name="connsiteX3" fmla="*/ 843210 w 1176885"/>
                  <a:gd name="connsiteY3" fmla="*/ 1169872 h 1983521"/>
                  <a:gd name="connsiteX4" fmla="*/ 843210 w 1176885"/>
                  <a:gd name="connsiteY4" fmla="*/ 1154340 h 1983521"/>
                  <a:gd name="connsiteX5" fmla="*/ 1024076 w 1176885"/>
                  <a:gd name="connsiteY5" fmla="*/ 961449 h 1983521"/>
                  <a:gd name="connsiteX6" fmla="*/ 1171876 w 1176885"/>
                  <a:gd name="connsiteY6" fmla="*/ 1048626 h 1983521"/>
                  <a:gd name="connsiteX7" fmla="*/ 1176886 w 1176885"/>
                  <a:gd name="connsiteY7" fmla="*/ 1054137 h 1983521"/>
                  <a:gd name="connsiteX8" fmla="*/ 1176886 w 1176885"/>
                  <a:gd name="connsiteY8" fmla="*/ 0 h 1983521"/>
                  <a:gd name="connsiteX9" fmla="*/ 142789 w 1176885"/>
                  <a:gd name="connsiteY9" fmla="*/ 0 h 1983521"/>
                  <a:gd name="connsiteX10" fmla="*/ 0 w 1176885"/>
                  <a:gd name="connsiteY10" fmla="*/ 613243 h 1983521"/>
                  <a:gd name="connsiteX11" fmla="*/ 1176886 w 1176885"/>
                  <a:gd name="connsiteY11" fmla="*/ 1983521 h 1983521"/>
                  <a:gd name="connsiteX12" fmla="*/ 1176886 w 1176885"/>
                  <a:gd name="connsiteY12" fmla="*/ 1270576 h 198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6885" h="1983521">
                    <a:moveTo>
                      <a:pt x="1176886" y="1270576"/>
                    </a:moveTo>
                    <a:cubicBezTo>
                      <a:pt x="1175383" y="1272079"/>
                      <a:pt x="1173379" y="1274083"/>
                      <a:pt x="1171876" y="1276588"/>
                    </a:cubicBezTo>
                    <a:cubicBezTo>
                      <a:pt x="1133799" y="1331700"/>
                      <a:pt x="1097225" y="1363765"/>
                      <a:pt x="1024076" y="1363765"/>
                    </a:cubicBezTo>
                    <a:cubicBezTo>
                      <a:pt x="927881" y="1363765"/>
                      <a:pt x="848220" y="1278592"/>
                      <a:pt x="843210" y="1169872"/>
                    </a:cubicBezTo>
                    <a:cubicBezTo>
                      <a:pt x="843210" y="1166866"/>
                      <a:pt x="843210" y="1157347"/>
                      <a:pt x="843210" y="1154340"/>
                    </a:cubicBezTo>
                    <a:cubicBezTo>
                      <a:pt x="848721" y="1046121"/>
                      <a:pt x="928382" y="961449"/>
                      <a:pt x="1024076" y="961449"/>
                    </a:cubicBezTo>
                    <a:cubicBezTo>
                      <a:pt x="1097225" y="961449"/>
                      <a:pt x="1133799" y="993514"/>
                      <a:pt x="1171876" y="1048626"/>
                    </a:cubicBezTo>
                    <a:cubicBezTo>
                      <a:pt x="1173379" y="1050630"/>
                      <a:pt x="1174882" y="1052634"/>
                      <a:pt x="1176886" y="1054137"/>
                    </a:cubicBezTo>
                    <a:lnTo>
                      <a:pt x="1176886" y="0"/>
                    </a:lnTo>
                    <a:lnTo>
                      <a:pt x="142789" y="0"/>
                    </a:lnTo>
                    <a:cubicBezTo>
                      <a:pt x="51605" y="184875"/>
                      <a:pt x="0" y="392796"/>
                      <a:pt x="0" y="613243"/>
                    </a:cubicBezTo>
                    <a:cubicBezTo>
                      <a:pt x="0" y="1307651"/>
                      <a:pt x="510535" y="1882817"/>
                      <a:pt x="1176886" y="1983521"/>
                    </a:cubicBezTo>
                    <a:lnTo>
                      <a:pt x="1176886" y="1270576"/>
                    </a:lnTo>
                    <a:close/>
                  </a:path>
                </a:pathLst>
              </a:custGeom>
              <a:solidFill>
                <a:schemeClr val="tx2">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50" name="Freeform: Shape 24">
                <a:extLst>
                  <a:ext uri="{FF2B5EF4-FFF2-40B4-BE49-F238E27FC236}">
                    <a16:creationId xmlns:a16="http://schemas.microsoft.com/office/drawing/2014/main" id="{B618F286-3169-4147-B68A-95645931A817}"/>
                  </a:ext>
                </a:extLst>
              </p:cNvPr>
              <p:cNvSpPr/>
              <p:nvPr/>
            </p:nvSpPr>
            <p:spPr>
              <a:xfrm>
                <a:off x="1607542" y="4511009"/>
                <a:ext cx="1244189" cy="1796261"/>
              </a:xfrm>
              <a:custGeom>
                <a:avLst/>
                <a:gdLst>
                  <a:gd name="connsiteX0" fmla="*/ 1384307 w 1384306"/>
                  <a:gd name="connsiteY0" fmla="*/ 1051131 h 1998551"/>
                  <a:gd name="connsiteX1" fmla="*/ 1384307 w 1384306"/>
                  <a:gd name="connsiteY1" fmla="*/ 1049127 h 1998551"/>
                  <a:gd name="connsiteX2" fmla="*/ 1384307 w 1384306"/>
                  <a:gd name="connsiteY2" fmla="*/ 1047123 h 1998551"/>
                  <a:gd name="connsiteX3" fmla="*/ 1384307 w 1384306"/>
                  <a:gd name="connsiteY3" fmla="*/ 0 h 1998551"/>
                  <a:gd name="connsiteX4" fmla="*/ 979987 w 1384306"/>
                  <a:gd name="connsiteY4" fmla="*/ 0 h 1998551"/>
                  <a:gd name="connsiteX5" fmla="*/ 985999 w 1384306"/>
                  <a:gd name="connsiteY5" fmla="*/ 5010 h 1998551"/>
                  <a:gd name="connsiteX6" fmla="*/ 1073176 w 1384306"/>
                  <a:gd name="connsiteY6" fmla="*/ 152810 h 1998551"/>
                  <a:gd name="connsiteX7" fmla="*/ 879283 w 1384306"/>
                  <a:gd name="connsiteY7" fmla="*/ 333677 h 1998551"/>
                  <a:gd name="connsiteX8" fmla="*/ 872268 w 1384306"/>
                  <a:gd name="connsiteY8" fmla="*/ 333677 h 1998551"/>
                  <a:gd name="connsiteX9" fmla="*/ 863250 w 1384306"/>
                  <a:gd name="connsiteY9" fmla="*/ 333677 h 1998551"/>
                  <a:gd name="connsiteX10" fmla="*/ 670359 w 1384306"/>
                  <a:gd name="connsiteY10" fmla="*/ 152810 h 1998551"/>
                  <a:gd name="connsiteX11" fmla="*/ 757536 w 1384306"/>
                  <a:gd name="connsiteY11" fmla="*/ 5010 h 1998551"/>
                  <a:gd name="connsiteX12" fmla="*/ 763047 w 1384306"/>
                  <a:gd name="connsiteY12" fmla="*/ 0 h 1998551"/>
                  <a:gd name="connsiteX13" fmla="*/ 333175 w 1384306"/>
                  <a:gd name="connsiteY13" fmla="*/ 0 h 1998551"/>
                  <a:gd name="connsiteX14" fmla="*/ 333175 w 1384306"/>
                  <a:gd name="connsiteY14" fmla="*/ 1091212 h 1998551"/>
                  <a:gd name="connsiteX15" fmla="*/ 305620 w 1384306"/>
                  <a:gd name="connsiteY15" fmla="*/ 1118768 h 1998551"/>
                  <a:gd name="connsiteX16" fmla="*/ 227962 w 1384306"/>
                  <a:gd name="connsiteY16" fmla="*/ 1078186 h 1998551"/>
                  <a:gd name="connsiteX17" fmla="*/ 125755 w 1384306"/>
                  <a:gd name="connsiteY17" fmla="*/ 1015058 h 1998551"/>
                  <a:gd name="connsiteX18" fmla="*/ 0 w 1384306"/>
                  <a:gd name="connsiteY18" fmla="*/ 1155843 h 1998551"/>
                  <a:gd name="connsiteX19" fmla="*/ 0 w 1384306"/>
                  <a:gd name="connsiteY19" fmla="*/ 1166365 h 1998551"/>
                  <a:gd name="connsiteX20" fmla="*/ 125755 w 1384306"/>
                  <a:gd name="connsiteY20" fmla="*/ 1307651 h 1998551"/>
                  <a:gd name="connsiteX21" fmla="*/ 227962 w 1384306"/>
                  <a:gd name="connsiteY21" fmla="*/ 1244523 h 1998551"/>
                  <a:gd name="connsiteX22" fmla="*/ 305620 w 1384306"/>
                  <a:gd name="connsiteY22" fmla="*/ 1203941 h 1998551"/>
                  <a:gd name="connsiteX23" fmla="*/ 333175 w 1384306"/>
                  <a:gd name="connsiteY23" fmla="*/ 1231497 h 1998551"/>
                  <a:gd name="connsiteX24" fmla="*/ 333175 w 1384306"/>
                  <a:gd name="connsiteY24" fmla="*/ 1990034 h 1998551"/>
                  <a:gd name="connsiteX25" fmla="*/ 486486 w 1384306"/>
                  <a:gd name="connsiteY25" fmla="*/ 1998552 h 1998551"/>
                  <a:gd name="connsiteX26" fmla="*/ 1384307 w 1384306"/>
                  <a:gd name="connsiteY26" fmla="*/ 1998552 h 1998551"/>
                  <a:gd name="connsiteX27" fmla="*/ 1384307 w 1384306"/>
                  <a:gd name="connsiteY27" fmla="*/ 1051131 h 199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84306" h="1998551">
                    <a:moveTo>
                      <a:pt x="1384307" y="1051131"/>
                    </a:moveTo>
                    <a:cubicBezTo>
                      <a:pt x="1384307" y="1050630"/>
                      <a:pt x="1384307" y="1049628"/>
                      <a:pt x="1384307" y="1049127"/>
                    </a:cubicBezTo>
                    <a:cubicBezTo>
                      <a:pt x="1384307" y="1048626"/>
                      <a:pt x="1384307" y="1047624"/>
                      <a:pt x="1384307" y="1047123"/>
                    </a:cubicBezTo>
                    <a:lnTo>
                      <a:pt x="1384307" y="0"/>
                    </a:lnTo>
                    <a:lnTo>
                      <a:pt x="979987" y="0"/>
                    </a:lnTo>
                    <a:cubicBezTo>
                      <a:pt x="981991" y="1503"/>
                      <a:pt x="983494" y="3507"/>
                      <a:pt x="985999" y="5010"/>
                    </a:cubicBezTo>
                    <a:cubicBezTo>
                      <a:pt x="1041111" y="43087"/>
                      <a:pt x="1073176" y="79661"/>
                      <a:pt x="1073176" y="152810"/>
                    </a:cubicBezTo>
                    <a:cubicBezTo>
                      <a:pt x="1073176" y="249005"/>
                      <a:pt x="988003" y="328666"/>
                      <a:pt x="879283" y="333677"/>
                    </a:cubicBezTo>
                    <a:cubicBezTo>
                      <a:pt x="877780" y="333677"/>
                      <a:pt x="875275" y="333677"/>
                      <a:pt x="872268" y="333677"/>
                    </a:cubicBezTo>
                    <a:cubicBezTo>
                      <a:pt x="868761" y="333677"/>
                      <a:pt x="865254" y="333677"/>
                      <a:pt x="863250" y="333677"/>
                    </a:cubicBezTo>
                    <a:cubicBezTo>
                      <a:pt x="755031" y="328165"/>
                      <a:pt x="670359" y="248504"/>
                      <a:pt x="670359" y="152810"/>
                    </a:cubicBezTo>
                    <a:cubicBezTo>
                      <a:pt x="670359" y="79661"/>
                      <a:pt x="702424" y="43087"/>
                      <a:pt x="757536" y="5010"/>
                    </a:cubicBezTo>
                    <a:cubicBezTo>
                      <a:pt x="759540" y="3507"/>
                      <a:pt x="761544" y="2004"/>
                      <a:pt x="763047" y="0"/>
                    </a:cubicBezTo>
                    <a:lnTo>
                      <a:pt x="333175" y="0"/>
                    </a:lnTo>
                    <a:lnTo>
                      <a:pt x="333175" y="1091212"/>
                    </a:lnTo>
                    <a:cubicBezTo>
                      <a:pt x="333175" y="1106243"/>
                      <a:pt x="320650" y="1118768"/>
                      <a:pt x="305620" y="1118768"/>
                    </a:cubicBezTo>
                    <a:cubicBezTo>
                      <a:pt x="274056" y="1118768"/>
                      <a:pt x="245498" y="1104239"/>
                      <a:pt x="227962" y="1078186"/>
                    </a:cubicBezTo>
                    <a:cubicBezTo>
                      <a:pt x="193392" y="1028585"/>
                      <a:pt x="171347" y="1015058"/>
                      <a:pt x="125755" y="1015058"/>
                    </a:cubicBezTo>
                    <a:cubicBezTo>
                      <a:pt x="59621" y="1015058"/>
                      <a:pt x="4509" y="1076683"/>
                      <a:pt x="0" y="1155843"/>
                    </a:cubicBezTo>
                    <a:cubicBezTo>
                      <a:pt x="0" y="1157847"/>
                      <a:pt x="0" y="1164361"/>
                      <a:pt x="0" y="1166365"/>
                    </a:cubicBezTo>
                    <a:cubicBezTo>
                      <a:pt x="3507" y="1245525"/>
                      <a:pt x="59120" y="1307651"/>
                      <a:pt x="125755" y="1307651"/>
                    </a:cubicBezTo>
                    <a:cubicBezTo>
                      <a:pt x="171848" y="1307651"/>
                      <a:pt x="193893" y="1294124"/>
                      <a:pt x="227962" y="1244523"/>
                    </a:cubicBezTo>
                    <a:cubicBezTo>
                      <a:pt x="245999" y="1218470"/>
                      <a:pt x="273555" y="1203941"/>
                      <a:pt x="305620" y="1203941"/>
                    </a:cubicBezTo>
                    <a:cubicBezTo>
                      <a:pt x="320650" y="1203941"/>
                      <a:pt x="333175" y="1216466"/>
                      <a:pt x="333175" y="1231497"/>
                    </a:cubicBezTo>
                    <a:lnTo>
                      <a:pt x="333175" y="1990034"/>
                    </a:lnTo>
                    <a:cubicBezTo>
                      <a:pt x="383778" y="1995546"/>
                      <a:pt x="434882" y="1998552"/>
                      <a:pt x="486486" y="1998552"/>
                    </a:cubicBezTo>
                    <a:cubicBezTo>
                      <a:pt x="670359" y="1998552"/>
                      <a:pt x="992512" y="1998552"/>
                      <a:pt x="1384307" y="1998552"/>
                    </a:cubicBezTo>
                    <a:lnTo>
                      <a:pt x="1384307" y="1051131"/>
                    </a:lnTo>
                    <a:close/>
                  </a:path>
                </a:pathLst>
              </a:custGeom>
              <a:solidFill>
                <a:schemeClr val="tx2">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48" name="Freeform: Shape 45">
                <a:extLst>
                  <a:ext uri="{FF2B5EF4-FFF2-40B4-BE49-F238E27FC236}">
                    <a16:creationId xmlns:a16="http://schemas.microsoft.com/office/drawing/2014/main" id="{1CB53E9D-88F2-43B3-9334-F0D3DD56229A}"/>
                  </a:ext>
                </a:extLst>
              </p:cNvPr>
              <p:cNvSpPr/>
              <p:nvPr/>
            </p:nvSpPr>
            <p:spPr>
              <a:xfrm>
                <a:off x="2901714" y="5479162"/>
                <a:ext cx="1934504" cy="829008"/>
              </a:xfrm>
              <a:custGeom>
                <a:avLst/>
                <a:gdLst>
                  <a:gd name="connsiteX0" fmla="*/ 2151362 w 2152363"/>
                  <a:gd name="connsiteY0" fmla="*/ 579675 h 922369"/>
                  <a:gd name="connsiteX1" fmla="*/ 2151362 w 2152363"/>
                  <a:gd name="connsiteY1" fmla="*/ 580176 h 922369"/>
                  <a:gd name="connsiteX2" fmla="*/ 2146352 w 2152363"/>
                  <a:gd name="connsiteY2" fmla="*/ 586188 h 922369"/>
                  <a:gd name="connsiteX3" fmla="*/ 1998552 w 2152363"/>
                  <a:gd name="connsiteY3" fmla="*/ 673365 h 922369"/>
                  <a:gd name="connsiteX4" fmla="*/ 1998051 w 2152363"/>
                  <a:gd name="connsiteY4" fmla="*/ 673365 h 922369"/>
                  <a:gd name="connsiteX5" fmla="*/ 1997550 w 2152363"/>
                  <a:gd name="connsiteY5" fmla="*/ 673365 h 922369"/>
                  <a:gd name="connsiteX6" fmla="*/ 1816683 w 2152363"/>
                  <a:gd name="connsiteY6" fmla="*/ 479472 h 922369"/>
                  <a:gd name="connsiteX7" fmla="*/ 1816683 w 2152363"/>
                  <a:gd name="connsiteY7" fmla="*/ 463440 h 922369"/>
                  <a:gd name="connsiteX8" fmla="*/ 1988532 w 2152363"/>
                  <a:gd name="connsiteY8" fmla="*/ 271049 h 922369"/>
                  <a:gd name="connsiteX9" fmla="*/ 1997550 w 2152363"/>
                  <a:gd name="connsiteY9" fmla="*/ 270549 h 922369"/>
                  <a:gd name="connsiteX10" fmla="*/ 2145350 w 2152363"/>
                  <a:gd name="connsiteY10" fmla="*/ 357725 h 922369"/>
                  <a:gd name="connsiteX11" fmla="*/ 2149358 w 2152363"/>
                  <a:gd name="connsiteY11" fmla="*/ 362735 h 922369"/>
                  <a:gd name="connsiteX12" fmla="*/ 2148356 w 2152363"/>
                  <a:gd name="connsiteY12" fmla="*/ 0 h 922369"/>
                  <a:gd name="connsiteX13" fmla="*/ 1715979 w 2152363"/>
                  <a:gd name="connsiteY13" fmla="*/ 0 h 922369"/>
                  <a:gd name="connsiteX14" fmla="*/ 1721991 w 2152363"/>
                  <a:gd name="connsiteY14" fmla="*/ 5010 h 922369"/>
                  <a:gd name="connsiteX15" fmla="*/ 1809168 w 2152363"/>
                  <a:gd name="connsiteY15" fmla="*/ 152810 h 922369"/>
                  <a:gd name="connsiteX16" fmla="*/ 1615275 w 2152363"/>
                  <a:gd name="connsiteY16" fmla="*/ 333676 h 922369"/>
                  <a:gd name="connsiteX17" fmla="*/ 1608261 w 2152363"/>
                  <a:gd name="connsiteY17" fmla="*/ 333676 h 922369"/>
                  <a:gd name="connsiteX18" fmla="*/ 1598741 w 2152363"/>
                  <a:gd name="connsiteY18" fmla="*/ 333676 h 922369"/>
                  <a:gd name="connsiteX19" fmla="*/ 1406351 w 2152363"/>
                  <a:gd name="connsiteY19" fmla="*/ 152810 h 922369"/>
                  <a:gd name="connsiteX20" fmla="*/ 1493528 w 2152363"/>
                  <a:gd name="connsiteY20" fmla="*/ 5010 h 922369"/>
                  <a:gd name="connsiteX21" fmla="*/ 1499039 w 2152363"/>
                  <a:gd name="connsiteY21" fmla="*/ 0 h 922369"/>
                  <a:gd name="connsiteX22" fmla="*/ 0 w 2152363"/>
                  <a:gd name="connsiteY22" fmla="*/ 0 h 922369"/>
                  <a:gd name="connsiteX23" fmla="*/ 0 w 2152363"/>
                  <a:gd name="connsiteY23" fmla="*/ 922370 h 922369"/>
                  <a:gd name="connsiteX24" fmla="*/ 2152364 w 2152363"/>
                  <a:gd name="connsiteY24" fmla="*/ 922370 h 922369"/>
                  <a:gd name="connsiteX25" fmla="*/ 2152364 w 2152363"/>
                  <a:gd name="connsiteY25" fmla="*/ 579174 h 922369"/>
                  <a:gd name="connsiteX26" fmla="*/ 2151362 w 2152363"/>
                  <a:gd name="connsiteY26" fmla="*/ 579675 h 92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52363" h="922369">
                    <a:moveTo>
                      <a:pt x="2151362" y="579675"/>
                    </a:moveTo>
                    <a:lnTo>
                      <a:pt x="2151362" y="580176"/>
                    </a:lnTo>
                    <a:cubicBezTo>
                      <a:pt x="2149859" y="581679"/>
                      <a:pt x="2147855" y="583683"/>
                      <a:pt x="2146352" y="586188"/>
                    </a:cubicBezTo>
                    <a:cubicBezTo>
                      <a:pt x="2108275" y="641300"/>
                      <a:pt x="2071700" y="673365"/>
                      <a:pt x="1998552" y="673365"/>
                    </a:cubicBezTo>
                    <a:cubicBezTo>
                      <a:pt x="1998552" y="673365"/>
                      <a:pt x="1998552" y="673365"/>
                      <a:pt x="1998051" y="673365"/>
                    </a:cubicBezTo>
                    <a:cubicBezTo>
                      <a:pt x="1998051" y="673365"/>
                      <a:pt x="1998051" y="673365"/>
                      <a:pt x="1997550" y="673365"/>
                    </a:cubicBezTo>
                    <a:cubicBezTo>
                      <a:pt x="1901355" y="673365"/>
                      <a:pt x="1821693" y="588192"/>
                      <a:pt x="1816683" y="479472"/>
                    </a:cubicBezTo>
                    <a:cubicBezTo>
                      <a:pt x="1816683" y="476466"/>
                      <a:pt x="1816683" y="466946"/>
                      <a:pt x="1816683" y="463440"/>
                    </a:cubicBezTo>
                    <a:cubicBezTo>
                      <a:pt x="1822194" y="358727"/>
                      <a:pt x="1896846" y="276060"/>
                      <a:pt x="1988532" y="271049"/>
                    </a:cubicBezTo>
                    <a:cubicBezTo>
                      <a:pt x="1991538" y="271049"/>
                      <a:pt x="1994544" y="270549"/>
                      <a:pt x="1997550" y="270549"/>
                    </a:cubicBezTo>
                    <a:cubicBezTo>
                      <a:pt x="2070698" y="270549"/>
                      <a:pt x="2107272" y="302613"/>
                      <a:pt x="2145350" y="357725"/>
                    </a:cubicBezTo>
                    <a:cubicBezTo>
                      <a:pt x="2146853" y="359729"/>
                      <a:pt x="2147855" y="361232"/>
                      <a:pt x="2149358" y="362735"/>
                    </a:cubicBezTo>
                    <a:lnTo>
                      <a:pt x="2148356" y="0"/>
                    </a:lnTo>
                    <a:lnTo>
                      <a:pt x="1715979" y="0"/>
                    </a:lnTo>
                    <a:cubicBezTo>
                      <a:pt x="1717482" y="1503"/>
                      <a:pt x="1719486" y="3507"/>
                      <a:pt x="1721991" y="5010"/>
                    </a:cubicBezTo>
                    <a:cubicBezTo>
                      <a:pt x="1777103" y="43087"/>
                      <a:pt x="1809168" y="79661"/>
                      <a:pt x="1809168" y="152810"/>
                    </a:cubicBezTo>
                    <a:cubicBezTo>
                      <a:pt x="1809168" y="249005"/>
                      <a:pt x="1723995" y="328666"/>
                      <a:pt x="1615275" y="333676"/>
                    </a:cubicBezTo>
                    <a:cubicBezTo>
                      <a:pt x="1614273" y="333676"/>
                      <a:pt x="1611267" y="333676"/>
                      <a:pt x="1608261" y="333676"/>
                    </a:cubicBezTo>
                    <a:cubicBezTo>
                      <a:pt x="1604754" y="333676"/>
                      <a:pt x="1600746" y="333676"/>
                      <a:pt x="1598741" y="333676"/>
                    </a:cubicBezTo>
                    <a:cubicBezTo>
                      <a:pt x="1491023" y="328165"/>
                      <a:pt x="1406351" y="248504"/>
                      <a:pt x="1406351" y="152810"/>
                    </a:cubicBezTo>
                    <a:cubicBezTo>
                      <a:pt x="1406351" y="79661"/>
                      <a:pt x="1438416" y="43087"/>
                      <a:pt x="1493528" y="5010"/>
                    </a:cubicBezTo>
                    <a:cubicBezTo>
                      <a:pt x="1495532" y="3507"/>
                      <a:pt x="1497536" y="2004"/>
                      <a:pt x="1499039" y="0"/>
                    </a:cubicBezTo>
                    <a:lnTo>
                      <a:pt x="0" y="0"/>
                    </a:lnTo>
                    <a:lnTo>
                      <a:pt x="0" y="922370"/>
                    </a:lnTo>
                    <a:cubicBezTo>
                      <a:pt x="638795" y="922370"/>
                      <a:pt x="1448938" y="922370"/>
                      <a:pt x="2152364" y="922370"/>
                    </a:cubicBezTo>
                    <a:lnTo>
                      <a:pt x="2152364" y="579174"/>
                    </a:lnTo>
                    <a:cubicBezTo>
                      <a:pt x="2151863" y="579675"/>
                      <a:pt x="2151362" y="579675"/>
                      <a:pt x="2151362" y="579675"/>
                    </a:cubicBezTo>
                    <a:close/>
                  </a:path>
                </a:pathLst>
              </a:custGeom>
              <a:solidFill>
                <a:schemeClr val="tx2">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43" name="Freeform: Shape 22">
                <a:extLst>
                  <a:ext uri="{FF2B5EF4-FFF2-40B4-BE49-F238E27FC236}">
                    <a16:creationId xmlns:a16="http://schemas.microsoft.com/office/drawing/2014/main" id="{62E42B39-0529-4EC5-B893-9A5277135182}"/>
                  </a:ext>
                </a:extLst>
              </p:cNvPr>
              <p:cNvSpPr/>
              <p:nvPr/>
            </p:nvSpPr>
            <p:spPr>
              <a:xfrm>
                <a:off x="4587652" y="5478261"/>
                <a:ext cx="2614013" cy="829008"/>
              </a:xfrm>
              <a:custGeom>
                <a:avLst/>
                <a:gdLst>
                  <a:gd name="connsiteX0" fmla="*/ 331673 w 2908396"/>
                  <a:gd name="connsiteY0" fmla="*/ 501 h 922369"/>
                  <a:gd name="connsiteX1" fmla="*/ 332675 w 2908396"/>
                  <a:gd name="connsiteY1" fmla="*/ 402316 h 922369"/>
                  <a:gd name="connsiteX2" fmla="*/ 324658 w 2908396"/>
                  <a:gd name="connsiteY2" fmla="*/ 421855 h 922369"/>
                  <a:gd name="connsiteX3" fmla="*/ 305119 w 2908396"/>
                  <a:gd name="connsiteY3" fmla="*/ 429871 h 922369"/>
                  <a:gd name="connsiteX4" fmla="*/ 227461 w 2908396"/>
                  <a:gd name="connsiteY4" fmla="*/ 389289 h 922369"/>
                  <a:gd name="connsiteX5" fmla="*/ 125254 w 2908396"/>
                  <a:gd name="connsiteY5" fmla="*/ 326161 h 922369"/>
                  <a:gd name="connsiteX6" fmla="*/ 125254 w 2908396"/>
                  <a:gd name="connsiteY6" fmla="*/ 326161 h 922369"/>
                  <a:gd name="connsiteX7" fmla="*/ 0 w 2908396"/>
                  <a:gd name="connsiteY7" fmla="*/ 466947 h 922369"/>
                  <a:gd name="connsiteX8" fmla="*/ 0 w 2908396"/>
                  <a:gd name="connsiteY8" fmla="*/ 477468 h 922369"/>
                  <a:gd name="connsiteX9" fmla="*/ 125755 w 2908396"/>
                  <a:gd name="connsiteY9" fmla="*/ 618754 h 922369"/>
                  <a:gd name="connsiteX10" fmla="*/ 227962 w 2908396"/>
                  <a:gd name="connsiteY10" fmla="*/ 555626 h 922369"/>
                  <a:gd name="connsiteX11" fmla="*/ 305620 w 2908396"/>
                  <a:gd name="connsiteY11" fmla="*/ 515044 h 922369"/>
                  <a:gd name="connsiteX12" fmla="*/ 315640 w 2908396"/>
                  <a:gd name="connsiteY12" fmla="*/ 517048 h 922369"/>
                  <a:gd name="connsiteX13" fmla="*/ 316642 w 2908396"/>
                  <a:gd name="connsiteY13" fmla="*/ 517549 h 922369"/>
                  <a:gd name="connsiteX14" fmla="*/ 334178 w 2908396"/>
                  <a:gd name="connsiteY14" fmla="*/ 543101 h 922369"/>
                  <a:gd name="connsiteX15" fmla="*/ 334178 w 2908396"/>
                  <a:gd name="connsiteY15" fmla="*/ 922370 h 922369"/>
                  <a:gd name="connsiteX16" fmla="*/ 1743535 w 2908396"/>
                  <a:gd name="connsiteY16" fmla="*/ 922370 h 922369"/>
                  <a:gd name="connsiteX17" fmla="*/ 2908397 w 2908396"/>
                  <a:gd name="connsiteY17" fmla="*/ 0 h 922369"/>
                  <a:gd name="connsiteX18" fmla="*/ 331673 w 2908396"/>
                  <a:gd name="connsiteY18" fmla="*/ 0 h 92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08396" h="922369">
                    <a:moveTo>
                      <a:pt x="331673" y="501"/>
                    </a:moveTo>
                    <a:lnTo>
                      <a:pt x="332675" y="402316"/>
                    </a:lnTo>
                    <a:cubicBezTo>
                      <a:pt x="332675" y="409831"/>
                      <a:pt x="329668" y="416845"/>
                      <a:pt x="324658" y="421855"/>
                    </a:cubicBezTo>
                    <a:cubicBezTo>
                      <a:pt x="319648" y="426865"/>
                      <a:pt x="312634" y="429871"/>
                      <a:pt x="305119" y="429871"/>
                    </a:cubicBezTo>
                    <a:cubicBezTo>
                      <a:pt x="273555" y="429871"/>
                      <a:pt x="244997" y="415342"/>
                      <a:pt x="227461" y="389289"/>
                    </a:cubicBezTo>
                    <a:cubicBezTo>
                      <a:pt x="192891" y="339689"/>
                      <a:pt x="171347" y="326161"/>
                      <a:pt x="125254" y="326161"/>
                    </a:cubicBezTo>
                    <a:cubicBezTo>
                      <a:pt x="125254" y="326161"/>
                      <a:pt x="125254" y="326161"/>
                      <a:pt x="125254" y="326161"/>
                    </a:cubicBezTo>
                    <a:cubicBezTo>
                      <a:pt x="59120" y="326161"/>
                      <a:pt x="4008" y="387786"/>
                      <a:pt x="0" y="466947"/>
                    </a:cubicBezTo>
                    <a:cubicBezTo>
                      <a:pt x="0" y="469452"/>
                      <a:pt x="0" y="475965"/>
                      <a:pt x="0" y="477468"/>
                    </a:cubicBezTo>
                    <a:cubicBezTo>
                      <a:pt x="3507" y="556628"/>
                      <a:pt x="59120" y="618754"/>
                      <a:pt x="125755" y="618754"/>
                    </a:cubicBezTo>
                    <a:cubicBezTo>
                      <a:pt x="171848" y="618754"/>
                      <a:pt x="193893" y="605227"/>
                      <a:pt x="227962" y="555626"/>
                    </a:cubicBezTo>
                    <a:cubicBezTo>
                      <a:pt x="245999" y="529574"/>
                      <a:pt x="273555" y="515044"/>
                      <a:pt x="305620" y="515044"/>
                    </a:cubicBezTo>
                    <a:cubicBezTo>
                      <a:pt x="309127" y="515044"/>
                      <a:pt x="312634" y="515545"/>
                      <a:pt x="315640" y="517048"/>
                    </a:cubicBezTo>
                    <a:lnTo>
                      <a:pt x="316642" y="517549"/>
                    </a:lnTo>
                    <a:cubicBezTo>
                      <a:pt x="327163" y="521557"/>
                      <a:pt x="334178" y="532079"/>
                      <a:pt x="334178" y="543101"/>
                    </a:cubicBezTo>
                    <a:lnTo>
                      <a:pt x="334178" y="922370"/>
                    </a:lnTo>
                    <a:cubicBezTo>
                      <a:pt x="462939" y="922370"/>
                      <a:pt x="1669886" y="922370"/>
                      <a:pt x="1743535" y="922370"/>
                    </a:cubicBezTo>
                    <a:cubicBezTo>
                      <a:pt x="2310184" y="922370"/>
                      <a:pt x="2784646" y="528572"/>
                      <a:pt x="2908397" y="0"/>
                    </a:cubicBezTo>
                    <a:lnTo>
                      <a:pt x="331673" y="0"/>
                    </a:lnTo>
                    <a:close/>
                  </a:path>
                </a:pathLst>
              </a:custGeom>
              <a:solidFill>
                <a:schemeClr val="tx2">
                  <a:lumMod val="50000"/>
                </a:schemeClr>
              </a:solidFill>
              <a:ln w="19050" cap="flat">
                <a:no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sp>
            <p:nvSpPr>
              <p:cNvPr id="41" name="Freeform: Shape 36">
                <a:extLst>
                  <a:ext uri="{FF2B5EF4-FFF2-40B4-BE49-F238E27FC236}">
                    <a16:creationId xmlns:a16="http://schemas.microsoft.com/office/drawing/2014/main" id="{5CC3BA71-CCBA-46C2-9122-E5D80629BBF9}"/>
                  </a:ext>
                </a:extLst>
              </p:cNvPr>
              <p:cNvSpPr/>
              <p:nvPr/>
            </p:nvSpPr>
            <p:spPr>
              <a:xfrm>
                <a:off x="953251" y="2901173"/>
                <a:ext cx="1898030" cy="1859754"/>
              </a:xfrm>
              <a:custGeom>
                <a:avLst/>
                <a:gdLst>
                  <a:gd name="connsiteX0" fmla="*/ 0 w 2111781"/>
                  <a:gd name="connsiteY0" fmla="*/ 1736019 h 2069194"/>
                  <a:gd name="connsiteX1" fmla="*/ 1528599 w 2111781"/>
                  <a:gd name="connsiteY1" fmla="*/ 1736019 h 2069194"/>
                  <a:gd name="connsiteX2" fmla="*/ 1556155 w 2111781"/>
                  <a:gd name="connsiteY2" fmla="*/ 1763575 h 2069194"/>
                  <a:gd name="connsiteX3" fmla="*/ 1515573 w 2111781"/>
                  <a:gd name="connsiteY3" fmla="*/ 1841233 h 2069194"/>
                  <a:gd name="connsiteX4" fmla="*/ 1452445 w 2111781"/>
                  <a:gd name="connsiteY4" fmla="*/ 1943440 h 2069194"/>
                  <a:gd name="connsiteX5" fmla="*/ 1593230 w 2111781"/>
                  <a:gd name="connsiteY5" fmla="*/ 2069195 h 2069194"/>
                  <a:gd name="connsiteX6" fmla="*/ 1603751 w 2111781"/>
                  <a:gd name="connsiteY6" fmla="*/ 2069195 h 2069194"/>
                  <a:gd name="connsiteX7" fmla="*/ 1745038 w 2111781"/>
                  <a:gd name="connsiteY7" fmla="*/ 1943440 h 2069194"/>
                  <a:gd name="connsiteX8" fmla="*/ 1681910 w 2111781"/>
                  <a:gd name="connsiteY8" fmla="*/ 1841233 h 2069194"/>
                  <a:gd name="connsiteX9" fmla="*/ 1641328 w 2111781"/>
                  <a:gd name="connsiteY9" fmla="*/ 1763575 h 2069194"/>
                  <a:gd name="connsiteX10" fmla="*/ 1668883 w 2111781"/>
                  <a:gd name="connsiteY10" fmla="*/ 1736019 h 2069194"/>
                  <a:gd name="connsiteX11" fmla="*/ 2111782 w 2111781"/>
                  <a:gd name="connsiteY11" fmla="*/ 1736019 h 2069194"/>
                  <a:gd name="connsiteX12" fmla="*/ 2111782 w 2111781"/>
                  <a:gd name="connsiteY12" fmla="*/ 1347732 h 2069194"/>
                  <a:gd name="connsiteX13" fmla="*/ 2106771 w 2111781"/>
                  <a:gd name="connsiteY13" fmla="*/ 1353745 h 2069194"/>
                  <a:gd name="connsiteX14" fmla="*/ 1958972 w 2111781"/>
                  <a:gd name="connsiteY14" fmla="*/ 1440921 h 2069194"/>
                  <a:gd name="connsiteX15" fmla="*/ 1778105 w 2111781"/>
                  <a:gd name="connsiteY15" fmla="*/ 1247028 h 2069194"/>
                  <a:gd name="connsiteX16" fmla="*/ 1778105 w 2111781"/>
                  <a:gd name="connsiteY16" fmla="*/ 1230996 h 2069194"/>
                  <a:gd name="connsiteX17" fmla="*/ 1958972 w 2111781"/>
                  <a:gd name="connsiteY17" fmla="*/ 1038606 h 2069194"/>
                  <a:gd name="connsiteX18" fmla="*/ 2106771 w 2111781"/>
                  <a:gd name="connsiteY18" fmla="*/ 1125782 h 2069194"/>
                  <a:gd name="connsiteX19" fmla="*/ 2111782 w 2111781"/>
                  <a:gd name="connsiteY19" fmla="*/ 1131294 h 2069194"/>
                  <a:gd name="connsiteX20" fmla="*/ 2111782 w 2111781"/>
                  <a:gd name="connsiteY20" fmla="*/ 30061 h 2069194"/>
                  <a:gd name="connsiteX21" fmla="*/ 1900854 w 2111781"/>
                  <a:gd name="connsiteY21" fmla="*/ 0 h 2069194"/>
                  <a:gd name="connsiteX22" fmla="*/ 1154841 w 2111781"/>
                  <a:gd name="connsiteY22" fmla="*/ 746012 h 2069194"/>
                  <a:gd name="connsiteX23" fmla="*/ 1205945 w 2111781"/>
                  <a:gd name="connsiteY23" fmla="*/ 1018565 h 2069194"/>
                  <a:gd name="connsiteX24" fmla="*/ 0 w 2111781"/>
                  <a:gd name="connsiteY24" fmla="*/ 1736019 h 206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11781" h="2069194">
                    <a:moveTo>
                      <a:pt x="0" y="1736019"/>
                    </a:moveTo>
                    <a:lnTo>
                      <a:pt x="1528599" y="1736019"/>
                    </a:lnTo>
                    <a:cubicBezTo>
                      <a:pt x="1543630" y="1736019"/>
                      <a:pt x="1556155" y="1748545"/>
                      <a:pt x="1556155" y="1763575"/>
                    </a:cubicBezTo>
                    <a:cubicBezTo>
                      <a:pt x="1556155" y="1795139"/>
                      <a:pt x="1541626" y="1823697"/>
                      <a:pt x="1515573" y="1841233"/>
                    </a:cubicBezTo>
                    <a:cubicBezTo>
                      <a:pt x="1465972" y="1875803"/>
                      <a:pt x="1452445" y="1897347"/>
                      <a:pt x="1452445" y="1943440"/>
                    </a:cubicBezTo>
                    <a:cubicBezTo>
                      <a:pt x="1452445" y="2009574"/>
                      <a:pt x="1514070" y="2064686"/>
                      <a:pt x="1593230" y="2069195"/>
                    </a:cubicBezTo>
                    <a:cubicBezTo>
                      <a:pt x="1595234" y="2069195"/>
                      <a:pt x="1601747" y="2069195"/>
                      <a:pt x="1603751" y="2069195"/>
                    </a:cubicBezTo>
                    <a:cubicBezTo>
                      <a:pt x="1682912" y="2065688"/>
                      <a:pt x="1745038" y="2010075"/>
                      <a:pt x="1745038" y="1943440"/>
                    </a:cubicBezTo>
                    <a:cubicBezTo>
                      <a:pt x="1745038" y="1897347"/>
                      <a:pt x="1731510" y="1875302"/>
                      <a:pt x="1681910" y="1841233"/>
                    </a:cubicBezTo>
                    <a:cubicBezTo>
                      <a:pt x="1655857" y="1823196"/>
                      <a:pt x="1641328" y="1795640"/>
                      <a:pt x="1641328" y="1763575"/>
                    </a:cubicBezTo>
                    <a:cubicBezTo>
                      <a:pt x="1641328" y="1748545"/>
                      <a:pt x="1653853" y="1736019"/>
                      <a:pt x="1668883" y="1736019"/>
                    </a:cubicBezTo>
                    <a:lnTo>
                      <a:pt x="2111782" y="1736019"/>
                    </a:lnTo>
                    <a:lnTo>
                      <a:pt x="2111782" y="1347732"/>
                    </a:lnTo>
                    <a:cubicBezTo>
                      <a:pt x="2110278" y="1349235"/>
                      <a:pt x="2108274" y="1351239"/>
                      <a:pt x="2106771" y="1353745"/>
                    </a:cubicBezTo>
                    <a:cubicBezTo>
                      <a:pt x="2068694" y="1408856"/>
                      <a:pt x="2032120" y="1440921"/>
                      <a:pt x="1958972" y="1440921"/>
                    </a:cubicBezTo>
                    <a:cubicBezTo>
                      <a:pt x="1862777" y="1440921"/>
                      <a:pt x="1783115" y="1355749"/>
                      <a:pt x="1778105" y="1247028"/>
                    </a:cubicBezTo>
                    <a:cubicBezTo>
                      <a:pt x="1778105" y="1244022"/>
                      <a:pt x="1778105" y="1234503"/>
                      <a:pt x="1778105" y="1230996"/>
                    </a:cubicBezTo>
                    <a:cubicBezTo>
                      <a:pt x="1783616" y="1123277"/>
                      <a:pt x="1863278" y="1038606"/>
                      <a:pt x="1958972" y="1038606"/>
                    </a:cubicBezTo>
                    <a:cubicBezTo>
                      <a:pt x="2032120" y="1038606"/>
                      <a:pt x="2068694" y="1070671"/>
                      <a:pt x="2106771" y="1125782"/>
                    </a:cubicBezTo>
                    <a:cubicBezTo>
                      <a:pt x="2108274" y="1127786"/>
                      <a:pt x="2109777" y="1129790"/>
                      <a:pt x="2111782" y="1131294"/>
                    </a:cubicBezTo>
                    <a:lnTo>
                      <a:pt x="2111782" y="30061"/>
                    </a:lnTo>
                    <a:cubicBezTo>
                      <a:pt x="2045146" y="10521"/>
                      <a:pt x="1974002" y="0"/>
                      <a:pt x="1900854" y="0"/>
                    </a:cubicBezTo>
                    <a:cubicBezTo>
                      <a:pt x="1488518" y="0"/>
                      <a:pt x="1154841" y="334178"/>
                      <a:pt x="1154841" y="746012"/>
                    </a:cubicBezTo>
                    <a:cubicBezTo>
                      <a:pt x="1154841" y="842207"/>
                      <a:pt x="1172878" y="933893"/>
                      <a:pt x="1205945" y="1018565"/>
                    </a:cubicBezTo>
                    <a:cubicBezTo>
                      <a:pt x="686893" y="1021070"/>
                      <a:pt x="234976" y="1310156"/>
                      <a:pt x="0" y="1736019"/>
                    </a:cubicBezTo>
                    <a:close/>
                  </a:path>
                </a:pathLst>
              </a:custGeom>
              <a:solidFill>
                <a:schemeClr val="bg2">
                  <a:lumMod val="75000"/>
                </a:schemeClr>
              </a:solidFill>
              <a:ln w="19050" cap="flat">
                <a:solidFill>
                  <a:schemeClr val="tx2"/>
                </a:solidFill>
                <a:prstDash val="solid"/>
                <a:miter/>
              </a:ln>
            </p:spPr>
            <p:txBody>
              <a:bodyPr rtlCol="0" anchor="ctr"/>
              <a:lstStyle/>
              <a:p>
                <a:pPr fontAlgn="base">
                  <a:spcBef>
                    <a:spcPct val="20000"/>
                  </a:spcBef>
                  <a:spcAft>
                    <a:spcPct val="0"/>
                  </a:spcAft>
                  <a:buClr>
                    <a:srgbClr val="FF0000"/>
                  </a:buClr>
                  <a:buSzPct val="65000"/>
                  <a:buFont typeface="Wingdings" pitchFamily="2" charset="2"/>
                  <a:buNone/>
                  <a:defRPr/>
                </a:pPr>
                <a:endParaRPr lang="en-US" sz="2800" kern="1200" dirty="0">
                  <a:solidFill>
                    <a:schemeClr val="bg2"/>
                  </a:solidFill>
                  <a:latin typeface="Segoe UI" panose="020B0502040204020203" pitchFamily="34" charset="0"/>
                  <a:ea typeface="+mn-ea"/>
                  <a:cs typeface="Segoe UI" panose="020B0502040204020203" pitchFamily="34" charset="0"/>
                </a:endParaRPr>
              </a:p>
            </p:txBody>
          </p:sp>
        </p:grpSp>
        <p:sp>
          <p:nvSpPr>
            <p:cNvPr id="8" name="TextBox 7">
              <a:extLst>
                <a:ext uri="{FF2B5EF4-FFF2-40B4-BE49-F238E27FC236}">
                  <a16:creationId xmlns:a16="http://schemas.microsoft.com/office/drawing/2014/main" id="{43CF615F-A55C-4806-83AB-E3562BF54796}"/>
                </a:ext>
              </a:extLst>
            </p:cNvPr>
            <p:cNvSpPr txBox="1"/>
            <p:nvPr/>
          </p:nvSpPr>
          <p:spPr bwMode="auto">
            <a:xfrm>
              <a:off x="842722" y="1504360"/>
              <a:ext cx="1024319" cy="338554"/>
            </a:xfrm>
            <a:prstGeom prst="rect">
              <a:avLst/>
            </a:prstGeom>
            <a:noFill/>
            <a:ln>
              <a:noFill/>
            </a:ln>
            <a:effectLst/>
          </p:spPr>
          <p:txBody>
            <a:bodyPr vert="horz" wrap="non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r>
                <a:rPr lang="en-US" sz="1600" kern="1200" dirty="0">
                  <a:solidFill>
                    <a:schemeClr val="bg2"/>
                  </a:solidFill>
                  <a:latin typeface="+mj-lt"/>
                  <a:ea typeface="+mn-ea"/>
                  <a:cs typeface="Segoe UI" panose="020B0502040204020203" pitchFamily="34" charset="0"/>
                </a:rPr>
                <a:t>Corporate</a:t>
              </a:r>
            </a:p>
          </p:txBody>
        </p:sp>
        <p:sp>
          <p:nvSpPr>
            <p:cNvPr id="68" name="TextBox 67">
              <a:extLst>
                <a:ext uri="{FF2B5EF4-FFF2-40B4-BE49-F238E27FC236}">
                  <a16:creationId xmlns:a16="http://schemas.microsoft.com/office/drawing/2014/main" id="{D96ED74E-239A-4256-B10B-BD0A306B021E}"/>
                </a:ext>
              </a:extLst>
            </p:cNvPr>
            <p:cNvSpPr txBox="1"/>
            <p:nvPr/>
          </p:nvSpPr>
          <p:spPr bwMode="auto">
            <a:xfrm>
              <a:off x="2387906" y="1504360"/>
              <a:ext cx="639919" cy="338554"/>
            </a:xfrm>
            <a:prstGeom prst="rect">
              <a:avLst/>
            </a:prstGeom>
            <a:noFill/>
            <a:ln>
              <a:noFill/>
            </a:ln>
            <a:effectLst/>
          </p:spPr>
          <p:txBody>
            <a:bodyPr vert="horz" wrap="non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r>
                <a:rPr lang="en-US" sz="1600" kern="1200" dirty="0">
                  <a:solidFill>
                    <a:schemeClr val="bg2"/>
                  </a:solidFill>
                  <a:latin typeface="+mj-lt"/>
                  <a:ea typeface="+mn-ea"/>
                  <a:cs typeface="Segoe UI" panose="020B0502040204020203" pitchFamily="34" charset="0"/>
                </a:rPr>
                <a:t>Email</a:t>
              </a:r>
            </a:p>
          </p:txBody>
        </p:sp>
        <p:sp>
          <p:nvSpPr>
            <p:cNvPr id="69" name="TextBox 68">
              <a:extLst>
                <a:ext uri="{FF2B5EF4-FFF2-40B4-BE49-F238E27FC236}">
                  <a16:creationId xmlns:a16="http://schemas.microsoft.com/office/drawing/2014/main" id="{FEECEADE-A766-482A-8727-850A65364E4D}"/>
                </a:ext>
              </a:extLst>
            </p:cNvPr>
            <p:cNvSpPr txBox="1"/>
            <p:nvPr/>
          </p:nvSpPr>
          <p:spPr bwMode="auto">
            <a:xfrm>
              <a:off x="3773400" y="1504360"/>
              <a:ext cx="526106" cy="338554"/>
            </a:xfrm>
            <a:prstGeom prst="rect">
              <a:avLst/>
            </a:prstGeom>
            <a:noFill/>
            <a:ln>
              <a:noFill/>
            </a:ln>
            <a:effectLst/>
          </p:spPr>
          <p:txBody>
            <a:bodyPr vert="horz" wrap="non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r>
                <a:rPr lang="en-US" sz="1600" kern="1200" dirty="0">
                  <a:solidFill>
                    <a:schemeClr val="bg2"/>
                  </a:solidFill>
                  <a:latin typeface="+mj-lt"/>
                  <a:ea typeface="+mn-ea"/>
                  <a:cs typeface="Segoe UI" panose="020B0502040204020203" pitchFamily="34" charset="0"/>
                </a:rPr>
                <a:t>IaaS</a:t>
              </a:r>
            </a:p>
          </p:txBody>
        </p:sp>
        <p:sp>
          <p:nvSpPr>
            <p:cNvPr id="70" name="TextBox 69">
              <a:extLst>
                <a:ext uri="{FF2B5EF4-FFF2-40B4-BE49-F238E27FC236}">
                  <a16:creationId xmlns:a16="http://schemas.microsoft.com/office/drawing/2014/main" id="{08C474FB-2F2A-4005-8012-4150083299E7}"/>
                </a:ext>
              </a:extLst>
            </p:cNvPr>
            <p:cNvSpPr txBox="1"/>
            <p:nvPr/>
          </p:nvSpPr>
          <p:spPr bwMode="auto">
            <a:xfrm>
              <a:off x="4895312" y="1504360"/>
              <a:ext cx="569387" cy="338554"/>
            </a:xfrm>
            <a:prstGeom prst="rect">
              <a:avLst/>
            </a:prstGeom>
            <a:noFill/>
            <a:ln>
              <a:noFill/>
            </a:ln>
            <a:effectLst/>
          </p:spPr>
          <p:txBody>
            <a:bodyPr vert="horz" wrap="non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r>
                <a:rPr lang="en-US" sz="1600" kern="1200" dirty="0">
                  <a:solidFill>
                    <a:schemeClr val="bg2"/>
                  </a:solidFill>
                  <a:latin typeface="+mj-lt"/>
                  <a:ea typeface="+mn-ea"/>
                  <a:cs typeface="Segoe UI" panose="020B0502040204020203" pitchFamily="34" charset="0"/>
                </a:rPr>
                <a:t>SaaS</a:t>
              </a:r>
            </a:p>
          </p:txBody>
        </p:sp>
        <p:sp>
          <p:nvSpPr>
            <p:cNvPr id="71" name="TextBox 70">
              <a:extLst>
                <a:ext uri="{FF2B5EF4-FFF2-40B4-BE49-F238E27FC236}">
                  <a16:creationId xmlns:a16="http://schemas.microsoft.com/office/drawing/2014/main" id="{DC47574A-5CCE-4BEC-ACDB-041AF1BB950D}"/>
                </a:ext>
              </a:extLst>
            </p:cNvPr>
            <p:cNvSpPr txBox="1"/>
            <p:nvPr/>
          </p:nvSpPr>
          <p:spPr bwMode="auto">
            <a:xfrm>
              <a:off x="6066918" y="1504360"/>
              <a:ext cx="892809" cy="338554"/>
            </a:xfrm>
            <a:prstGeom prst="rect">
              <a:avLst/>
            </a:prstGeom>
            <a:noFill/>
            <a:ln>
              <a:noFill/>
            </a:ln>
            <a:effectLst/>
          </p:spPr>
          <p:txBody>
            <a:bodyPr vert="horz" wrap="non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r>
                <a:rPr lang="en-US" sz="1600" kern="1200" dirty="0">
                  <a:solidFill>
                    <a:schemeClr val="bg2"/>
                  </a:solidFill>
                  <a:latin typeface="+mj-lt"/>
                  <a:ea typeface="+mn-ea"/>
                  <a:cs typeface="Segoe UI" panose="020B0502040204020203" pitchFamily="34" charset="0"/>
                </a:rPr>
                <a:t>Internet</a:t>
              </a:r>
            </a:p>
          </p:txBody>
        </p:sp>
      </p:grpSp>
      <p:sp>
        <p:nvSpPr>
          <p:cNvPr id="2" name="Footer Placeholder 1" hidden="1"/>
          <p:cNvSpPr>
            <a:spLocks noGrp="1"/>
          </p:cNvSpPr>
          <p:nvPr>
            <p:ph type="ftr" sz="quarter" idx="11"/>
          </p:nvPr>
        </p:nvSpPr>
        <p:spPr/>
        <p:txBody>
          <a:bodyPr/>
          <a:lstStyle/>
          <a:p>
            <a:pPr>
              <a:buClr>
                <a:srgbClr val="FF0000"/>
              </a:buClr>
            </a:pPr>
            <a:r>
              <a:rPr lang="en-US" dirty="0">
                <a:solidFill>
                  <a:srgbClr val="FFFFFF">
                    <a:lumMod val="75000"/>
                  </a:srgbClr>
                </a:solidFill>
              </a:rPr>
              <a:t> [Internal Use] for Check Point employees​</a:t>
            </a:r>
          </a:p>
        </p:txBody>
      </p:sp>
      <p:sp>
        <p:nvSpPr>
          <p:cNvPr id="4" name="Date Placeholder 3" hidden="1"/>
          <p:cNvSpPr>
            <a:spLocks noGrp="1"/>
          </p:cNvSpPr>
          <p:nvPr>
            <p:ph type="dt" sz="half" idx="12"/>
          </p:nvPr>
        </p:nvSpPr>
        <p:spPr>
          <a:xfrm>
            <a:off x="-2991244" y="6356350"/>
            <a:ext cx="2843213" cy="365125"/>
          </a:xfrm>
        </p:spPr>
        <p:txBody>
          <a:bodyPr/>
          <a:lstStyle/>
          <a:p>
            <a:pPr>
              <a:buClr>
                <a:srgbClr val="FF0000"/>
              </a:buClr>
            </a:pPr>
            <a:endParaRPr lang="en-US" dirty="0">
              <a:solidFill>
                <a:srgbClr val="4D4D4F">
                  <a:tint val="75000"/>
                </a:srgbClr>
              </a:solidFill>
            </a:endParaRPr>
          </a:p>
        </p:txBody>
      </p:sp>
      <p:sp>
        <p:nvSpPr>
          <p:cNvPr id="10" name="Rounded Rectangle 7">
            <a:extLst>
              <a:ext uri="{FF2B5EF4-FFF2-40B4-BE49-F238E27FC236}">
                <a16:creationId xmlns:a16="http://schemas.microsoft.com/office/drawing/2014/main" id="{8C4FFFAC-C6C8-412F-ADD7-34578042DD01}"/>
              </a:ext>
            </a:extLst>
          </p:cNvPr>
          <p:cNvSpPr/>
          <p:nvPr/>
        </p:nvSpPr>
        <p:spPr bwMode="auto">
          <a:xfrm>
            <a:off x="485274" y="1017726"/>
            <a:ext cx="7863852" cy="485534"/>
          </a:xfrm>
          <a:prstGeom prst="rect">
            <a:avLst/>
          </a:prstGeom>
          <a:no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ts val="1200"/>
              </a:spcBef>
              <a:buClr>
                <a:srgbClr val="FF0000"/>
              </a:buClr>
              <a:buSzPct val="115000"/>
              <a:buFont typeface="Wingdings" pitchFamily="2" charset="2"/>
              <a:buNone/>
            </a:pPr>
            <a:endParaRPr lang="en-US" sz="2400" kern="1200" dirty="0">
              <a:solidFill>
                <a:schemeClr val="bg2"/>
              </a:solidFill>
              <a:latin typeface="Segoe UI" panose="020B0502040204020203" pitchFamily="34" charset="0"/>
              <a:ea typeface="+mn-ea"/>
              <a:cs typeface="Segoe UI" panose="020B0502040204020203" pitchFamily="34" charset="0"/>
            </a:endParaRPr>
          </a:p>
        </p:txBody>
      </p:sp>
      <p:grpSp>
        <p:nvGrpSpPr>
          <p:cNvPr id="11" name="Group 10">
            <a:extLst>
              <a:ext uri="{FF2B5EF4-FFF2-40B4-BE49-F238E27FC236}">
                <a16:creationId xmlns:a16="http://schemas.microsoft.com/office/drawing/2014/main" id="{4D2699BE-8BC7-4EB0-B931-B97047F203DA}"/>
              </a:ext>
            </a:extLst>
          </p:cNvPr>
          <p:cNvGrpSpPr/>
          <p:nvPr/>
        </p:nvGrpSpPr>
        <p:grpSpPr>
          <a:xfrm>
            <a:off x="9692924" y="4315968"/>
            <a:ext cx="1202821" cy="980497"/>
            <a:chOff x="5604663" y="2320025"/>
            <a:chExt cx="2223881" cy="1812829"/>
          </a:xfrm>
        </p:grpSpPr>
        <p:sp>
          <p:nvSpPr>
            <p:cNvPr id="12" name="Freeform: Shape 11">
              <a:extLst>
                <a:ext uri="{FF2B5EF4-FFF2-40B4-BE49-F238E27FC236}">
                  <a16:creationId xmlns:a16="http://schemas.microsoft.com/office/drawing/2014/main" id="{4833B5E9-331C-4A90-B72F-8098A827D3CE}"/>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13" name="Freeform: Shape 12">
              <a:extLst>
                <a:ext uri="{FF2B5EF4-FFF2-40B4-BE49-F238E27FC236}">
                  <a16:creationId xmlns:a16="http://schemas.microsoft.com/office/drawing/2014/main" id="{26B98AAA-FAEC-48CA-9093-CF3FA055867E}"/>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14" name="Freeform: Shape 13">
              <a:extLst>
                <a:ext uri="{FF2B5EF4-FFF2-40B4-BE49-F238E27FC236}">
                  <a16:creationId xmlns:a16="http://schemas.microsoft.com/office/drawing/2014/main" id="{DBE85898-26B2-4B35-90AB-63D50E0ED170}"/>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17" name="Freeform: Shape 16">
              <a:extLst>
                <a:ext uri="{FF2B5EF4-FFF2-40B4-BE49-F238E27FC236}">
                  <a16:creationId xmlns:a16="http://schemas.microsoft.com/office/drawing/2014/main" id="{E24957E5-A29C-41D7-9EA4-B88EA5B59835}"/>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cxnSp>
        <p:nvCxnSpPr>
          <p:cNvPr id="58" name="C">
            <a:extLst>
              <a:ext uri="{FF2B5EF4-FFF2-40B4-BE49-F238E27FC236}">
                <a16:creationId xmlns:a16="http://schemas.microsoft.com/office/drawing/2014/main" id="{CF94D323-BB0D-4070-9D53-4C81A2C9F548}"/>
              </a:ext>
            </a:extLst>
          </p:cNvPr>
          <p:cNvCxnSpPr>
            <a:cxnSpLocks/>
            <a:stCxn id="21" idx="3"/>
          </p:cNvCxnSpPr>
          <p:nvPr/>
        </p:nvCxnSpPr>
        <p:spPr bwMode="auto">
          <a:xfrm>
            <a:off x="8349126" y="3390657"/>
            <a:ext cx="1949623" cy="943117"/>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a:extLst>
              <a:ext uri="{FF2B5EF4-FFF2-40B4-BE49-F238E27FC236}">
                <a16:creationId xmlns:a16="http://schemas.microsoft.com/office/drawing/2014/main" id="{2DE53781-70B0-4036-9AE0-BF2B653BAB8F}"/>
              </a:ext>
            </a:extLst>
          </p:cNvPr>
          <p:cNvSpPr/>
          <p:nvPr/>
        </p:nvSpPr>
        <p:spPr bwMode="auto">
          <a:xfrm>
            <a:off x="7680779" y="2976221"/>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21" name="Graphic 20">
            <a:extLst>
              <a:ext uri="{FF2B5EF4-FFF2-40B4-BE49-F238E27FC236}">
                <a16:creationId xmlns:a16="http://schemas.microsoft.com/office/drawing/2014/main" id="{DDCBD189-5074-4E8F-AE60-3081000F9E8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41306" y="3179065"/>
            <a:ext cx="507820" cy="423183"/>
          </a:xfrm>
          <a:prstGeom prst="rect">
            <a:avLst/>
          </a:prstGeom>
        </p:spPr>
      </p:pic>
      <p:grpSp>
        <p:nvGrpSpPr>
          <p:cNvPr id="87" name="Group 86">
            <a:extLst>
              <a:ext uri="{FF2B5EF4-FFF2-40B4-BE49-F238E27FC236}">
                <a16:creationId xmlns:a16="http://schemas.microsoft.com/office/drawing/2014/main" id="{4E1AE0CA-ED36-45FE-AD43-E8B29FE37C16}"/>
              </a:ext>
            </a:extLst>
          </p:cNvPr>
          <p:cNvGrpSpPr/>
          <p:nvPr/>
        </p:nvGrpSpPr>
        <p:grpSpPr>
          <a:xfrm>
            <a:off x="906671" y="2652545"/>
            <a:ext cx="6282722" cy="3844368"/>
            <a:chOff x="874471" y="2656969"/>
            <a:chExt cx="6282722" cy="3844368"/>
          </a:xfrm>
        </p:grpSpPr>
        <p:sp>
          <p:nvSpPr>
            <p:cNvPr id="67" name="TextBox 66">
              <a:extLst>
                <a:ext uri="{FF2B5EF4-FFF2-40B4-BE49-F238E27FC236}">
                  <a16:creationId xmlns:a16="http://schemas.microsoft.com/office/drawing/2014/main" id="{4A8C5097-E9EE-4F4A-B7EB-337E1C9E4E08}"/>
                </a:ext>
              </a:extLst>
            </p:cNvPr>
            <p:cNvSpPr txBox="1"/>
            <p:nvPr/>
          </p:nvSpPr>
          <p:spPr bwMode="auto">
            <a:xfrm>
              <a:off x="3254773" y="2656969"/>
              <a:ext cx="1711899" cy="750975"/>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sz="1200" b="1" kern="1200" dirty="0">
                  <a:solidFill>
                    <a:srgbClr val="FFFFFF"/>
                  </a:solidFill>
                  <a:latin typeface="+mj-lt"/>
                  <a:ea typeface="+mn-ea"/>
                  <a:cs typeface="Segoe UI" panose="020B0502040204020203" pitchFamily="34" charset="0"/>
                </a:rPr>
                <a:t>1</a:t>
              </a:r>
            </a:p>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Next Generation Firewall</a:t>
              </a:r>
            </a:p>
          </p:txBody>
        </p:sp>
        <p:sp>
          <p:nvSpPr>
            <p:cNvPr id="65" name="TextBox 64">
              <a:extLst>
                <a:ext uri="{FF2B5EF4-FFF2-40B4-BE49-F238E27FC236}">
                  <a16:creationId xmlns:a16="http://schemas.microsoft.com/office/drawing/2014/main" id="{8C145E71-ABC9-4A8C-AA83-081007E0CB72}"/>
                </a:ext>
              </a:extLst>
            </p:cNvPr>
            <p:cNvSpPr txBox="1"/>
            <p:nvPr/>
          </p:nvSpPr>
          <p:spPr bwMode="auto">
            <a:xfrm>
              <a:off x="2807849" y="3796751"/>
              <a:ext cx="1898029" cy="781752"/>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2</a:t>
              </a:r>
            </a:p>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Advanced</a:t>
              </a:r>
              <a:br>
                <a:rPr lang="en-US" b="1" kern="1200" dirty="0">
                  <a:solidFill>
                    <a:srgbClr val="FFFFFF"/>
                  </a:solidFill>
                  <a:latin typeface="+mj-lt"/>
                  <a:ea typeface="+mn-ea"/>
                  <a:cs typeface="Segoe UI" panose="020B0502040204020203" pitchFamily="34" charset="0"/>
                </a:rPr>
              </a:br>
              <a:r>
                <a:rPr lang="en-US" b="1" kern="1200" dirty="0">
                  <a:solidFill>
                    <a:srgbClr val="FFFFFF"/>
                  </a:solidFill>
                  <a:latin typeface="+mj-lt"/>
                  <a:ea typeface="+mn-ea"/>
                  <a:cs typeface="Segoe UI" panose="020B0502040204020203" pitchFamily="34" charset="0"/>
                </a:rPr>
                <a:t>Threat Prevention</a:t>
              </a:r>
              <a:endParaRPr lang="he-IL" b="1" kern="1200" dirty="0">
                <a:solidFill>
                  <a:srgbClr val="FFFFFF"/>
                </a:solidFill>
                <a:latin typeface="+mj-lt"/>
                <a:ea typeface="+mn-ea"/>
                <a:cs typeface="Segoe UI" panose="020B0502040204020203" pitchFamily="34" charset="0"/>
              </a:endParaRPr>
            </a:p>
          </p:txBody>
        </p:sp>
        <p:sp>
          <p:nvSpPr>
            <p:cNvPr id="63" name="TextBox 62">
              <a:extLst>
                <a:ext uri="{FF2B5EF4-FFF2-40B4-BE49-F238E27FC236}">
                  <a16:creationId xmlns:a16="http://schemas.microsoft.com/office/drawing/2014/main" id="{D274AFC5-9A5C-4D18-AE4B-8B6799CD7C99}"/>
                </a:ext>
              </a:extLst>
            </p:cNvPr>
            <p:cNvSpPr txBox="1"/>
            <p:nvPr/>
          </p:nvSpPr>
          <p:spPr bwMode="auto">
            <a:xfrm>
              <a:off x="4937044" y="3669159"/>
              <a:ext cx="790367" cy="781752"/>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4 </a:t>
              </a:r>
            </a:p>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SaaS</a:t>
              </a:r>
              <a:br>
                <a:rPr lang="en-US" b="1" kern="1200" dirty="0">
                  <a:solidFill>
                    <a:srgbClr val="FFFFFF"/>
                  </a:solidFill>
                  <a:latin typeface="+mj-lt"/>
                  <a:ea typeface="+mn-ea"/>
                  <a:cs typeface="Segoe UI" panose="020B0502040204020203" pitchFamily="34" charset="0"/>
                </a:rPr>
              </a:br>
              <a:r>
                <a:rPr lang="en-US" b="1" kern="1200" dirty="0">
                  <a:solidFill>
                    <a:srgbClr val="FFFFFF"/>
                  </a:solidFill>
                  <a:latin typeface="+mj-lt"/>
                  <a:ea typeface="+mn-ea"/>
                  <a:cs typeface="Segoe UI" panose="020B0502040204020203" pitchFamily="34" charset="0"/>
                </a:rPr>
                <a:t>API</a:t>
              </a:r>
              <a:endParaRPr lang="he-IL" b="1" kern="1200" dirty="0">
                <a:solidFill>
                  <a:srgbClr val="FFFFFF"/>
                </a:solidFill>
                <a:latin typeface="+mj-lt"/>
                <a:ea typeface="+mn-ea"/>
                <a:cs typeface="Segoe UI" panose="020B0502040204020203" pitchFamily="34" charset="0"/>
              </a:endParaRPr>
            </a:p>
          </p:txBody>
        </p:sp>
        <p:sp>
          <p:nvSpPr>
            <p:cNvPr id="61" name="TextBox 60">
              <a:extLst>
                <a:ext uri="{FF2B5EF4-FFF2-40B4-BE49-F238E27FC236}">
                  <a16:creationId xmlns:a16="http://schemas.microsoft.com/office/drawing/2014/main" id="{5B4BC11C-7D0D-4328-A465-0541425187C6}"/>
                </a:ext>
              </a:extLst>
            </p:cNvPr>
            <p:cNvSpPr txBox="1"/>
            <p:nvPr/>
          </p:nvSpPr>
          <p:spPr bwMode="auto">
            <a:xfrm>
              <a:off x="4203910" y="4690613"/>
              <a:ext cx="1535663" cy="966418"/>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7</a:t>
              </a:r>
              <a:r>
                <a:rPr lang="en-US" sz="1050" b="1" kern="1200" dirty="0">
                  <a:solidFill>
                    <a:schemeClr val="bg1"/>
                  </a:solidFill>
                  <a:latin typeface="+mj-lt"/>
                  <a:ea typeface="+mn-ea"/>
                  <a:cs typeface="Segoe UI" panose="020B0502040204020203" pitchFamily="34" charset="0"/>
                </a:rPr>
                <a:t> </a:t>
              </a:r>
            </a:p>
            <a:p>
              <a:pPr algn="ctr" fontAlgn="base">
                <a:spcBef>
                  <a:spcPct val="20000"/>
                </a:spcBef>
                <a:spcAft>
                  <a:spcPct val="0"/>
                </a:spcAft>
                <a:buClr>
                  <a:srgbClr val="FF0000"/>
                </a:buClr>
                <a:buSzPct val="65000"/>
                <a:buFont typeface="Wingdings" pitchFamily="2" charset="2"/>
                <a:buNone/>
                <a:defRPr/>
              </a:pPr>
              <a:r>
                <a:rPr lang="en-US" b="1" kern="1200" dirty="0">
                  <a:solidFill>
                    <a:schemeClr val="bg1"/>
                  </a:solidFill>
                  <a:latin typeface="+mj-lt"/>
                  <a:ea typeface="+mn-ea"/>
                  <a:cs typeface="Segoe UI" panose="020B0502040204020203" pitchFamily="34" charset="0"/>
                </a:rPr>
                <a:t>Zero Trust Network Access (SDP)</a:t>
              </a:r>
              <a:endParaRPr lang="he-IL" b="1" kern="1200" dirty="0">
                <a:solidFill>
                  <a:schemeClr val="bg1"/>
                </a:solidFill>
                <a:latin typeface="+mj-lt"/>
                <a:ea typeface="+mn-ea"/>
                <a:cs typeface="Segoe UI" panose="020B0502040204020203" pitchFamily="34" charset="0"/>
              </a:endParaRPr>
            </a:p>
          </p:txBody>
        </p:sp>
        <p:sp>
          <p:nvSpPr>
            <p:cNvPr id="59" name="TextBox 58">
              <a:extLst>
                <a:ext uri="{FF2B5EF4-FFF2-40B4-BE49-F238E27FC236}">
                  <a16:creationId xmlns:a16="http://schemas.microsoft.com/office/drawing/2014/main" id="{D8C2FC00-D69B-40A4-BC3E-F978944A070A}"/>
                </a:ext>
              </a:extLst>
            </p:cNvPr>
            <p:cNvSpPr txBox="1"/>
            <p:nvPr/>
          </p:nvSpPr>
          <p:spPr bwMode="auto">
            <a:xfrm>
              <a:off x="2832620" y="4797515"/>
              <a:ext cx="1057762" cy="750975"/>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8</a:t>
              </a:r>
              <a:r>
                <a:rPr lang="en-US" sz="1050" b="1" kern="1200" dirty="0">
                  <a:solidFill>
                    <a:schemeClr val="bg1"/>
                  </a:solidFill>
                  <a:latin typeface="+mj-lt"/>
                  <a:ea typeface="+mn-ea"/>
                  <a:cs typeface="Segoe UI" panose="020B0502040204020203" pitchFamily="34" charset="0"/>
                </a:rPr>
                <a:t> </a:t>
              </a:r>
            </a:p>
            <a:p>
              <a:pPr algn="ctr" fontAlgn="base">
                <a:spcBef>
                  <a:spcPct val="20000"/>
                </a:spcBef>
                <a:spcAft>
                  <a:spcPct val="0"/>
                </a:spcAft>
                <a:buClr>
                  <a:srgbClr val="FF0000"/>
                </a:buClr>
                <a:buSzPct val="65000"/>
                <a:buFont typeface="Wingdings" pitchFamily="2" charset="2"/>
                <a:buNone/>
                <a:defRPr/>
              </a:pPr>
              <a:r>
                <a:rPr lang="en-US" b="1" kern="1200" dirty="0">
                  <a:solidFill>
                    <a:schemeClr val="bg1"/>
                  </a:solidFill>
                  <a:latin typeface="+mj-lt"/>
                  <a:ea typeface="+mn-ea"/>
                  <a:cs typeface="Segoe UI" panose="020B0502040204020203" pitchFamily="34" charset="0"/>
                </a:rPr>
                <a:t>Email Security </a:t>
              </a:r>
            </a:p>
          </p:txBody>
        </p:sp>
        <p:sp>
          <p:nvSpPr>
            <p:cNvPr id="56" name="TextBox 55">
              <a:extLst>
                <a:ext uri="{FF2B5EF4-FFF2-40B4-BE49-F238E27FC236}">
                  <a16:creationId xmlns:a16="http://schemas.microsoft.com/office/drawing/2014/main" id="{CE064153-D7A9-4125-8154-3ACEF2A81646}"/>
                </a:ext>
              </a:extLst>
            </p:cNvPr>
            <p:cNvSpPr txBox="1"/>
            <p:nvPr/>
          </p:nvSpPr>
          <p:spPr bwMode="auto">
            <a:xfrm>
              <a:off x="6112550" y="4606958"/>
              <a:ext cx="1044643" cy="750975"/>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sz="1200" b="1" kern="1200" dirty="0">
                  <a:solidFill>
                    <a:srgbClr val="FFFFFF"/>
                  </a:solidFill>
                  <a:latin typeface="+mj-lt"/>
                  <a:ea typeface="+mn-ea"/>
                  <a:cs typeface="Segoe UI" panose="020B0502040204020203" pitchFamily="34" charset="0"/>
                </a:rPr>
                <a:t>5</a:t>
              </a:r>
              <a:r>
                <a:rPr lang="en-US" sz="1050" b="1" kern="1200" dirty="0">
                  <a:solidFill>
                    <a:srgbClr val="D51067"/>
                  </a:solidFill>
                  <a:latin typeface="+mj-lt"/>
                  <a:ea typeface="+mn-ea"/>
                  <a:cs typeface="Segoe UI" panose="020B0502040204020203" pitchFamily="34" charset="0"/>
                </a:rPr>
                <a:t> </a:t>
              </a:r>
            </a:p>
            <a:p>
              <a:pPr algn="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Data Loss Prevention</a:t>
              </a:r>
              <a:endParaRPr lang="he-IL" b="1" kern="1200" dirty="0">
                <a:solidFill>
                  <a:srgbClr val="FFFFFF"/>
                </a:solidFill>
                <a:latin typeface="+mj-lt"/>
                <a:ea typeface="+mn-ea"/>
                <a:cs typeface="Segoe UI" panose="020B0502040204020203" pitchFamily="34" charset="0"/>
              </a:endParaRPr>
            </a:p>
          </p:txBody>
        </p:sp>
        <p:sp>
          <p:nvSpPr>
            <p:cNvPr id="53" name="TextBox 52">
              <a:extLst>
                <a:ext uri="{FF2B5EF4-FFF2-40B4-BE49-F238E27FC236}">
                  <a16:creationId xmlns:a16="http://schemas.microsoft.com/office/drawing/2014/main" id="{EB0E42BC-875E-4FC1-B82D-02D24C9B8B8C}"/>
                </a:ext>
              </a:extLst>
            </p:cNvPr>
            <p:cNvSpPr txBox="1"/>
            <p:nvPr/>
          </p:nvSpPr>
          <p:spPr bwMode="auto">
            <a:xfrm>
              <a:off x="874471" y="4777847"/>
              <a:ext cx="999176" cy="867930"/>
            </a:xfrm>
            <a:prstGeom prst="rect">
              <a:avLst/>
            </a:prstGeom>
            <a:noFill/>
            <a:ln>
              <a:noFill/>
            </a:ln>
            <a:effectLst/>
          </p:spPr>
          <p:txBody>
            <a:bodyPr wrap="square">
              <a:spAutoFit/>
            </a:bodyPr>
            <a:lstStyle/>
            <a:p>
              <a:pPr fontAlgn="base">
                <a:spcBef>
                  <a:spcPct val="200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10</a:t>
              </a:r>
              <a:endParaRPr lang="en-US" sz="1050" b="1" kern="1200" dirty="0">
                <a:solidFill>
                  <a:schemeClr val="bg1"/>
                </a:solidFill>
                <a:latin typeface="+mj-lt"/>
                <a:ea typeface="+mn-ea"/>
                <a:cs typeface="Segoe UI" panose="020B0502040204020203" pitchFamily="34" charset="0"/>
              </a:endParaRPr>
            </a:p>
            <a:p>
              <a:pPr fontAlgn="base">
                <a:spcBef>
                  <a:spcPct val="200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Device posture &amp; compliance</a:t>
              </a:r>
              <a:endParaRPr lang="he-IL" sz="1200" b="1" kern="1200" dirty="0">
                <a:solidFill>
                  <a:schemeClr val="bg1"/>
                </a:solidFill>
                <a:latin typeface="+mj-lt"/>
                <a:ea typeface="+mn-ea"/>
                <a:cs typeface="Segoe UI" panose="020B0502040204020203" pitchFamily="34" charset="0"/>
              </a:endParaRPr>
            </a:p>
          </p:txBody>
        </p:sp>
        <p:sp>
          <p:nvSpPr>
            <p:cNvPr id="51" name="TextBox 50">
              <a:extLst>
                <a:ext uri="{FF2B5EF4-FFF2-40B4-BE49-F238E27FC236}">
                  <a16:creationId xmlns:a16="http://schemas.microsoft.com/office/drawing/2014/main" id="{7FF8FD82-6767-448F-876E-ED8587B9D9BD}"/>
                </a:ext>
              </a:extLst>
            </p:cNvPr>
            <p:cNvSpPr txBox="1"/>
            <p:nvPr/>
          </p:nvSpPr>
          <p:spPr bwMode="auto">
            <a:xfrm>
              <a:off x="1919135" y="5153661"/>
              <a:ext cx="982579" cy="750975"/>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9</a:t>
              </a:r>
              <a:r>
                <a:rPr lang="en-US" sz="1050" b="1" kern="1200" dirty="0">
                  <a:solidFill>
                    <a:schemeClr val="bg1"/>
                  </a:solidFill>
                  <a:latin typeface="+mj-lt"/>
                  <a:ea typeface="+mn-ea"/>
                  <a:cs typeface="Segoe UI" panose="020B0502040204020203" pitchFamily="34" charset="0"/>
                </a:rPr>
                <a:t> </a:t>
              </a:r>
            </a:p>
            <a:p>
              <a:pPr algn="ctr" fontAlgn="base">
                <a:spcBef>
                  <a:spcPct val="20000"/>
                </a:spcBef>
                <a:spcAft>
                  <a:spcPct val="0"/>
                </a:spcAft>
                <a:buClr>
                  <a:srgbClr val="FF0000"/>
                </a:buClr>
                <a:buSzPct val="65000"/>
                <a:buFont typeface="Wingdings" pitchFamily="2" charset="2"/>
                <a:buNone/>
                <a:defRPr/>
              </a:pPr>
              <a:r>
                <a:rPr lang="en-US" b="1" kern="1200" dirty="0">
                  <a:solidFill>
                    <a:schemeClr val="bg1"/>
                  </a:solidFill>
                  <a:latin typeface="+mj-lt"/>
                  <a:ea typeface="+mn-ea"/>
                  <a:cs typeface="Segoe UI" panose="020B0502040204020203" pitchFamily="34" charset="0"/>
                </a:rPr>
                <a:t>Browser protection</a:t>
              </a:r>
              <a:endParaRPr lang="he-IL" b="1" kern="1200" dirty="0">
                <a:solidFill>
                  <a:schemeClr val="bg1"/>
                </a:solidFill>
                <a:latin typeface="+mj-lt"/>
                <a:ea typeface="+mn-ea"/>
                <a:cs typeface="Segoe UI" panose="020B0502040204020203" pitchFamily="34" charset="0"/>
              </a:endParaRPr>
            </a:p>
          </p:txBody>
        </p:sp>
        <p:sp>
          <p:nvSpPr>
            <p:cNvPr id="49" name="TextBox 48">
              <a:extLst>
                <a:ext uri="{FF2B5EF4-FFF2-40B4-BE49-F238E27FC236}">
                  <a16:creationId xmlns:a16="http://schemas.microsoft.com/office/drawing/2014/main" id="{7FD0C062-F252-4161-9BB0-336FE8250156}"/>
                </a:ext>
              </a:extLst>
            </p:cNvPr>
            <p:cNvSpPr txBox="1"/>
            <p:nvPr/>
          </p:nvSpPr>
          <p:spPr bwMode="auto">
            <a:xfrm>
              <a:off x="2950569" y="5780773"/>
              <a:ext cx="1595102" cy="561692"/>
            </a:xfrm>
            <a:prstGeom prst="rect">
              <a:avLst/>
            </a:prstGeom>
            <a:noFill/>
            <a:ln>
              <a:noFill/>
            </a:ln>
            <a:effectLst/>
          </p:spPr>
          <p:txBody>
            <a:bodyPr wrap="square">
              <a:spAutoFit/>
            </a:bodyPr>
            <a:lstStyle/>
            <a:p>
              <a:pPr algn="ctr" fontAlgn="base">
                <a:spcBef>
                  <a:spcPts val="3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6</a:t>
              </a:r>
            </a:p>
            <a:p>
              <a:pPr algn="ctr" fontAlgn="base">
                <a:spcBef>
                  <a:spcPts val="300"/>
                </a:spcBef>
                <a:spcAft>
                  <a:spcPct val="0"/>
                </a:spcAft>
                <a:buClr>
                  <a:srgbClr val="FF0000"/>
                </a:buClr>
                <a:buSzPct val="65000"/>
                <a:buFont typeface="Wingdings" pitchFamily="2" charset="2"/>
                <a:buNone/>
                <a:defRPr/>
              </a:pPr>
              <a:r>
                <a:rPr lang="en-US" sz="1600" b="1" kern="1200" dirty="0">
                  <a:solidFill>
                    <a:schemeClr val="bg1"/>
                  </a:solidFill>
                  <a:latin typeface="+mj-lt"/>
                  <a:ea typeface="+mn-ea"/>
                  <a:cs typeface="Segoe UI" panose="020B0502040204020203" pitchFamily="34" charset="0"/>
                </a:rPr>
                <a:t>Anti-Phishing</a:t>
              </a:r>
              <a:endParaRPr lang="en-US" sz="1050" b="1" kern="1200" dirty="0">
                <a:solidFill>
                  <a:schemeClr val="bg1"/>
                </a:solidFill>
                <a:latin typeface="+mj-lt"/>
                <a:ea typeface="+mn-ea"/>
                <a:cs typeface="Segoe UI" panose="020B0502040204020203" pitchFamily="34" charset="0"/>
              </a:endParaRPr>
            </a:p>
          </p:txBody>
        </p:sp>
        <p:sp>
          <p:nvSpPr>
            <p:cNvPr id="47" name="TextBox 46">
              <a:extLst>
                <a:ext uri="{FF2B5EF4-FFF2-40B4-BE49-F238E27FC236}">
                  <a16:creationId xmlns:a16="http://schemas.microsoft.com/office/drawing/2014/main" id="{EA8EC770-FAE8-4D33-B47B-CC645F6213AD}"/>
                </a:ext>
              </a:extLst>
            </p:cNvPr>
            <p:cNvSpPr txBox="1"/>
            <p:nvPr/>
          </p:nvSpPr>
          <p:spPr bwMode="auto">
            <a:xfrm>
              <a:off x="4888030" y="5693424"/>
              <a:ext cx="2049585" cy="807913"/>
            </a:xfrm>
            <a:prstGeom prst="rect">
              <a:avLst/>
            </a:prstGeom>
            <a:noFill/>
            <a:ln>
              <a:noFill/>
            </a:ln>
            <a:effectLst/>
          </p:spPr>
          <p:txBody>
            <a:bodyPr wrap="square">
              <a:spAutoFit/>
            </a:bodyPr>
            <a:lstStyle/>
            <a:p>
              <a:pPr algn="ctr" fontAlgn="base">
                <a:spcBef>
                  <a:spcPts val="300"/>
                </a:spcBef>
                <a:spcAft>
                  <a:spcPct val="0"/>
                </a:spcAft>
                <a:buClr>
                  <a:srgbClr val="FF0000"/>
                </a:buClr>
                <a:buSzPct val="65000"/>
                <a:buFont typeface="Wingdings" pitchFamily="2" charset="2"/>
                <a:buNone/>
                <a:defRPr/>
              </a:pPr>
              <a:r>
                <a:rPr lang="en-US" sz="1200" b="1" kern="1200" dirty="0">
                  <a:solidFill>
                    <a:schemeClr val="bg1"/>
                  </a:solidFill>
                  <a:latin typeface="+mj-lt"/>
                  <a:ea typeface="+mn-ea"/>
                  <a:cs typeface="Segoe UI" panose="020B0502040204020203" pitchFamily="34" charset="0"/>
                </a:rPr>
                <a:t>11</a:t>
              </a:r>
              <a:r>
                <a:rPr lang="en-US" sz="1050" b="1" kern="1200" dirty="0">
                  <a:solidFill>
                    <a:schemeClr val="bg1"/>
                  </a:solidFill>
                  <a:latin typeface="+mj-lt"/>
                  <a:ea typeface="+mn-ea"/>
                  <a:cs typeface="Segoe UI" panose="020B0502040204020203" pitchFamily="34" charset="0"/>
                </a:rPr>
                <a:t> </a:t>
              </a:r>
            </a:p>
            <a:p>
              <a:pPr algn="ctr" fontAlgn="base">
                <a:spcBef>
                  <a:spcPts val="300"/>
                </a:spcBef>
                <a:spcAft>
                  <a:spcPct val="0"/>
                </a:spcAft>
                <a:buClr>
                  <a:srgbClr val="FF0000"/>
                </a:buClr>
                <a:buSzPct val="65000"/>
                <a:buFont typeface="Wingdings" pitchFamily="2" charset="2"/>
                <a:buNone/>
                <a:defRPr/>
              </a:pPr>
              <a:r>
                <a:rPr lang="en-US" sz="1600" b="1" kern="1200" dirty="0">
                  <a:solidFill>
                    <a:schemeClr val="bg1"/>
                  </a:solidFill>
                  <a:latin typeface="+mj-lt"/>
                  <a:ea typeface="+mn-ea"/>
                  <a:cs typeface="Segoe UI" panose="020B0502040204020203" pitchFamily="34" charset="0"/>
                </a:rPr>
                <a:t>Web Application &amp; API protection</a:t>
              </a:r>
            </a:p>
          </p:txBody>
        </p:sp>
        <p:sp>
          <p:nvSpPr>
            <p:cNvPr id="42" name="TextBox 41">
              <a:extLst>
                <a:ext uri="{FF2B5EF4-FFF2-40B4-BE49-F238E27FC236}">
                  <a16:creationId xmlns:a16="http://schemas.microsoft.com/office/drawing/2014/main" id="{EBD6855C-FE59-4AF3-A124-E14B6FEC1CC4}"/>
                </a:ext>
              </a:extLst>
            </p:cNvPr>
            <p:cNvSpPr txBox="1"/>
            <p:nvPr/>
          </p:nvSpPr>
          <p:spPr bwMode="auto">
            <a:xfrm>
              <a:off x="1522718" y="3869034"/>
              <a:ext cx="1122092" cy="770980"/>
            </a:xfrm>
            <a:prstGeom prst="rect">
              <a:avLst/>
            </a:prstGeom>
            <a:noFill/>
            <a:ln>
              <a:noFill/>
            </a:ln>
            <a:effectLst/>
          </p:spPr>
          <p:txBody>
            <a:bodyPr wrap="square">
              <a:spAutoFit/>
            </a:bodyPr>
            <a:lstStyle/>
            <a:p>
              <a:pPr algn="ctr" fontAlgn="base">
                <a:spcBef>
                  <a:spcPct val="20000"/>
                </a:spcBef>
                <a:spcAft>
                  <a:spcPct val="0"/>
                </a:spcAft>
                <a:buClr>
                  <a:srgbClr val="FF0000"/>
                </a:buClr>
                <a:buSzPct val="65000"/>
                <a:buFont typeface="Wingdings" pitchFamily="2" charset="2"/>
                <a:buNone/>
                <a:defRPr/>
              </a:pPr>
              <a:endParaRPr lang="en-US" sz="1050" b="1" kern="1200" dirty="0">
                <a:solidFill>
                  <a:srgbClr val="D51067"/>
                </a:solidFill>
                <a:latin typeface="+mj-lt"/>
                <a:ea typeface="+mn-ea"/>
                <a:cs typeface="Segoe UI" panose="020B0502040204020203" pitchFamily="34" charset="0"/>
              </a:endParaRPr>
            </a:p>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Secure Web</a:t>
              </a:r>
            </a:p>
            <a:p>
              <a:pPr algn="ctr" fontAlgn="base">
                <a:spcBef>
                  <a:spcPct val="20000"/>
                </a:spcBef>
                <a:spcAft>
                  <a:spcPct val="0"/>
                </a:spcAft>
                <a:buClr>
                  <a:srgbClr val="FF0000"/>
                </a:buClr>
                <a:buSzPct val="65000"/>
                <a:buFont typeface="Wingdings" pitchFamily="2" charset="2"/>
                <a:buNone/>
                <a:defRPr/>
              </a:pPr>
              <a:r>
                <a:rPr lang="en-US" b="1" kern="1200" dirty="0">
                  <a:solidFill>
                    <a:srgbClr val="FFFFFF"/>
                  </a:solidFill>
                  <a:latin typeface="+mj-lt"/>
                  <a:ea typeface="+mn-ea"/>
                  <a:cs typeface="Segoe UI" panose="020B0502040204020203" pitchFamily="34" charset="0"/>
                </a:rPr>
                <a:t>Gateway </a:t>
              </a:r>
              <a:endParaRPr lang="he-IL" b="1" kern="1200" dirty="0">
                <a:solidFill>
                  <a:srgbClr val="FFFFFF"/>
                </a:solidFill>
                <a:latin typeface="+mj-lt"/>
                <a:ea typeface="+mn-ea"/>
                <a:cs typeface="Segoe UI" panose="020B0502040204020203" pitchFamily="34" charset="0"/>
              </a:endParaRPr>
            </a:p>
          </p:txBody>
        </p:sp>
        <p:sp>
          <p:nvSpPr>
            <p:cNvPr id="40" name="TextBox 39">
              <a:extLst>
                <a:ext uri="{FF2B5EF4-FFF2-40B4-BE49-F238E27FC236}">
                  <a16:creationId xmlns:a16="http://schemas.microsoft.com/office/drawing/2014/main" id="{298388C7-2133-4E7E-838B-524433EC1461}"/>
                </a:ext>
              </a:extLst>
            </p:cNvPr>
            <p:cNvSpPr txBox="1"/>
            <p:nvPr/>
          </p:nvSpPr>
          <p:spPr bwMode="auto">
            <a:xfrm>
              <a:off x="1428632" y="4176806"/>
              <a:ext cx="205852" cy="276999"/>
            </a:xfrm>
            <a:prstGeom prst="rect">
              <a:avLst/>
            </a:prstGeom>
            <a:solidFill>
              <a:schemeClr val="bg2">
                <a:lumMod val="75000"/>
              </a:schemeClr>
            </a:solidFill>
            <a:ln>
              <a:noFill/>
            </a:ln>
            <a:effectLst/>
          </p:spPr>
          <p:txBody>
            <a:bodyPr wrap="square">
              <a:spAutoFit/>
            </a:bodyPr>
            <a:lstStyle/>
            <a:p>
              <a:pPr fontAlgn="base">
                <a:spcBef>
                  <a:spcPct val="20000"/>
                </a:spcBef>
                <a:spcAft>
                  <a:spcPct val="0"/>
                </a:spcAft>
                <a:buClr>
                  <a:srgbClr val="FF0000"/>
                </a:buClr>
                <a:buSzPct val="65000"/>
                <a:buFont typeface="Wingdings" pitchFamily="2" charset="2"/>
                <a:buNone/>
                <a:defRPr/>
              </a:pPr>
              <a:r>
                <a:rPr lang="en-US" sz="1200" b="1" kern="1200" dirty="0">
                  <a:solidFill>
                    <a:srgbClr val="FFFFFF"/>
                  </a:solidFill>
                  <a:latin typeface="+mj-lt"/>
                  <a:ea typeface="+mn-ea"/>
                  <a:cs typeface="Segoe UI" panose="020B0502040204020203" pitchFamily="34" charset="0"/>
                </a:rPr>
                <a:t>3</a:t>
              </a:r>
              <a:endParaRPr lang="he-IL" sz="1200" kern="1200" dirty="0">
                <a:solidFill>
                  <a:srgbClr val="FFFFFF"/>
                </a:solidFill>
                <a:latin typeface="+mj-lt"/>
                <a:ea typeface="+mn-ea"/>
                <a:cs typeface="Segoe UI" panose="020B0502040204020203" pitchFamily="34" charset="0"/>
              </a:endParaRPr>
            </a:p>
          </p:txBody>
        </p:sp>
      </p:grpSp>
      <p:sp>
        <p:nvSpPr>
          <p:cNvPr id="72" name="Google Shape;11;p56"/>
          <p:cNvSpPr txBox="1"/>
          <p:nvPr/>
        </p:nvSpPr>
        <p:spPr>
          <a:xfrm>
            <a:off x="9897959" y="6556249"/>
            <a:ext cx="1840451" cy="269820"/>
          </a:xfrm>
          <a:prstGeom prst="rect">
            <a:avLst/>
          </a:prstGeom>
          <a:noFill/>
          <a:ln>
            <a:noFill/>
          </a:ln>
        </p:spPr>
        <p:txBody>
          <a:bodyPr spcFirstLastPara="1" wrap="square" lIns="121875" tIns="60925" rIns="121875" bIns="60925" anchor="ctr" anchorCtr="0">
            <a:noAutofit/>
          </a:bodyPr>
          <a:lstStyle/>
          <a:p>
            <a:pPr marL="0" marR="0" lvl="0" indent="0" algn="r" rtl="0">
              <a:spcBef>
                <a:spcPts val="0"/>
              </a:spcBef>
              <a:spcAft>
                <a:spcPts val="0"/>
              </a:spcAft>
              <a:buClr>
                <a:schemeClr val="dk1"/>
              </a:buClr>
              <a:buSzPts val="1000"/>
              <a:buFont typeface="Noto Sans Symbols"/>
              <a:buNone/>
            </a:pPr>
            <a:fld id="{00000000-1234-1234-1234-123412341234}" type="slidenum">
              <a:rPr lang="en-US" sz="1000" b="0" i="0" u="none" strike="noStrike" cap="none">
                <a:solidFill>
                  <a:schemeClr val="dk1"/>
                </a:solidFill>
                <a:latin typeface="Calibri"/>
                <a:ea typeface="Calibri"/>
                <a:cs typeface="Calibri"/>
                <a:sym typeface="Calibri"/>
              </a:rPr>
              <a:t>12</a:t>
            </a:fld>
            <a:endParaRPr sz="1100" b="0" i="0" u="none" strike="noStrike" cap="none">
              <a:solidFill>
                <a:schemeClr val="dk1"/>
              </a:solidFill>
              <a:latin typeface="Calibri"/>
              <a:ea typeface="Calibri"/>
              <a:cs typeface="Calibri"/>
              <a:sym typeface="Calibri"/>
            </a:endParaRPr>
          </a:p>
        </p:txBody>
      </p:sp>
      <p:sp>
        <p:nvSpPr>
          <p:cNvPr id="73" name="Google Shape;12;p56"/>
          <p:cNvSpPr txBox="1"/>
          <p:nvPr/>
        </p:nvSpPr>
        <p:spPr>
          <a:xfrm>
            <a:off x="9080500" y="6542102"/>
            <a:ext cx="2744799" cy="304221"/>
          </a:xfrm>
          <a:prstGeom prst="rect">
            <a:avLst/>
          </a:prstGeom>
          <a:noFill/>
          <a:ln>
            <a:noFill/>
          </a:ln>
        </p:spPr>
        <p:txBody>
          <a:bodyPr spcFirstLastPara="1" wrap="square" lIns="121875" tIns="60925" rIns="121875" bIns="60925" anchor="ctr" anchorCtr="0">
            <a:noAutofit/>
          </a:bodyPr>
          <a:lstStyle/>
          <a:p>
            <a:pPr marL="0" marR="0" lvl="0" indent="0" algn="l" rtl="0">
              <a:spcBef>
                <a:spcPts val="0"/>
              </a:spcBef>
              <a:spcAft>
                <a:spcPts val="0"/>
              </a:spcAft>
              <a:buClr>
                <a:srgbClr val="B6B6B8"/>
              </a:buClr>
              <a:buSzPts val="900"/>
              <a:buFont typeface="Noto Sans Symbols"/>
              <a:buNone/>
            </a:pPr>
            <a:r>
              <a:rPr lang="en-US" sz="900" b="0" i="0" u="none" strike="noStrike" cap="none" dirty="0">
                <a:solidFill>
                  <a:srgbClr val="B6B6B8"/>
                </a:solidFill>
                <a:latin typeface="Calibri"/>
                <a:ea typeface="Calibri"/>
                <a:cs typeface="Calibri"/>
                <a:sym typeface="Calibri"/>
              </a:rPr>
              <a:t>©2021 Check Point Software Technologies Ltd. </a:t>
            </a:r>
            <a:endParaRPr dirty="0">
              <a:latin typeface="Calibri" panose="020F0502020204030204" pitchFamily="34" charset="0"/>
              <a:cs typeface="Calibri" panose="020F0502020204030204" pitchFamily="34" charset="0"/>
            </a:endParaRPr>
          </a:p>
        </p:txBody>
      </p:sp>
      <p:cxnSp>
        <p:nvCxnSpPr>
          <p:cNvPr id="74" name="Google Shape;14;p56"/>
          <p:cNvCxnSpPr/>
          <p:nvPr/>
        </p:nvCxnSpPr>
        <p:spPr>
          <a:xfrm>
            <a:off x="0" y="6505756"/>
            <a:ext cx="12188825" cy="3837"/>
          </a:xfrm>
          <a:prstGeom prst="straightConnector1">
            <a:avLst/>
          </a:prstGeom>
          <a:solidFill>
            <a:schemeClr val="lt1"/>
          </a:solidFill>
          <a:ln w="9525" cap="flat" cmpd="sng">
            <a:solidFill>
              <a:srgbClr val="D8D8D8"/>
            </a:solidFill>
            <a:prstDash val="solid"/>
            <a:round/>
            <a:headEnd type="none" w="sm" len="sm"/>
            <a:tailEnd type="none" w="sm" len="sm"/>
          </a:ln>
        </p:spPr>
      </p:cxnSp>
      <p:sp>
        <p:nvSpPr>
          <p:cNvPr id="3" name="Rounded Rectangular Callout 2"/>
          <p:cNvSpPr/>
          <p:nvPr/>
        </p:nvSpPr>
        <p:spPr bwMode="auto">
          <a:xfrm>
            <a:off x="7496045" y="1771728"/>
            <a:ext cx="1827892" cy="976935"/>
          </a:xfrm>
          <a:prstGeom prst="wedgeRoundRectCallout">
            <a:avLst/>
          </a:prstGeom>
          <a:solidFill>
            <a:schemeClr val="bg1"/>
          </a:solidFill>
          <a:ln w="12700" algn="ctr">
            <a:solidFill>
              <a:srgbClr val="C00000"/>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Aft>
                <a:spcPts val="0"/>
              </a:spcAft>
              <a:buSzPct val="115000"/>
            </a:pPr>
            <a:r>
              <a:rPr lang="en-US" sz="1800" dirty="0">
                <a:latin typeface="+mn-lt"/>
                <a:cs typeface="Calibri" panose="020F0502020204030204" pitchFamily="34" charset="0"/>
              </a:rPr>
              <a:t>Client-based </a:t>
            </a:r>
          </a:p>
          <a:p>
            <a:pPr algn="ctr">
              <a:lnSpc>
                <a:spcPct val="80000"/>
              </a:lnSpc>
              <a:spcAft>
                <a:spcPts val="0"/>
              </a:spcAft>
              <a:buSzPct val="115000"/>
            </a:pPr>
            <a:r>
              <a:rPr lang="en-US" sz="1800" dirty="0">
                <a:latin typeface="+mn-lt"/>
                <a:cs typeface="Calibri" panose="020F0502020204030204" pitchFamily="34" charset="0"/>
              </a:rPr>
              <a:t>or </a:t>
            </a:r>
          </a:p>
          <a:p>
            <a:pPr algn="ctr">
              <a:lnSpc>
                <a:spcPct val="80000"/>
              </a:lnSpc>
              <a:spcAft>
                <a:spcPts val="0"/>
              </a:spcAft>
              <a:buSzPct val="115000"/>
            </a:pPr>
            <a:r>
              <a:rPr lang="en-US" sz="1800" dirty="0">
                <a:latin typeface="+mn-lt"/>
                <a:cs typeface="Calibri" panose="020F0502020204030204" pitchFamily="34" charset="0"/>
              </a:rPr>
              <a:t>clientless</a:t>
            </a:r>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67806" y="592282"/>
            <a:ext cx="1532045" cy="640080"/>
          </a:xfrm>
          <a:prstGeom prst="rect">
            <a:avLst/>
          </a:prstGeom>
        </p:spPr>
      </p:pic>
    </p:spTree>
    <p:extLst>
      <p:ext uri="{BB962C8B-B14F-4D97-AF65-F5344CB8AC3E}">
        <p14:creationId xmlns:p14="http://schemas.microsoft.com/office/powerpoint/2010/main" val="382852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wipe(right)">
                                      <p:cBhvr>
                                        <p:cTn id="11" dur="500"/>
                                        <p:tgtEl>
                                          <p:spTgt spid="5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92"/>
                                        </p:tgtEl>
                                        <p:attrNameLst>
                                          <p:attrName>style.visibility</p:attrName>
                                        </p:attrNameLst>
                                      </p:cBhvr>
                                      <p:to>
                                        <p:strVal val="visible"/>
                                      </p:to>
                                    </p:set>
                                    <p:animEffect transition="in" filter="wipe(up)">
                                      <p:cBhvr>
                                        <p:cTn id="15" dur="500"/>
                                        <p:tgtEl>
                                          <p:spTgt spid="92"/>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wipe(down)">
                                      <p:cBhvr>
                                        <p:cTn id="19" dur="500"/>
                                        <p:tgtEl>
                                          <p:spTgt spid="89"/>
                                        </p:tgtEl>
                                      </p:cBhvr>
                                    </p:animEffect>
                                  </p:childTnLst>
                                </p:cTn>
                              </p:par>
                              <p:par>
                                <p:cTn id="20" presetID="22" presetClass="entr" presetSubtype="4" fill="hold" nodeType="withEffect">
                                  <p:stCondLst>
                                    <p:cond delay="0"/>
                                  </p:stCondLst>
                                  <p:childTnLst>
                                    <p:set>
                                      <p:cBhvr>
                                        <p:cTn id="21" dur="1" fill="hold">
                                          <p:stCondLst>
                                            <p:cond delay="0"/>
                                          </p:stCondLst>
                                        </p:cTn>
                                        <p:tgtEl>
                                          <p:spTgt spid="87"/>
                                        </p:tgtEl>
                                        <p:attrNameLst>
                                          <p:attrName>style.visibility</p:attrName>
                                        </p:attrNameLst>
                                      </p:cBhvr>
                                      <p:to>
                                        <p:strVal val="visible"/>
                                      </p:to>
                                    </p:set>
                                    <p:animEffect transition="in" filter="wipe(down)">
                                      <p:cBhvr>
                                        <p:cTn id="22" dur="500"/>
                                        <p:tgtEl>
                                          <p:spTgt spid="87"/>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 name="Google Shape;828;p12"/>
          <p:cNvSpPr txBox="1"/>
          <p:nvPr/>
        </p:nvSpPr>
        <p:spPr>
          <a:xfrm>
            <a:off x="600891" y="927257"/>
            <a:ext cx="8873187" cy="461624"/>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mn-lt"/>
                <a:cs typeface="Segoe UI" panose="020B0502040204020203" pitchFamily="34" charset="0"/>
              </a:rPr>
              <a:t>SECURE ACCESS TO CORPORATE APPLICATIONS</a:t>
            </a:r>
          </a:p>
        </p:txBody>
      </p:sp>
      <p:pic>
        <p:nvPicPr>
          <p:cNvPr id="7" name="Picture 6">
            <a:extLst>
              <a:ext uri="{FF2B5EF4-FFF2-40B4-BE49-F238E27FC236}">
                <a16:creationId xmlns:a16="http://schemas.microsoft.com/office/drawing/2014/main" id="{7EE5CD88-4180-4335-8AF4-ED0520E13E3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124825" y="0"/>
            <a:ext cx="4064000" cy="6858000"/>
          </a:xfrm>
          <a:prstGeom prst="rect">
            <a:avLst/>
          </a:prstGeom>
        </p:spPr>
      </p:pic>
      <p:cxnSp>
        <p:nvCxnSpPr>
          <p:cNvPr id="59" name="Straight Connector 58">
            <a:extLst>
              <a:ext uri="{FF2B5EF4-FFF2-40B4-BE49-F238E27FC236}">
                <a16:creationId xmlns:a16="http://schemas.microsoft.com/office/drawing/2014/main" id="{0423AC72-512E-45EE-8747-000E73B41500}"/>
              </a:ext>
            </a:extLst>
          </p:cNvPr>
          <p:cNvCxnSpPr>
            <a:cxnSpLocks/>
          </p:cNvCxnSpPr>
          <p:nvPr/>
        </p:nvCxnSpPr>
        <p:spPr bwMode="auto">
          <a:xfrm>
            <a:off x="5934456" y="3384805"/>
            <a:ext cx="2190369" cy="0"/>
          </a:xfrm>
          <a:prstGeom prst="line">
            <a:avLst/>
          </a:prstGeom>
          <a:noFill/>
          <a:ln w="73025" cap="sq" cmpd="sng" algn="ctr">
            <a:gradFill>
              <a:gsLst>
                <a:gs pos="0">
                  <a:schemeClr val="tx2">
                    <a:lumMod val="60000"/>
                    <a:lumOff val="40000"/>
                  </a:schemeClr>
                </a:gs>
                <a:gs pos="100000">
                  <a:schemeClr val="tx2">
                    <a:lumMod val="50000"/>
                  </a:schemeClr>
                </a:gs>
              </a:gsLst>
              <a:lin ang="0" scaled="0"/>
            </a:gradFill>
            <a:prstDash val="solid"/>
            <a:round/>
            <a:headEnd type="oval" w="sm" len="sm"/>
            <a:tailEnd type="oval" w="sm" len="sm"/>
          </a:ln>
          <a:effectLst/>
        </p:spPr>
      </p:cxnSp>
      <p:sp>
        <p:nvSpPr>
          <p:cNvPr id="2" name="Footer Placeholder 1" hidden="1"/>
          <p:cNvSpPr>
            <a:spLocks noGrp="1"/>
          </p:cNvSpPr>
          <p:nvPr>
            <p:ph type="ftr" sz="quarter" idx="11"/>
          </p:nvPr>
        </p:nvSpPr>
        <p:spPr/>
        <p:txBody>
          <a:bodyPr/>
          <a:lstStyle/>
          <a:p>
            <a:pPr>
              <a:buClr>
                <a:srgbClr val="FF0000"/>
              </a:buClr>
            </a:pPr>
            <a:r>
              <a:rPr lang="en-US" dirty="0">
                <a:solidFill>
                  <a:srgbClr val="FFFFFF">
                    <a:lumMod val="75000"/>
                  </a:srgbClr>
                </a:solidFill>
              </a:rPr>
              <a:t> [Internal Use] for Check Point employees​</a:t>
            </a:r>
          </a:p>
        </p:txBody>
      </p:sp>
      <p:sp>
        <p:nvSpPr>
          <p:cNvPr id="4" name="Date Placeholder 3" hidden="1"/>
          <p:cNvSpPr>
            <a:spLocks noGrp="1"/>
          </p:cNvSpPr>
          <p:nvPr>
            <p:ph type="dt" sz="half" idx="12"/>
          </p:nvPr>
        </p:nvSpPr>
        <p:spPr>
          <a:xfrm>
            <a:off x="-2991244" y="6356350"/>
            <a:ext cx="2843213" cy="365125"/>
          </a:xfrm>
        </p:spPr>
        <p:txBody>
          <a:bodyPr/>
          <a:lstStyle/>
          <a:p>
            <a:pPr>
              <a:buClr>
                <a:srgbClr val="FF0000"/>
              </a:buClr>
            </a:pPr>
            <a:endParaRPr lang="en-US" dirty="0">
              <a:solidFill>
                <a:srgbClr val="4D4D4F">
                  <a:tint val="75000"/>
                </a:srgbClr>
              </a:solidFill>
            </a:endParaRPr>
          </a:p>
        </p:txBody>
      </p:sp>
      <p:pic>
        <p:nvPicPr>
          <p:cNvPr id="56" name="Picture 55" descr="undefined">
            <a:extLst>
              <a:ext uri="{FF2B5EF4-FFF2-40B4-BE49-F238E27FC236}">
                <a16:creationId xmlns:a16="http://schemas.microsoft.com/office/drawing/2014/main" id="{36FBA7EC-F4CB-44EE-BEDB-D27436E706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807213" y="2308601"/>
            <a:ext cx="4127243" cy="2497321"/>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63" name="Rounded Rectangle 7">
            <a:extLst>
              <a:ext uri="{FF2B5EF4-FFF2-40B4-BE49-F238E27FC236}">
                <a16:creationId xmlns:a16="http://schemas.microsoft.com/office/drawing/2014/main" id="{2CC36586-1536-4038-9AE7-37ACEDFB4BBB}"/>
              </a:ext>
            </a:extLst>
          </p:cNvPr>
          <p:cNvSpPr/>
          <p:nvPr/>
        </p:nvSpPr>
        <p:spPr bwMode="auto">
          <a:xfrm>
            <a:off x="3755497" y="-141079"/>
            <a:ext cx="7863852" cy="485534"/>
          </a:xfrm>
          <a:prstGeom prst="rect">
            <a:avLst/>
          </a:prstGeom>
          <a:no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ts val="1200"/>
              </a:spcBef>
              <a:buClr>
                <a:srgbClr val="FF0000"/>
              </a:buClr>
              <a:buSzPct val="115000"/>
              <a:buFont typeface="Wingdings" pitchFamily="2" charset="2"/>
              <a:buNone/>
            </a:pPr>
            <a:endParaRPr lang="en-US" sz="2400" b="1" kern="1200" dirty="0">
              <a:solidFill>
                <a:srgbClr val="4D4D4F"/>
              </a:solidFill>
              <a:latin typeface="Segoe UI" panose="020B0502040204020203" pitchFamily="34" charset="0"/>
              <a:ea typeface="+mn-ea"/>
              <a:cs typeface="Segoe UI" panose="020B0502040204020203" pitchFamily="34" charset="0"/>
            </a:endParaRPr>
          </a:p>
        </p:txBody>
      </p:sp>
      <p:pic>
        <p:nvPicPr>
          <p:cNvPr id="65" name="Picture 64">
            <a:extLst>
              <a:ext uri="{FF2B5EF4-FFF2-40B4-BE49-F238E27FC236}">
                <a16:creationId xmlns:a16="http://schemas.microsoft.com/office/drawing/2014/main" id="{983825DE-A96D-453C-A231-890C636B9C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790056" y="2308601"/>
            <a:ext cx="337055" cy="249328"/>
          </a:xfrm>
          <a:prstGeom prst="rect">
            <a:avLst/>
          </a:prstGeom>
        </p:spPr>
      </p:pic>
      <p:grpSp>
        <p:nvGrpSpPr>
          <p:cNvPr id="25" name="Group 24">
            <a:extLst>
              <a:ext uri="{FF2B5EF4-FFF2-40B4-BE49-F238E27FC236}">
                <a16:creationId xmlns:a16="http://schemas.microsoft.com/office/drawing/2014/main" id="{A7749A4A-62ED-4083-BC89-931531D48BCD}"/>
              </a:ext>
            </a:extLst>
          </p:cNvPr>
          <p:cNvGrpSpPr/>
          <p:nvPr/>
        </p:nvGrpSpPr>
        <p:grpSpPr>
          <a:xfrm>
            <a:off x="10759427" y="4590287"/>
            <a:ext cx="1224534" cy="998197"/>
            <a:chOff x="5604663" y="2320025"/>
            <a:chExt cx="2223881" cy="1812829"/>
          </a:xfrm>
        </p:grpSpPr>
        <p:sp>
          <p:nvSpPr>
            <p:cNvPr id="26" name="Freeform: Shape 25">
              <a:extLst>
                <a:ext uri="{FF2B5EF4-FFF2-40B4-BE49-F238E27FC236}">
                  <a16:creationId xmlns:a16="http://schemas.microsoft.com/office/drawing/2014/main" id="{81AE7230-3260-4C05-841C-8C8EBD3E3684}"/>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7" name="Freeform: Shape 26">
              <a:extLst>
                <a:ext uri="{FF2B5EF4-FFF2-40B4-BE49-F238E27FC236}">
                  <a16:creationId xmlns:a16="http://schemas.microsoft.com/office/drawing/2014/main" id="{64B605DB-D550-4162-8EF8-3B6CA93BABA4}"/>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8" name="Freeform: Shape 27">
              <a:extLst>
                <a:ext uri="{FF2B5EF4-FFF2-40B4-BE49-F238E27FC236}">
                  <a16:creationId xmlns:a16="http://schemas.microsoft.com/office/drawing/2014/main" id="{2A985256-5D4F-4A9A-B854-D362928AD33D}"/>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29" name="Freeform: Shape 28">
              <a:extLst>
                <a:ext uri="{FF2B5EF4-FFF2-40B4-BE49-F238E27FC236}">
                  <a16:creationId xmlns:a16="http://schemas.microsoft.com/office/drawing/2014/main" id="{636DA6C8-FBCB-41FC-B744-DF81EA5B1494}"/>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cxnSp>
        <p:nvCxnSpPr>
          <p:cNvPr id="30" name="C">
            <a:extLst>
              <a:ext uri="{FF2B5EF4-FFF2-40B4-BE49-F238E27FC236}">
                <a16:creationId xmlns:a16="http://schemas.microsoft.com/office/drawing/2014/main" id="{45658897-DCE4-491E-9A35-8D43CA48319C}"/>
              </a:ext>
            </a:extLst>
          </p:cNvPr>
          <p:cNvCxnSpPr>
            <a:cxnSpLocks/>
          </p:cNvCxnSpPr>
          <p:nvPr/>
        </p:nvCxnSpPr>
        <p:spPr bwMode="auto">
          <a:xfrm>
            <a:off x="8349126" y="3390657"/>
            <a:ext cx="2875037" cy="1184951"/>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a:extLst>
              <a:ext uri="{FF2B5EF4-FFF2-40B4-BE49-F238E27FC236}">
                <a16:creationId xmlns:a16="http://schemas.microsoft.com/office/drawing/2014/main" id="{2DE53781-70B0-4036-9AE0-BF2B653BAB8F}"/>
              </a:ext>
            </a:extLst>
          </p:cNvPr>
          <p:cNvSpPr/>
          <p:nvPr/>
        </p:nvSpPr>
        <p:spPr bwMode="auto">
          <a:xfrm>
            <a:off x="7680779" y="2976221"/>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21" name="Graphic 20">
            <a:extLst>
              <a:ext uri="{FF2B5EF4-FFF2-40B4-BE49-F238E27FC236}">
                <a16:creationId xmlns:a16="http://schemas.microsoft.com/office/drawing/2014/main" id="{DDCBD189-5074-4E8F-AE60-3081000F9E85}"/>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41306" y="3179065"/>
            <a:ext cx="507820" cy="423183"/>
          </a:xfrm>
          <a:prstGeom prst="rect">
            <a:avLst/>
          </a:prstGeom>
        </p:spPr>
      </p:pic>
      <p:sp>
        <p:nvSpPr>
          <p:cNvPr id="32" name="Google Shape;11;p56"/>
          <p:cNvSpPr txBox="1"/>
          <p:nvPr/>
        </p:nvSpPr>
        <p:spPr>
          <a:xfrm>
            <a:off x="9897959" y="6556249"/>
            <a:ext cx="1840451" cy="269820"/>
          </a:xfrm>
          <a:prstGeom prst="rect">
            <a:avLst/>
          </a:prstGeom>
          <a:noFill/>
          <a:ln>
            <a:noFill/>
          </a:ln>
        </p:spPr>
        <p:txBody>
          <a:bodyPr spcFirstLastPara="1" wrap="square" lIns="121875" tIns="60925" rIns="121875" bIns="60925" anchor="ctr" anchorCtr="0">
            <a:noAutofit/>
          </a:bodyPr>
          <a:lstStyle/>
          <a:p>
            <a:pPr marL="0" marR="0" lvl="0" indent="0" algn="r" rtl="0">
              <a:spcBef>
                <a:spcPts val="0"/>
              </a:spcBef>
              <a:spcAft>
                <a:spcPts val="0"/>
              </a:spcAft>
              <a:buClr>
                <a:schemeClr val="dk1"/>
              </a:buClr>
              <a:buSzPts val="1000"/>
              <a:buFont typeface="Noto Sans Symbols"/>
              <a:buNone/>
            </a:pPr>
            <a:fld id="{00000000-1234-1234-1234-123412341234}" type="slidenum">
              <a:rPr lang="en-US" sz="1000" b="0" i="0" u="none" strike="noStrike" cap="none">
                <a:solidFill>
                  <a:schemeClr val="dk1"/>
                </a:solidFill>
                <a:latin typeface="Calibri"/>
                <a:ea typeface="Calibri"/>
                <a:cs typeface="Calibri"/>
                <a:sym typeface="Calibri"/>
              </a:rPr>
              <a:t>13</a:t>
            </a:fld>
            <a:endParaRPr sz="1100" b="0" i="0" u="none" strike="noStrike" cap="none">
              <a:solidFill>
                <a:schemeClr val="dk1"/>
              </a:solidFill>
              <a:latin typeface="Calibri"/>
              <a:ea typeface="Calibri"/>
              <a:cs typeface="Calibri"/>
              <a:sym typeface="Calibri"/>
            </a:endParaRPr>
          </a:p>
        </p:txBody>
      </p:sp>
      <p:sp>
        <p:nvSpPr>
          <p:cNvPr id="33" name="Google Shape;12;p56"/>
          <p:cNvSpPr txBox="1"/>
          <p:nvPr/>
        </p:nvSpPr>
        <p:spPr>
          <a:xfrm>
            <a:off x="9080500" y="6542102"/>
            <a:ext cx="2744799" cy="304221"/>
          </a:xfrm>
          <a:prstGeom prst="rect">
            <a:avLst/>
          </a:prstGeom>
          <a:noFill/>
          <a:ln>
            <a:noFill/>
          </a:ln>
        </p:spPr>
        <p:txBody>
          <a:bodyPr spcFirstLastPara="1" wrap="square" lIns="121875" tIns="60925" rIns="121875" bIns="60925" anchor="ctr" anchorCtr="0">
            <a:noAutofit/>
          </a:bodyPr>
          <a:lstStyle/>
          <a:p>
            <a:pPr marL="0" marR="0" lvl="0" indent="0" algn="l" rtl="0">
              <a:spcBef>
                <a:spcPts val="0"/>
              </a:spcBef>
              <a:spcAft>
                <a:spcPts val="0"/>
              </a:spcAft>
              <a:buClr>
                <a:srgbClr val="B6B6B8"/>
              </a:buClr>
              <a:buSzPts val="900"/>
              <a:buFont typeface="Noto Sans Symbols"/>
              <a:buNone/>
            </a:pPr>
            <a:r>
              <a:rPr lang="en-US" sz="900" b="0" i="0" u="none" strike="noStrike" cap="none" dirty="0">
                <a:solidFill>
                  <a:srgbClr val="B6B6B8"/>
                </a:solidFill>
                <a:latin typeface="Calibri"/>
                <a:ea typeface="Calibri"/>
                <a:cs typeface="Calibri"/>
                <a:sym typeface="Calibri"/>
              </a:rPr>
              <a:t>©2021 Check Point Software Technologies Ltd. </a:t>
            </a:r>
            <a:endParaRPr dirty="0">
              <a:latin typeface="Calibri" panose="020F0502020204030204" pitchFamily="34" charset="0"/>
              <a:cs typeface="Calibri" panose="020F0502020204030204" pitchFamily="34" charset="0"/>
            </a:endParaRPr>
          </a:p>
        </p:txBody>
      </p:sp>
      <p:cxnSp>
        <p:nvCxnSpPr>
          <p:cNvPr id="34" name="Google Shape;14;p56"/>
          <p:cNvCxnSpPr/>
          <p:nvPr/>
        </p:nvCxnSpPr>
        <p:spPr>
          <a:xfrm>
            <a:off x="0" y="6505756"/>
            <a:ext cx="12188825" cy="3837"/>
          </a:xfrm>
          <a:prstGeom prst="straightConnector1">
            <a:avLst/>
          </a:prstGeom>
          <a:solidFill>
            <a:schemeClr val="lt1"/>
          </a:solidFill>
          <a:ln w="9525" cap="flat" cmpd="sng">
            <a:solidFill>
              <a:srgbClr val="D8D8D8"/>
            </a:solidFill>
            <a:prstDash val="solid"/>
            <a:round/>
            <a:headEnd type="none" w="sm" len="sm"/>
            <a:tailEnd type="none" w="sm" len="sm"/>
          </a:ln>
        </p:spPr>
      </p:cxnSp>
      <p:grpSp>
        <p:nvGrpSpPr>
          <p:cNvPr id="14" name="Group 13"/>
          <p:cNvGrpSpPr/>
          <p:nvPr/>
        </p:nvGrpSpPr>
        <p:grpSpPr>
          <a:xfrm>
            <a:off x="1651806" y="1849342"/>
            <a:ext cx="4321693" cy="3035808"/>
            <a:chOff x="1761828" y="1517884"/>
            <a:chExt cx="4321693" cy="3035808"/>
          </a:xfrm>
        </p:grpSpPr>
        <p:sp>
          <p:nvSpPr>
            <p:cNvPr id="5" name="Rounded Rectangle 4"/>
            <p:cNvSpPr/>
            <p:nvPr/>
          </p:nvSpPr>
          <p:spPr bwMode="auto">
            <a:xfrm>
              <a:off x="1761828" y="1517884"/>
              <a:ext cx="4321693" cy="3035808"/>
            </a:xfrm>
            <a:custGeom>
              <a:avLst/>
              <a:gdLst>
                <a:gd name="connsiteX0" fmla="*/ 0 w 4264542"/>
                <a:gd name="connsiteY0" fmla="*/ 505978 h 3035808"/>
                <a:gd name="connsiteX1" fmla="*/ 505978 w 4264542"/>
                <a:gd name="connsiteY1" fmla="*/ 0 h 3035808"/>
                <a:gd name="connsiteX2" fmla="*/ 3758564 w 4264542"/>
                <a:gd name="connsiteY2" fmla="*/ 0 h 3035808"/>
                <a:gd name="connsiteX3" fmla="*/ 4264542 w 4264542"/>
                <a:gd name="connsiteY3" fmla="*/ 505978 h 3035808"/>
                <a:gd name="connsiteX4" fmla="*/ 4264542 w 4264542"/>
                <a:gd name="connsiteY4" fmla="*/ 2529830 h 3035808"/>
                <a:gd name="connsiteX5" fmla="*/ 3758564 w 4264542"/>
                <a:gd name="connsiteY5" fmla="*/ 3035808 h 3035808"/>
                <a:gd name="connsiteX6" fmla="*/ 505978 w 4264542"/>
                <a:gd name="connsiteY6" fmla="*/ 3035808 h 3035808"/>
                <a:gd name="connsiteX7" fmla="*/ 0 w 4264542"/>
                <a:gd name="connsiteY7" fmla="*/ 2529830 h 3035808"/>
                <a:gd name="connsiteX8" fmla="*/ 0 w 4264542"/>
                <a:gd name="connsiteY8" fmla="*/ 505978 h 3035808"/>
                <a:gd name="connsiteX0" fmla="*/ 0 w 4264542"/>
                <a:gd name="connsiteY0" fmla="*/ 505978 h 3035808"/>
                <a:gd name="connsiteX1" fmla="*/ 505978 w 4264542"/>
                <a:gd name="connsiteY1" fmla="*/ 0 h 3035808"/>
                <a:gd name="connsiteX2" fmla="*/ 3758564 w 4264542"/>
                <a:gd name="connsiteY2" fmla="*/ 0 h 3035808"/>
                <a:gd name="connsiteX3" fmla="*/ 4256377 w 4264542"/>
                <a:gd name="connsiteY3" fmla="*/ 326363 h 3035808"/>
                <a:gd name="connsiteX4" fmla="*/ 4264542 w 4264542"/>
                <a:gd name="connsiteY4" fmla="*/ 2529830 h 3035808"/>
                <a:gd name="connsiteX5" fmla="*/ 3758564 w 4264542"/>
                <a:gd name="connsiteY5" fmla="*/ 3035808 h 3035808"/>
                <a:gd name="connsiteX6" fmla="*/ 505978 w 4264542"/>
                <a:gd name="connsiteY6" fmla="*/ 3035808 h 3035808"/>
                <a:gd name="connsiteX7" fmla="*/ 0 w 4264542"/>
                <a:gd name="connsiteY7" fmla="*/ 2529830 h 3035808"/>
                <a:gd name="connsiteX8" fmla="*/ 0 w 4264542"/>
                <a:gd name="connsiteY8" fmla="*/ 505978 h 3035808"/>
                <a:gd name="connsiteX0" fmla="*/ 0 w 4289035"/>
                <a:gd name="connsiteY0" fmla="*/ 326364 h 3035808"/>
                <a:gd name="connsiteX1" fmla="*/ 530471 w 4289035"/>
                <a:gd name="connsiteY1" fmla="*/ 0 h 3035808"/>
                <a:gd name="connsiteX2" fmla="*/ 3783057 w 4289035"/>
                <a:gd name="connsiteY2" fmla="*/ 0 h 3035808"/>
                <a:gd name="connsiteX3" fmla="*/ 4280870 w 4289035"/>
                <a:gd name="connsiteY3" fmla="*/ 326363 h 3035808"/>
                <a:gd name="connsiteX4" fmla="*/ 4289035 w 4289035"/>
                <a:gd name="connsiteY4" fmla="*/ 2529830 h 3035808"/>
                <a:gd name="connsiteX5" fmla="*/ 3783057 w 4289035"/>
                <a:gd name="connsiteY5" fmla="*/ 3035808 h 3035808"/>
                <a:gd name="connsiteX6" fmla="*/ 530471 w 4289035"/>
                <a:gd name="connsiteY6" fmla="*/ 3035808 h 3035808"/>
                <a:gd name="connsiteX7" fmla="*/ 24493 w 4289035"/>
                <a:gd name="connsiteY7" fmla="*/ 2529830 h 3035808"/>
                <a:gd name="connsiteX8" fmla="*/ 0 w 4289035"/>
                <a:gd name="connsiteY8" fmla="*/ 326364 h 3035808"/>
                <a:gd name="connsiteX0" fmla="*/ 0 w 4321693"/>
                <a:gd name="connsiteY0" fmla="*/ 326364 h 3035808"/>
                <a:gd name="connsiteX1" fmla="*/ 530471 w 4321693"/>
                <a:gd name="connsiteY1" fmla="*/ 0 h 3035808"/>
                <a:gd name="connsiteX2" fmla="*/ 3783057 w 4321693"/>
                <a:gd name="connsiteY2" fmla="*/ 0 h 3035808"/>
                <a:gd name="connsiteX3" fmla="*/ 4280870 w 4321693"/>
                <a:gd name="connsiteY3" fmla="*/ 326363 h 3035808"/>
                <a:gd name="connsiteX4" fmla="*/ 4321693 w 4321693"/>
                <a:gd name="connsiteY4" fmla="*/ 2725773 h 3035808"/>
                <a:gd name="connsiteX5" fmla="*/ 3783057 w 4321693"/>
                <a:gd name="connsiteY5" fmla="*/ 3035808 h 3035808"/>
                <a:gd name="connsiteX6" fmla="*/ 530471 w 4321693"/>
                <a:gd name="connsiteY6" fmla="*/ 3035808 h 3035808"/>
                <a:gd name="connsiteX7" fmla="*/ 24493 w 4321693"/>
                <a:gd name="connsiteY7" fmla="*/ 2529830 h 3035808"/>
                <a:gd name="connsiteX8" fmla="*/ 0 w 4321693"/>
                <a:gd name="connsiteY8" fmla="*/ 326364 h 3035808"/>
                <a:gd name="connsiteX0" fmla="*/ 0 w 4321693"/>
                <a:gd name="connsiteY0" fmla="*/ 326364 h 3035808"/>
                <a:gd name="connsiteX1" fmla="*/ 530471 w 4321693"/>
                <a:gd name="connsiteY1" fmla="*/ 0 h 3035808"/>
                <a:gd name="connsiteX2" fmla="*/ 3783057 w 4321693"/>
                <a:gd name="connsiteY2" fmla="*/ 0 h 3035808"/>
                <a:gd name="connsiteX3" fmla="*/ 4280870 w 4321693"/>
                <a:gd name="connsiteY3" fmla="*/ 326363 h 3035808"/>
                <a:gd name="connsiteX4" fmla="*/ 4321693 w 4321693"/>
                <a:gd name="connsiteY4" fmla="*/ 2725773 h 3035808"/>
                <a:gd name="connsiteX5" fmla="*/ 3783057 w 4321693"/>
                <a:gd name="connsiteY5" fmla="*/ 3035808 h 3035808"/>
                <a:gd name="connsiteX6" fmla="*/ 530471 w 4321693"/>
                <a:gd name="connsiteY6" fmla="*/ 3035808 h 3035808"/>
                <a:gd name="connsiteX7" fmla="*/ 16328 w 4321693"/>
                <a:gd name="connsiteY7" fmla="*/ 2733937 h 3035808"/>
                <a:gd name="connsiteX8" fmla="*/ 0 w 4321693"/>
                <a:gd name="connsiteY8" fmla="*/ 326364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1693" h="3035808">
                  <a:moveTo>
                    <a:pt x="0" y="326364"/>
                  </a:moveTo>
                  <a:cubicBezTo>
                    <a:pt x="0" y="46920"/>
                    <a:pt x="251027" y="0"/>
                    <a:pt x="530471" y="0"/>
                  </a:cubicBezTo>
                  <a:lnTo>
                    <a:pt x="3783057" y="0"/>
                  </a:lnTo>
                  <a:cubicBezTo>
                    <a:pt x="4062501" y="0"/>
                    <a:pt x="4280870" y="46919"/>
                    <a:pt x="4280870" y="326363"/>
                  </a:cubicBezTo>
                  <a:cubicBezTo>
                    <a:pt x="4280870" y="1000980"/>
                    <a:pt x="4321693" y="2051156"/>
                    <a:pt x="4321693" y="2725773"/>
                  </a:cubicBezTo>
                  <a:cubicBezTo>
                    <a:pt x="4321693" y="3005217"/>
                    <a:pt x="4062501" y="3035808"/>
                    <a:pt x="3783057" y="3035808"/>
                  </a:cubicBezTo>
                  <a:lnTo>
                    <a:pt x="530471" y="3035808"/>
                  </a:lnTo>
                  <a:cubicBezTo>
                    <a:pt x="251027" y="3035808"/>
                    <a:pt x="16328" y="3013381"/>
                    <a:pt x="16328" y="2733937"/>
                  </a:cubicBezTo>
                  <a:lnTo>
                    <a:pt x="0" y="326364"/>
                  </a:lnTo>
                  <a:close/>
                </a:path>
              </a:pathLst>
            </a:custGeom>
            <a:noFill/>
            <a:ln w="57150" algn="ctr">
              <a:solidFill>
                <a:srgbClr val="B60E56"/>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cxnSp>
          <p:nvCxnSpPr>
            <p:cNvPr id="8" name="Straight Connector 7"/>
            <p:cNvCxnSpPr/>
            <p:nvPr/>
          </p:nvCxnSpPr>
          <p:spPr bwMode="auto">
            <a:xfrm flipH="1">
              <a:off x="1761828" y="1877051"/>
              <a:ext cx="4280869" cy="31007"/>
            </a:xfrm>
            <a:prstGeom prst="line">
              <a:avLst/>
            </a:prstGeom>
            <a:solidFill>
              <a:schemeClr val="bg1"/>
            </a:solidFill>
            <a:ln w="571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Oval 10"/>
            <p:cNvSpPr/>
            <p:nvPr/>
          </p:nvSpPr>
          <p:spPr bwMode="auto">
            <a:xfrm>
              <a:off x="2138583" y="1668622"/>
              <a:ext cx="116703" cy="122513"/>
            </a:xfrm>
            <a:prstGeom prst="ellipse">
              <a:avLst/>
            </a:prstGeom>
            <a:solidFill>
              <a:schemeClr val="bg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37" name="Oval 36"/>
            <p:cNvSpPr/>
            <p:nvPr/>
          </p:nvSpPr>
          <p:spPr bwMode="auto">
            <a:xfrm>
              <a:off x="2363664" y="1673706"/>
              <a:ext cx="116703" cy="122513"/>
            </a:xfrm>
            <a:prstGeom prst="ellipse">
              <a:avLst/>
            </a:prstGeom>
            <a:solidFill>
              <a:schemeClr val="bg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38" name="Oval 37"/>
            <p:cNvSpPr/>
            <p:nvPr/>
          </p:nvSpPr>
          <p:spPr bwMode="auto">
            <a:xfrm>
              <a:off x="2597157" y="1673775"/>
              <a:ext cx="116703" cy="122513"/>
            </a:xfrm>
            <a:prstGeom prst="ellipse">
              <a:avLst/>
            </a:prstGeom>
            <a:solidFill>
              <a:schemeClr val="bg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12" name="Rounded Rectangle 11"/>
            <p:cNvSpPr/>
            <p:nvPr/>
          </p:nvSpPr>
          <p:spPr bwMode="auto">
            <a:xfrm>
              <a:off x="3183729" y="1648891"/>
              <a:ext cx="2465614" cy="122513"/>
            </a:xfrm>
            <a:prstGeom prst="roundRect">
              <a:avLst/>
            </a:prstGeom>
            <a:noFill/>
            <a:ln w="12700" algn="ctr">
              <a:solidFill>
                <a:srgbClr val="B60E56"/>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grpSp>
      <p:sp>
        <p:nvSpPr>
          <p:cNvPr id="17" name="Rectangle 16"/>
          <p:cNvSpPr/>
          <p:nvPr/>
        </p:nvSpPr>
        <p:spPr>
          <a:xfrm>
            <a:off x="6050239" y="1953963"/>
            <a:ext cx="1627415" cy="1200329"/>
          </a:xfrm>
          <a:prstGeom prst="rect">
            <a:avLst/>
          </a:prstGeom>
        </p:spPr>
        <p:txBody>
          <a:bodyPr wrap="square">
            <a:spAutoFit/>
          </a:bodyPr>
          <a:lstStyle/>
          <a:p>
            <a:pPr fontAlgn="base">
              <a:spcAft>
                <a:spcPct val="0"/>
              </a:spcAft>
              <a:buClr>
                <a:srgbClr val="FF0000"/>
              </a:buClr>
              <a:buSzPct val="65000"/>
            </a:pPr>
            <a:r>
              <a:rPr lang="en-US" sz="1800" b="1" kern="1200" dirty="0">
                <a:solidFill>
                  <a:schemeClr val="tx1"/>
                </a:solidFill>
                <a:latin typeface="+mn-lt"/>
                <a:cs typeface="Segoe UI" panose="020B0502040204020203" pitchFamily="34" charset="0"/>
              </a:rPr>
              <a:t>CLIENTLESS </a:t>
            </a:r>
            <a:endParaRPr lang="en-US" sz="1800" dirty="0">
              <a:latin typeface="+mn-lt"/>
              <a:cs typeface="Calibri" panose="020F0502020204030204" pitchFamily="34" charset="0"/>
            </a:endParaRPr>
          </a:p>
          <a:p>
            <a:pPr fontAlgn="base">
              <a:spcAft>
                <a:spcPct val="0"/>
              </a:spcAft>
              <a:buClr>
                <a:srgbClr val="FF0000"/>
              </a:buClr>
              <a:buSzPct val="65000"/>
              <a:buFont typeface="Wingdings" pitchFamily="2" charset="2"/>
              <a:buNone/>
            </a:pPr>
            <a:r>
              <a:rPr lang="en-US" sz="1800" b="1" kern="1200" dirty="0">
                <a:solidFill>
                  <a:schemeClr val="bg2"/>
                </a:solidFill>
                <a:latin typeface="+mn-lt"/>
                <a:cs typeface="Segoe UI" panose="020B0502040204020203" pitchFamily="34" charset="0"/>
              </a:rPr>
              <a:t>ZERO TRUST NETWORK ACCESS (ZTNA)</a:t>
            </a:r>
          </a:p>
        </p:txBody>
      </p:sp>
      <p:sp>
        <p:nvSpPr>
          <p:cNvPr id="47" name="Google Shape;4955;p32"/>
          <p:cNvSpPr txBox="1"/>
          <p:nvPr/>
        </p:nvSpPr>
        <p:spPr>
          <a:xfrm>
            <a:off x="-913320" y="5258592"/>
            <a:ext cx="9951466" cy="400069"/>
          </a:xfrm>
          <a:prstGeom prst="rect">
            <a:avLst/>
          </a:prstGeom>
          <a:noFill/>
          <a:ln>
            <a:noFill/>
          </a:ln>
        </p:spPr>
        <p:txBody>
          <a:bodyPr spcFirstLastPara="1" wrap="square" lIns="91425" tIns="45700" rIns="91425" bIns="45700" anchor="ctr" anchorCtr="0">
            <a:spAutoFit/>
          </a:bodyPr>
          <a:lstStyle/>
          <a:p>
            <a:pPr algn="ctr"/>
            <a:r>
              <a:rPr lang="en-US" sz="2000" dirty="0">
                <a:solidFill>
                  <a:schemeClr val="dk1"/>
                </a:solidFill>
                <a:latin typeface="+mn-lt"/>
                <a:cs typeface="Calibri" panose="020F0502020204030204" pitchFamily="34" charset="0"/>
                <a:sym typeface="Arial"/>
              </a:rPr>
              <a:t>Access </a:t>
            </a:r>
            <a:r>
              <a:rPr lang="en-US" sz="2000" b="1" dirty="0">
                <a:solidFill>
                  <a:schemeClr val="dk1"/>
                </a:solidFill>
                <a:latin typeface="+mn-lt"/>
                <a:cs typeface="Calibri" panose="020F0502020204030204" pitchFamily="34" charset="0"/>
                <a:sym typeface="Arial"/>
              </a:rPr>
              <a:t>any application </a:t>
            </a:r>
            <a:r>
              <a:rPr lang="en-US" sz="2000" dirty="0">
                <a:solidFill>
                  <a:schemeClr val="dk1"/>
                </a:solidFill>
                <a:latin typeface="+mn-lt"/>
                <a:cs typeface="Calibri" panose="020F0502020204030204" pitchFamily="34" charset="0"/>
              </a:rPr>
              <a:t>|</a:t>
            </a:r>
            <a:r>
              <a:rPr lang="en-US" sz="2000" dirty="0">
                <a:solidFill>
                  <a:schemeClr val="dk1"/>
                </a:solidFill>
                <a:latin typeface="+mn-lt"/>
                <a:cs typeface="Calibri" panose="020F0502020204030204" pitchFamily="34" charset="0"/>
                <a:sym typeface="Arial"/>
              </a:rPr>
              <a:t> </a:t>
            </a:r>
            <a:r>
              <a:rPr lang="en-US" sz="2000" dirty="0">
                <a:solidFill>
                  <a:schemeClr val="dk1"/>
                </a:solidFill>
                <a:latin typeface="+mn-lt"/>
                <a:cs typeface="Calibri" panose="020F0502020204030204" pitchFamily="34" charset="0"/>
              </a:rPr>
              <a:t>From </a:t>
            </a:r>
            <a:r>
              <a:rPr lang="en-US" sz="2000" b="1" dirty="0">
                <a:solidFill>
                  <a:schemeClr val="dk1"/>
                </a:solidFill>
                <a:latin typeface="+mn-lt"/>
                <a:cs typeface="Calibri" panose="020F0502020204030204" pitchFamily="34" charset="0"/>
              </a:rPr>
              <a:t>any device</a:t>
            </a:r>
            <a:r>
              <a:rPr lang="en-US" sz="2000" dirty="0">
                <a:latin typeface="+mn-lt"/>
                <a:cs typeface="Calibri" panose="020F0502020204030204" pitchFamily="34" charset="0"/>
              </a:rPr>
              <a:t> | </a:t>
            </a:r>
            <a:r>
              <a:rPr lang="en-US" sz="2000" dirty="0">
                <a:solidFill>
                  <a:schemeClr val="dk1"/>
                </a:solidFill>
                <a:latin typeface="+mn-lt"/>
                <a:cs typeface="Calibri" panose="020F0502020204030204" pitchFamily="34" charset="0"/>
              </a:rPr>
              <a:t>Using</a:t>
            </a:r>
            <a:r>
              <a:rPr lang="en-US" sz="2000" dirty="0">
                <a:solidFill>
                  <a:schemeClr val="dk1"/>
                </a:solidFill>
                <a:latin typeface="+mn-lt"/>
                <a:cs typeface="Calibri" panose="020F0502020204030204" pitchFamily="34" charset="0"/>
                <a:sym typeface="Arial"/>
              </a:rPr>
              <a:t> a </a:t>
            </a:r>
            <a:r>
              <a:rPr lang="en-US" sz="2000" b="1" dirty="0">
                <a:solidFill>
                  <a:schemeClr val="dk1"/>
                </a:solidFill>
                <a:latin typeface="+mn-lt"/>
                <a:cs typeface="Calibri" panose="020F0502020204030204" pitchFamily="34" charset="0"/>
                <a:sym typeface="Arial"/>
              </a:rPr>
              <a:t>web browser</a:t>
            </a:r>
            <a:endParaRPr sz="2000" b="1" dirty="0">
              <a:latin typeface="+mn-lt"/>
              <a:cs typeface="Calibri" panose="020F0502020204030204" pitchFamily="34" charset="0"/>
            </a:endParaRPr>
          </a:p>
        </p:txBody>
      </p:sp>
      <p:sp>
        <p:nvSpPr>
          <p:cNvPr id="48" name="Google Shape;4956;p32"/>
          <p:cNvSpPr/>
          <p:nvPr/>
        </p:nvSpPr>
        <p:spPr>
          <a:xfrm>
            <a:off x="665200" y="5864372"/>
            <a:ext cx="7022223" cy="443777"/>
          </a:xfrm>
          <a:prstGeom prst="roundRect">
            <a:avLst>
              <a:gd name="adj" fmla="val 50000"/>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800" b="1" dirty="0">
                <a:solidFill>
                  <a:schemeClr val="lt1"/>
                </a:solidFill>
                <a:latin typeface="+mn-lt"/>
                <a:ea typeface="Helvetica Neue"/>
                <a:cs typeface="Helvetica Neue"/>
                <a:sym typeface="Helvetica Neue"/>
              </a:rPr>
              <a:t>As easy as connecting to SaaS!</a:t>
            </a:r>
            <a:endParaRPr sz="1600" dirty="0">
              <a:solidFill>
                <a:schemeClr val="lt1"/>
              </a:solidFill>
              <a:latin typeface="+mn-lt"/>
              <a:cs typeface="Calibri" panose="020F0502020204030204" pitchFamily="34" charset="0"/>
              <a:sym typeface="Arial"/>
            </a:endParaRP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200" y="277718"/>
            <a:ext cx="1532045" cy="640080"/>
          </a:xfrm>
          <a:prstGeom prst="rect">
            <a:avLst/>
          </a:prstGeom>
        </p:spPr>
      </p:pic>
    </p:spTree>
    <p:extLst>
      <p:ext uri="{BB962C8B-B14F-4D97-AF65-F5344CB8AC3E}">
        <p14:creationId xmlns:p14="http://schemas.microsoft.com/office/powerpoint/2010/main" val="30048526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right)">
                                      <p:cBhvr>
                                        <p:cTn id="1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970"/>
        <p:cNvGrpSpPr/>
        <p:nvPr/>
      </p:nvGrpSpPr>
      <p:grpSpPr>
        <a:xfrm>
          <a:off x="0" y="0"/>
          <a:ext cx="0" cy="0"/>
          <a:chOff x="0" y="0"/>
          <a:chExt cx="0" cy="0"/>
        </a:xfrm>
      </p:grpSpPr>
      <p:sp>
        <p:nvSpPr>
          <p:cNvPr id="37" name="Freeform: Shape 4">
            <a:extLst>
              <a:ext uri="{FF2B5EF4-FFF2-40B4-BE49-F238E27FC236}">
                <a16:creationId xmlns:a16="http://schemas.microsoft.com/office/drawing/2014/main" id="{869C42A6-A3A9-4845-AF6B-936BA4BFC176}"/>
              </a:ext>
            </a:extLst>
          </p:cNvPr>
          <p:cNvSpPr/>
          <p:nvPr/>
        </p:nvSpPr>
        <p:spPr bwMode="auto">
          <a:xfrm>
            <a:off x="3495554" y="2329975"/>
            <a:ext cx="4629271" cy="1148490"/>
          </a:xfrm>
          <a:custGeom>
            <a:avLst/>
            <a:gdLst>
              <a:gd name="connsiteX0" fmla="*/ 1214845 w 1214845"/>
              <a:gd name="connsiteY0" fmla="*/ 1097280 h 1097280"/>
              <a:gd name="connsiteX1" fmla="*/ 666205 w 1214845"/>
              <a:gd name="connsiteY1" fmla="*/ 1097280 h 1097280"/>
              <a:gd name="connsiteX2" fmla="*/ 666205 w 1214845"/>
              <a:gd name="connsiteY2" fmla="*/ 0 h 1097280"/>
              <a:gd name="connsiteX3" fmla="*/ 0 w 1214845"/>
              <a:gd name="connsiteY3" fmla="*/ 0 h 1097280"/>
              <a:gd name="connsiteX0" fmla="*/ 2220685 w 2220685"/>
              <a:gd name="connsiteY0" fmla="*/ 1110342 h 1110342"/>
              <a:gd name="connsiteX1" fmla="*/ 1672045 w 2220685"/>
              <a:gd name="connsiteY1" fmla="*/ 1110342 h 1110342"/>
              <a:gd name="connsiteX2" fmla="*/ 1672045 w 2220685"/>
              <a:gd name="connsiteY2" fmla="*/ 13062 h 1110342"/>
              <a:gd name="connsiteX3" fmla="*/ 0 w 2220685"/>
              <a:gd name="connsiteY3" fmla="*/ 0 h 1110342"/>
              <a:gd name="connsiteX0" fmla="*/ 1998616 w 1998616"/>
              <a:gd name="connsiteY0" fmla="*/ 1110342 h 1110342"/>
              <a:gd name="connsiteX1" fmla="*/ 1449976 w 1998616"/>
              <a:gd name="connsiteY1" fmla="*/ 1110342 h 1110342"/>
              <a:gd name="connsiteX2" fmla="*/ 1449976 w 1998616"/>
              <a:gd name="connsiteY2" fmla="*/ 13062 h 1110342"/>
              <a:gd name="connsiteX3" fmla="*/ 0 w 1998616"/>
              <a:gd name="connsiteY3" fmla="*/ 0 h 1110342"/>
            </a:gdLst>
            <a:ahLst/>
            <a:cxnLst>
              <a:cxn ang="0">
                <a:pos x="connsiteX0" y="connsiteY0"/>
              </a:cxn>
              <a:cxn ang="0">
                <a:pos x="connsiteX1" y="connsiteY1"/>
              </a:cxn>
              <a:cxn ang="0">
                <a:pos x="connsiteX2" y="connsiteY2"/>
              </a:cxn>
              <a:cxn ang="0">
                <a:pos x="connsiteX3" y="connsiteY3"/>
              </a:cxn>
            </a:cxnLst>
            <a:rect l="l" t="t" r="r" b="b"/>
            <a:pathLst>
              <a:path w="1998616" h="1110342">
                <a:moveTo>
                  <a:pt x="1998616" y="1110342"/>
                </a:moveTo>
                <a:lnTo>
                  <a:pt x="1449976" y="1110342"/>
                </a:lnTo>
                <a:lnTo>
                  <a:pt x="1449976" y="13062"/>
                </a:lnTo>
                <a:lnTo>
                  <a:pt x="0" y="0"/>
                </a:lnTo>
              </a:path>
            </a:pathLst>
          </a:custGeom>
          <a:noFill/>
          <a:ln w="73025" cap="sq" cmpd="sng" algn="ctr">
            <a:gradFill>
              <a:gsLst>
                <a:gs pos="0">
                  <a:schemeClr val="tx2">
                    <a:lumMod val="60000"/>
                    <a:lumOff val="40000"/>
                  </a:schemeClr>
                </a:gs>
                <a:gs pos="100000">
                  <a:schemeClr val="tx2">
                    <a:lumMod val="50000"/>
                  </a:schemeClr>
                </a:gs>
              </a:gsLst>
              <a:lin ang="0" scaled="0"/>
            </a:gradFill>
            <a:prstDash val="solid"/>
            <a:round/>
            <a:headEnd type="oval" w="sm" len="sm"/>
            <a:tailEnd type="oval" w="sm" len="sm"/>
          </a:ln>
          <a:effectLst/>
        </p:spPr>
        <p:txBody>
          <a:bodyPr rtlCol="0" anchor="ctr"/>
          <a:lstStyle/>
          <a:p>
            <a:pPr algn="ctr" fontAlgn="base">
              <a:spcBef>
                <a:spcPct val="20000"/>
              </a:spcBef>
              <a:spcAft>
                <a:spcPct val="0"/>
              </a:spcAft>
              <a:buClr>
                <a:srgbClr val="FF0000"/>
              </a:buClr>
              <a:buSzPct val="65000"/>
              <a:buFont typeface="Wingdings" pitchFamily="2" charset="2"/>
              <a:buNone/>
            </a:pPr>
            <a:endParaRPr lang="en-US" sz="4000" kern="1200" dirty="0">
              <a:solidFill>
                <a:srgbClr val="4D4D4F"/>
              </a:solidFill>
              <a:latin typeface="Helvetica" pitchFamily="34" charset="0"/>
              <a:ea typeface="+mn-ea"/>
              <a:cs typeface="Calibri" panose="020F0502020204030204" pitchFamily="34" charset="0"/>
            </a:endParaRPr>
          </a:p>
        </p:txBody>
      </p:sp>
      <p:sp>
        <p:nvSpPr>
          <p:cNvPr id="4977" name="Google Shape;4977;p34"/>
          <p:cNvSpPr txBox="1"/>
          <p:nvPr/>
        </p:nvSpPr>
        <p:spPr>
          <a:xfrm>
            <a:off x="605643" y="4706698"/>
            <a:ext cx="4326795" cy="400069"/>
          </a:xfrm>
          <a:prstGeom prst="rect">
            <a:avLst/>
          </a:prstGeom>
          <a:noFill/>
          <a:ln>
            <a:noFill/>
          </a:ln>
        </p:spPr>
        <p:txBody>
          <a:bodyPr spcFirstLastPara="1" wrap="square" lIns="91425" tIns="45700" rIns="91425" bIns="45700" anchor="t" anchorCtr="0">
            <a:spAutoFit/>
          </a:bodyPr>
          <a:lstStyle/>
          <a:p>
            <a:pPr marL="354015" marR="0" lvl="1" indent="-342900" algn="l" rtl="0">
              <a:spcBef>
                <a:spcPts val="0"/>
              </a:spcBef>
              <a:spcAft>
                <a:spcPts val="0"/>
              </a:spcAft>
              <a:buClr>
                <a:schemeClr val="tx2"/>
              </a:buClr>
              <a:buSzPts val="1170"/>
              <a:buFont typeface="Arial" panose="020B0604020202020204" pitchFamily="34" charset="0"/>
              <a:buChar char="•"/>
            </a:pPr>
            <a:r>
              <a:rPr lang="en-US" sz="2000" b="0"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Prevents </a:t>
            </a:r>
            <a:r>
              <a:rPr lang="en-US" sz="2000" b="1"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malware download </a:t>
            </a:r>
            <a:endParaRPr sz="1600" dirty="0">
              <a:latin typeface="Calibri" panose="020F0502020204030204" pitchFamily="34" charset="0"/>
              <a:cs typeface="Calibri" panose="020F0502020204030204" pitchFamily="34" charset="0"/>
            </a:endParaRPr>
          </a:p>
        </p:txBody>
      </p:sp>
      <p:sp>
        <p:nvSpPr>
          <p:cNvPr id="4978" name="Google Shape;4978;p34"/>
          <p:cNvSpPr txBox="1"/>
          <p:nvPr/>
        </p:nvSpPr>
        <p:spPr>
          <a:xfrm>
            <a:off x="574131" y="5246701"/>
            <a:ext cx="3415252" cy="400069"/>
          </a:xfrm>
          <a:prstGeom prst="rect">
            <a:avLst/>
          </a:prstGeom>
          <a:noFill/>
          <a:ln>
            <a:noFill/>
          </a:ln>
        </p:spPr>
        <p:txBody>
          <a:bodyPr spcFirstLastPara="1" wrap="square" lIns="91425" tIns="45700" rIns="91425" bIns="45700" anchor="t" anchorCtr="0">
            <a:spAutoFit/>
          </a:bodyPr>
          <a:lstStyle/>
          <a:p>
            <a:pPr marL="354015" marR="0" lvl="1" indent="-342900" algn="l" rtl="0">
              <a:spcBef>
                <a:spcPts val="0"/>
              </a:spcBef>
              <a:spcAft>
                <a:spcPts val="0"/>
              </a:spcAft>
              <a:buClr>
                <a:schemeClr val="tx2"/>
              </a:buClr>
              <a:buSzPts val="1170"/>
              <a:buFont typeface="Arial" panose="020B0604020202020204" pitchFamily="34" charset="0"/>
              <a:buChar char="•"/>
            </a:pPr>
            <a:r>
              <a:rPr lang="en-US" sz="2000" b="0"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Prevents </a:t>
            </a:r>
            <a:r>
              <a:rPr lang="en-US" sz="2000" b="1"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phishing</a:t>
            </a:r>
            <a:r>
              <a:rPr lang="en-US" sz="2000" b="0"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 </a:t>
            </a:r>
            <a:endParaRPr sz="1600" dirty="0">
              <a:latin typeface="Calibri" panose="020F0502020204030204" pitchFamily="34" charset="0"/>
              <a:cs typeface="Calibri" panose="020F0502020204030204" pitchFamily="34" charset="0"/>
            </a:endParaRPr>
          </a:p>
        </p:txBody>
      </p:sp>
      <p:sp>
        <p:nvSpPr>
          <p:cNvPr id="4979" name="Google Shape;4979;p34"/>
          <p:cNvSpPr txBox="1"/>
          <p:nvPr/>
        </p:nvSpPr>
        <p:spPr>
          <a:xfrm>
            <a:off x="605643" y="5762032"/>
            <a:ext cx="5165779" cy="400069"/>
          </a:xfrm>
          <a:prstGeom prst="rect">
            <a:avLst/>
          </a:prstGeom>
          <a:noFill/>
          <a:ln>
            <a:noFill/>
          </a:ln>
        </p:spPr>
        <p:txBody>
          <a:bodyPr spcFirstLastPara="1" wrap="square" lIns="91425" tIns="45700" rIns="91425" bIns="45700" anchor="t" anchorCtr="0">
            <a:spAutoFit/>
          </a:bodyPr>
          <a:lstStyle/>
          <a:p>
            <a:pPr marL="354015" marR="0" lvl="1" indent="-342900" algn="l" rtl="0">
              <a:spcBef>
                <a:spcPts val="0"/>
              </a:spcBef>
              <a:spcAft>
                <a:spcPts val="0"/>
              </a:spcAft>
              <a:buClr>
                <a:schemeClr val="tx2"/>
              </a:buClr>
              <a:buSzPts val="1170"/>
              <a:buFont typeface="Arial" panose="020B0604020202020204" pitchFamily="34" charset="0"/>
              <a:buChar char="•"/>
            </a:pPr>
            <a:r>
              <a:rPr lang="en-US" sz="2000" b="0"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Prevents </a:t>
            </a:r>
            <a:r>
              <a:rPr lang="en-US" sz="2000" b="1" i="0" u="none" strike="noStrike" cap="none" dirty="0">
                <a:solidFill>
                  <a:schemeClr val="dk1"/>
                </a:solidFill>
                <a:latin typeface="Calibri" panose="020F0502020204030204" pitchFamily="34" charset="0"/>
                <a:ea typeface="Helvetica Neue"/>
                <a:cs typeface="Calibri" panose="020F0502020204030204" pitchFamily="34" charset="0"/>
                <a:sym typeface="Helvetica Neue"/>
              </a:rPr>
              <a:t>corporate password exposure </a:t>
            </a:r>
            <a:endParaRPr sz="1600" dirty="0">
              <a:latin typeface="Calibri" panose="020F0502020204030204" pitchFamily="34" charset="0"/>
              <a:cs typeface="Calibri" panose="020F0502020204030204" pitchFamily="34" charset="0"/>
            </a:endParaRPr>
          </a:p>
        </p:txBody>
      </p:sp>
      <p:sp>
        <p:nvSpPr>
          <p:cNvPr id="3" name="Date Placeholder 2" hidden="1"/>
          <p:cNvSpPr>
            <a:spLocks noGrp="1"/>
          </p:cNvSpPr>
          <p:nvPr>
            <p:ph type="dt" idx="10"/>
          </p:nvPr>
        </p:nvSpPr>
        <p:spPr/>
        <p:txBody>
          <a:bodyPr/>
          <a:lstStyle/>
          <a:p>
            <a:endParaRPr lang="en-US" dirty="0"/>
          </a:p>
        </p:txBody>
      </p:sp>
      <p:sp>
        <p:nvSpPr>
          <p:cNvPr id="2" name="Footer Placeholder 1" hidden="1"/>
          <p:cNvSpPr>
            <a:spLocks noGrp="1"/>
          </p:cNvSpPr>
          <p:nvPr>
            <p:ph type="ftr" sz="quarter" idx="11"/>
          </p:nvPr>
        </p:nvSpPr>
        <p:spPr/>
        <p:txBody>
          <a:bodyPr/>
          <a:lstStyle/>
          <a:p>
            <a:r>
              <a:rPr lang="en-US" dirty="0"/>
              <a:t> [Internal Use] for Check Point employees​</a:t>
            </a:r>
          </a:p>
        </p:txBody>
      </p:sp>
      <p:pic>
        <p:nvPicPr>
          <p:cNvPr id="38" name="Picture 37">
            <a:extLst>
              <a:ext uri="{FF2B5EF4-FFF2-40B4-BE49-F238E27FC236}">
                <a16:creationId xmlns:a16="http://schemas.microsoft.com/office/drawing/2014/main" id="{7EE5CD88-4180-4335-8AF4-ED0520E13E3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124825" y="0"/>
            <a:ext cx="4064000" cy="6858000"/>
          </a:xfrm>
          <a:prstGeom prst="rect">
            <a:avLst/>
          </a:prstGeom>
        </p:spPr>
      </p:pic>
      <p:grpSp>
        <p:nvGrpSpPr>
          <p:cNvPr id="39" name="Group 38">
            <a:extLst>
              <a:ext uri="{FF2B5EF4-FFF2-40B4-BE49-F238E27FC236}">
                <a16:creationId xmlns:a16="http://schemas.microsoft.com/office/drawing/2014/main" id="{A7749A4A-62ED-4083-BC89-931531D48BCD}"/>
              </a:ext>
            </a:extLst>
          </p:cNvPr>
          <p:cNvGrpSpPr/>
          <p:nvPr/>
        </p:nvGrpSpPr>
        <p:grpSpPr>
          <a:xfrm>
            <a:off x="10671510" y="4265467"/>
            <a:ext cx="760131" cy="619632"/>
            <a:chOff x="5604663" y="2320025"/>
            <a:chExt cx="2223881" cy="1812829"/>
          </a:xfrm>
        </p:grpSpPr>
        <p:sp>
          <p:nvSpPr>
            <p:cNvPr id="40" name="Freeform: Shape 25">
              <a:extLst>
                <a:ext uri="{FF2B5EF4-FFF2-40B4-BE49-F238E27FC236}">
                  <a16:creationId xmlns:a16="http://schemas.microsoft.com/office/drawing/2014/main" id="{81AE7230-3260-4C05-841C-8C8EBD3E3684}"/>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41" name="Freeform: Shape 26">
              <a:extLst>
                <a:ext uri="{FF2B5EF4-FFF2-40B4-BE49-F238E27FC236}">
                  <a16:creationId xmlns:a16="http://schemas.microsoft.com/office/drawing/2014/main" id="{64B605DB-D550-4162-8EF8-3B6CA93BABA4}"/>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42" name="Freeform: Shape 27">
              <a:extLst>
                <a:ext uri="{FF2B5EF4-FFF2-40B4-BE49-F238E27FC236}">
                  <a16:creationId xmlns:a16="http://schemas.microsoft.com/office/drawing/2014/main" id="{2A985256-5D4F-4A9A-B854-D362928AD33D}"/>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43" name="Freeform: Shape 28">
              <a:extLst>
                <a:ext uri="{FF2B5EF4-FFF2-40B4-BE49-F238E27FC236}">
                  <a16:creationId xmlns:a16="http://schemas.microsoft.com/office/drawing/2014/main" id="{636DA6C8-FBCB-41FC-B744-DF81EA5B1494}"/>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grpSp>
      <p:cxnSp>
        <p:nvCxnSpPr>
          <p:cNvPr id="44" name="C">
            <a:extLst>
              <a:ext uri="{FF2B5EF4-FFF2-40B4-BE49-F238E27FC236}">
                <a16:creationId xmlns:a16="http://schemas.microsoft.com/office/drawing/2014/main" id="{45658897-DCE4-491E-9A35-8D43CA48319C}"/>
              </a:ext>
            </a:extLst>
          </p:cNvPr>
          <p:cNvCxnSpPr>
            <a:cxnSpLocks/>
          </p:cNvCxnSpPr>
          <p:nvPr/>
        </p:nvCxnSpPr>
        <p:spPr bwMode="auto">
          <a:xfrm>
            <a:off x="8124825" y="3429000"/>
            <a:ext cx="2546685" cy="1122472"/>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Oval 44">
            <a:extLst>
              <a:ext uri="{FF2B5EF4-FFF2-40B4-BE49-F238E27FC236}">
                <a16:creationId xmlns:a16="http://schemas.microsoft.com/office/drawing/2014/main" id="{2DE53781-70B0-4036-9AE0-BF2B653BAB8F}"/>
              </a:ext>
            </a:extLst>
          </p:cNvPr>
          <p:cNvSpPr/>
          <p:nvPr/>
        </p:nvSpPr>
        <p:spPr bwMode="auto">
          <a:xfrm>
            <a:off x="7680779" y="2976221"/>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46" name="Graphic 20">
            <a:extLst>
              <a:ext uri="{FF2B5EF4-FFF2-40B4-BE49-F238E27FC236}">
                <a16:creationId xmlns:a16="http://schemas.microsoft.com/office/drawing/2014/main" id="{DDCBD189-5074-4E8F-AE60-3081000F9E8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41306" y="3179065"/>
            <a:ext cx="507820" cy="423183"/>
          </a:xfrm>
          <a:prstGeom prst="rect">
            <a:avLst/>
          </a:prstGeom>
        </p:spPr>
      </p:pic>
      <p:sp>
        <p:nvSpPr>
          <p:cNvPr id="59" name="Rectangle 58"/>
          <p:cNvSpPr/>
          <p:nvPr/>
        </p:nvSpPr>
        <p:spPr>
          <a:xfrm>
            <a:off x="3930196" y="2363482"/>
            <a:ext cx="3996395" cy="369332"/>
          </a:xfrm>
          <a:prstGeom prst="rect">
            <a:avLst/>
          </a:prstGeom>
        </p:spPr>
        <p:txBody>
          <a:bodyPr wrap="square">
            <a:spAutoFit/>
          </a:bodyPr>
          <a:lstStyle/>
          <a:p>
            <a:pPr fontAlgn="base">
              <a:buClr>
                <a:srgbClr val="FF0000"/>
              </a:buClr>
              <a:buSzPct val="115000"/>
              <a:buFont typeface="Wingdings" pitchFamily="2" charset="2"/>
              <a:buNone/>
            </a:pPr>
            <a:r>
              <a:rPr lang="en-US" sz="1800" b="1" kern="1200" dirty="0">
                <a:solidFill>
                  <a:srgbClr val="D51067"/>
                </a:solidFill>
                <a:latin typeface="Calibri" panose="020F0502020204030204" pitchFamily="34" charset="0"/>
                <a:cs typeface="Calibri" panose="020F0502020204030204" pitchFamily="34" charset="0"/>
              </a:rPr>
              <a:t>Powered by Nano Agents</a:t>
            </a:r>
          </a:p>
        </p:txBody>
      </p:sp>
      <p:grpSp>
        <p:nvGrpSpPr>
          <p:cNvPr id="4" name="Group 3"/>
          <p:cNvGrpSpPr/>
          <p:nvPr/>
        </p:nvGrpSpPr>
        <p:grpSpPr>
          <a:xfrm>
            <a:off x="181316" y="1594856"/>
            <a:ext cx="7033102" cy="3045509"/>
            <a:chOff x="3302378" y="1656310"/>
            <a:chExt cx="7033102" cy="3045509"/>
          </a:xfrm>
        </p:grpSpPr>
        <p:pic>
          <p:nvPicPr>
            <p:cNvPr id="1026" name="Picture 2" descr="Google Chrome - Wikipedia"/>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b="10288"/>
            <a:stretch/>
          </p:blipFill>
          <p:spPr bwMode="auto">
            <a:xfrm>
              <a:off x="3882960" y="2232325"/>
              <a:ext cx="3053226" cy="1944775"/>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3302378" y="1656310"/>
              <a:ext cx="4165948" cy="3045509"/>
              <a:chOff x="1574587" y="1809712"/>
              <a:chExt cx="4414434" cy="3075387"/>
            </a:xfrm>
          </p:grpSpPr>
          <p:grpSp>
            <p:nvGrpSpPr>
              <p:cNvPr id="8" name="Group 7"/>
              <p:cNvGrpSpPr/>
              <p:nvPr/>
            </p:nvGrpSpPr>
            <p:grpSpPr>
              <a:xfrm>
                <a:off x="1574587" y="1809712"/>
                <a:ext cx="4414434" cy="3075387"/>
                <a:chOff x="1574587" y="1809712"/>
                <a:chExt cx="4414434" cy="3075387"/>
              </a:xfrm>
            </p:grpSpPr>
            <p:grpSp>
              <p:nvGrpSpPr>
                <p:cNvPr id="6" name="Group 5"/>
                <p:cNvGrpSpPr/>
                <p:nvPr/>
              </p:nvGrpSpPr>
              <p:grpSpPr>
                <a:xfrm>
                  <a:off x="1574587" y="1809712"/>
                  <a:ext cx="4414434" cy="3075387"/>
                  <a:chOff x="-1152886" y="2202783"/>
                  <a:chExt cx="7022480" cy="4812373"/>
                </a:xfrm>
              </p:grpSpPr>
              <p:pic>
                <p:nvPicPr>
                  <p:cNvPr id="4972" name="Google Shape;4972;p34" descr="A picture containing object, web, night, tall  Description automatically generated"/>
                  <p:cNvPicPr preferRelativeResize="0"/>
                  <p:nvPr/>
                </p:nvPicPr>
                <p:blipFill rotWithShape="1">
                  <a:blip r:embed="rId7" cstate="print">
                    <a:alphaModFix/>
                    <a:extLst>
                      <a:ext uri="{28A0092B-C50C-407E-A947-70E740481C1C}">
                        <a14:useLocalDpi xmlns:a14="http://schemas.microsoft.com/office/drawing/2010/main"/>
                      </a:ext>
                    </a:extLst>
                  </a:blip>
                  <a:srcRect r="-19653"/>
                  <a:stretch/>
                </p:blipFill>
                <p:spPr>
                  <a:xfrm>
                    <a:off x="3861987" y="2202783"/>
                    <a:ext cx="1935309" cy="1935309"/>
                  </a:xfrm>
                  <a:prstGeom prst="ellipse">
                    <a:avLst/>
                  </a:prstGeom>
                  <a:noFill/>
                  <a:ln>
                    <a:noFill/>
                  </a:ln>
                </p:spPr>
              </p:pic>
              <p:sp>
                <p:nvSpPr>
                  <p:cNvPr id="4973" name="Google Shape;4973;p34"/>
                  <p:cNvSpPr/>
                  <p:nvPr/>
                </p:nvSpPr>
                <p:spPr>
                  <a:xfrm>
                    <a:off x="4270842" y="2464307"/>
                    <a:ext cx="1341796" cy="1341796"/>
                  </a:xfrm>
                  <a:prstGeom prst="ellipse">
                    <a:avLst/>
                  </a:prstGeom>
                  <a:gradFill>
                    <a:gsLst>
                      <a:gs pos="0">
                        <a:schemeClr val="lt1"/>
                      </a:gs>
                      <a:gs pos="43000">
                        <a:srgbClr val="D51067">
                          <a:alpha val="36862"/>
                        </a:srgbClr>
                      </a:gs>
                      <a:gs pos="75000">
                        <a:srgbClr val="FFFFFF">
                          <a:alpha val="0"/>
                        </a:srgbClr>
                      </a:gs>
                      <a:gs pos="100000">
                        <a:srgbClr val="FFFFFF">
                          <a:alpha val="0"/>
                        </a:srgbClr>
                      </a:gs>
                    </a:gsLst>
                    <a:path path="circle">
                      <a:fillToRect l="50000" t="50000" r="50000" b="50000"/>
                    </a:path>
                    <a:tileRect/>
                  </a:gradFill>
                  <a:ln>
                    <a:noFill/>
                  </a:ln>
                </p:spPr>
                <p:txBody>
                  <a:bodyPr spcFirstLastPara="1" wrap="square" lIns="91400" tIns="45700" rIns="91400" bIns="45700" anchor="ctr" anchorCtr="0">
                    <a:noAutofit/>
                  </a:bodyPr>
                  <a:lstStyle/>
                  <a:p>
                    <a:pPr marL="0" marR="0" lvl="0" indent="0" algn="ctr" rtl="0">
                      <a:lnSpc>
                        <a:spcPct val="80000"/>
                      </a:lnSpc>
                      <a:spcBef>
                        <a:spcPts val="0"/>
                      </a:spcBef>
                      <a:spcAft>
                        <a:spcPts val="0"/>
                      </a:spcAft>
                      <a:buNone/>
                    </a:pPr>
                    <a:endParaRPr sz="2399">
                      <a:solidFill>
                        <a:schemeClr val="dk1"/>
                      </a:solidFill>
                      <a:latin typeface="Calibri"/>
                      <a:ea typeface="Calibri"/>
                      <a:cs typeface="Calibri"/>
                      <a:sym typeface="Calibri"/>
                    </a:endParaRPr>
                  </a:p>
                </p:txBody>
              </p:sp>
              <p:pic>
                <p:nvPicPr>
                  <p:cNvPr id="4976" name="Google Shape;4976;p34"/>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1152886" y="2803512"/>
                    <a:ext cx="7022480" cy="4211644"/>
                  </a:xfrm>
                  <a:custGeom>
                    <a:avLst/>
                    <a:gdLst/>
                    <a:ahLst/>
                    <a:cxnLst/>
                    <a:rect l="l" t="t" r="r" b="b"/>
                    <a:pathLst>
                      <a:path w="6435172" h="3859414" extrusionOk="0">
                        <a:moveTo>
                          <a:pt x="887588" y="296702"/>
                        </a:moveTo>
                        <a:lnTo>
                          <a:pt x="887588" y="3090952"/>
                        </a:lnTo>
                        <a:lnTo>
                          <a:pt x="5551351" y="3090952"/>
                        </a:lnTo>
                        <a:lnTo>
                          <a:pt x="5551351" y="296702"/>
                        </a:lnTo>
                        <a:close/>
                        <a:moveTo>
                          <a:pt x="0" y="0"/>
                        </a:moveTo>
                        <a:lnTo>
                          <a:pt x="6435172" y="0"/>
                        </a:lnTo>
                        <a:lnTo>
                          <a:pt x="6435172" y="3859414"/>
                        </a:lnTo>
                        <a:lnTo>
                          <a:pt x="0" y="3859414"/>
                        </a:lnTo>
                        <a:close/>
                      </a:path>
                    </a:pathLst>
                  </a:custGeom>
                  <a:noFill/>
                  <a:ln>
                    <a:noFill/>
                  </a:ln>
                </p:spPr>
              </p:pic>
              <p:pic>
                <p:nvPicPr>
                  <p:cNvPr id="4998" name="Google Shape;4998;p34"/>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4576925" y="2522156"/>
                    <a:ext cx="747321" cy="1076417"/>
                  </a:xfrm>
                  <a:prstGeom prst="rect">
                    <a:avLst/>
                  </a:prstGeom>
                  <a:noFill/>
                  <a:ln>
                    <a:noFill/>
                  </a:ln>
                </p:spPr>
              </p:pic>
            </p:grpSp>
            <p:sp>
              <p:nvSpPr>
                <p:cNvPr id="7" name="Rectangle 6"/>
                <p:cNvSpPr/>
                <p:nvPr/>
              </p:nvSpPr>
              <p:spPr>
                <a:xfrm>
                  <a:off x="2541017" y="3731909"/>
                  <a:ext cx="2258995" cy="467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3" name="Google Shape;434;p8" descr="CNN - Home | Facebook"/>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3765102" y="3857497"/>
                <a:ext cx="245109" cy="221445"/>
              </a:xfrm>
              <a:prstGeom prst="rect">
                <a:avLst/>
              </a:prstGeom>
              <a:noFill/>
              <a:ln>
                <a:noFill/>
              </a:ln>
            </p:spPr>
          </p:pic>
          <p:pic>
            <p:nvPicPr>
              <p:cNvPr id="55" name="Google Shape;437;p8"/>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4157611" y="3857178"/>
                <a:ext cx="243828" cy="217230"/>
              </a:xfrm>
              <a:prstGeom prst="rect">
                <a:avLst/>
              </a:prstGeom>
              <a:noFill/>
              <a:ln>
                <a:noFill/>
              </a:ln>
            </p:spPr>
          </p:pic>
          <p:pic>
            <p:nvPicPr>
              <p:cNvPr id="56" name="Picture 2" descr="Icon request: NSFW / 18+ Icon · Issue #15596 · FortAwesome/Font-Awesome ·  GitHub"/>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3279432" y="3855279"/>
                <a:ext cx="454704" cy="240092"/>
              </a:xfrm>
              <a:prstGeom prst="rect">
                <a:avLst/>
              </a:prstGeom>
              <a:noFill/>
              <a:extLst>
                <a:ext uri="{909E8E84-426E-40DD-AFC4-6F175D3DCCD1}">
                  <a14:hiddenFill xmlns:a14="http://schemas.microsoft.com/office/drawing/2010/main">
                    <a:solidFill>
                      <a:srgbClr val="FFFFFF"/>
                    </a:solidFill>
                  </a14:hiddenFill>
                </a:ext>
              </a:extLst>
            </p:spPr>
          </p:pic>
          <p:pic>
            <p:nvPicPr>
              <p:cNvPr id="57" name="Google Shape;435;p8"/>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2836541" y="3864745"/>
                <a:ext cx="467049" cy="209663"/>
              </a:xfrm>
              <a:prstGeom prst="rect">
                <a:avLst/>
              </a:prstGeom>
              <a:noFill/>
              <a:ln>
                <a:noFill/>
              </a:ln>
            </p:spPr>
          </p:pic>
        </p:grpSp>
        <p:sp>
          <p:nvSpPr>
            <p:cNvPr id="61" name="Rectangle 60"/>
            <p:cNvSpPr/>
            <p:nvPr/>
          </p:nvSpPr>
          <p:spPr>
            <a:xfrm>
              <a:off x="7098363" y="2719039"/>
              <a:ext cx="3237117" cy="830997"/>
            </a:xfrm>
            <a:prstGeom prst="rect">
              <a:avLst/>
            </a:prstGeom>
          </p:spPr>
          <p:txBody>
            <a:bodyPr wrap="square">
              <a:spAutoFit/>
            </a:bodyPr>
            <a:lstStyle/>
            <a:p>
              <a:pPr fontAlgn="base">
                <a:spcAft>
                  <a:spcPct val="0"/>
                </a:spcAft>
                <a:buClr>
                  <a:schemeClr val="tx2"/>
                </a:buClr>
                <a:buSzPct val="65000"/>
                <a:defRPr/>
              </a:pPr>
              <a:r>
                <a:rPr lang="en-US" sz="1600" kern="1200" dirty="0">
                  <a:solidFill>
                    <a:srgbClr val="4D4D4F"/>
                  </a:solidFill>
                  <a:latin typeface="Calibri" panose="020F0502020204030204" pitchFamily="34" charset="0"/>
                  <a:ea typeface="+mn-ea"/>
                  <a:cs typeface="Calibri" panose="020F0502020204030204" pitchFamily="34" charset="0"/>
                </a:rPr>
                <a:t>Secures any browser</a:t>
              </a:r>
            </a:p>
            <a:p>
              <a:pPr fontAlgn="base">
                <a:spcAft>
                  <a:spcPct val="0"/>
                </a:spcAft>
                <a:buClr>
                  <a:schemeClr val="tx2"/>
                </a:buClr>
                <a:buSzPct val="65000"/>
                <a:defRPr/>
              </a:pPr>
              <a:r>
                <a:rPr lang="en-US" sz="1600" kern="1200" dirty="0">
                  <a:solidFill>
                    <a:srgbClr val="4D4D4F"/>
                  </a:solidFill>
                  <a:latin typeface="Calibri" panose="020F0502020204030204" pitchFamily="34" charset="0"/>
                  <a:cs typeface="Calibri" panose="020F0502020204030204" pitchFamily="34" charset="0"/>
                </a:rPr>
                <a:t>Inspects 100% of SSL traffic</a:t>
              </a:r>
            </a:p>
            <a:p>
              <a:pPr fontAlgn="base">
                <a:spcAft>
                  <a:spcPct val="0"/>
                </a:spcAft>
                <a:buClr>
                  <a:schemeClr val="tx2"/>
                </a:buClr>
                <a:buSzPct val="65000"/>
                <a:defRPr/>
              </a:pPr>
              <a:endParaRPr lang="en-US" sz="1600" kern="1200" dirty="0">
                <a:solidFill>
                  <a:srgbClr val="4D4D4F"/>
                </a:solidFill>
                <a:latin typeface="Calibri" panose="020F0502020204030204" pitchFamily="34" charset="0"/>
                <a:ea typeface="+mn-ea"/>
                <a:cs typeface="Calibri" panose="020F0502020204030204" pitchFamily="34" charset="0"/>
              </a:endParaRPr>
            </a:p>
          </p:txBody>
        </p:sp>
      </p:grpSp>
      <p:sp>
        <p:nvSpPr>
          <p:cNvPr id="63" name="Google Shape;828;p12"/>
          <p:cNvSpPr txBox="1"/>
          <p:nvPr/>
        </p:nvSpPr>
        <p:spPr>
          <a:xfrm>
            <a:off x="574131" y="954959"/>
            <a:ext cx="8947244" cy="461624"/>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mn-lt"/>
                <a:cs typeface="Segoe UI" panose="020B0502040204020203" pitchFamily="34" charset="0"/>
              </a:rPr>
              <a:t>SECURE INTERNET BROWSING </a:t>
            </a:r>
          </a:p>
        </p:txBody>
      </p:sp>
      <p:pic>
        <p:nvPicPr>
          <p:cNvPr id="5" name="Pictur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8225" y="342969"/>
            <a:ext cx="1532045" cy="640080"/>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down)">
                                      <p:cBhvr>
                                        <p:cTn id="7" dur="500"/>
                                        <p:tgtEl>
                                          <p:spTgt spid="44"/>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4977"/>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4978"/>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4979"/>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977" grpId="0"/>
      <p:bldP spid="4978" grpId="0"/>
      <p:bldP spid="4979" grpId="0"/>
      <p:bldP spid="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869C42A6-A3A9-4845-AF6B-936BA4BFC176}"/>
              </a:ext>
            </a:extLst>
          </p:cNvPr>
          <p:cNvSpPr/>
          <p:nvPr/>
        </p:nvSpPr>
        <p:spPr bwMode="auto">
          <a:xfrm>
            <a:off x="4421889" y="2111918"/>
            <a:ext cx="3299452" cy="823182"/>
          </a:xfrm>
          <a:custGeom>
            <a:avLst/>
            <a:gdLst>
              <a:gd name="connsiteX0" fmla="*/ 1214845 w 1214845"/>
              <a:gd name="connsiteY0" fmla="*/ 1097280 h 1097280"/>
              <a:gd name="connsiteX1" fmla="*/ 666205 w 1214845"/>
              <a:gd name="connsiteY1" fmla="*/ 1097280 h 1097280"/>
              <a:gd name="connsiteX2" fmla="*/ 666205 w 1214845"/>
              <a:gd name="connsiteY2" fmla="*/ 0 h 1097280"/>
              <a:gd name="connsiteX3" fmla="*/ 0 w 1214845"/>
              <a:gd name="connsiteY3" fmla="*/ 0 h 1097280"/>
              <a:gd name="connsiteX0" fmla="*/ 2220685 w 2220685"/>
              <a:gd name="connsiteY0" fmla="*/ 1110342 h 1110342"/>
              <a:gd name="connsiteX1" fmla="*/ 1672045 w 2220685"/>
              <a:gd name="connsiteY1" fmla="*/ 1110342 h 1110342"/>
              <a:gd name="connsiteX2" fmla="*/ 1672045 w 2220685"/>
              <a:gd name="connsiteY2" fmla="*/ 13062 h 1110342"/>
              <a:gd name="connsiteX3" fmla="*/ 0 w 2220685"/>
              <a:gd name="connsiteY3" fmla="*/ 0 h 1110342"/>
              <a:gd name="connsiteX0" fmla="*/ 1998616 w 1998616"/>
              <a:gd name="connsiteY0" fmla="*/ 1110342 h 1110342"/>
              <a:gd name="connsiteX1" fmla="*/ 1449976 w 1998616"/>
              <a:gd name="connsiteY1" fmla="*/ 1110342 h 1110342"/>
              <a:gd name="connsiteX2" fmla="*/ 1449976 w 1998616"/>
              <a:gd name="connsiteY2" fmla="*/ 13062 h 1110342"/>
              <a:gd name="connsiteX3" fmla="*/ 0 w 1998616"/>
              <a:gd name="connsiteY3" fmla="*/ 0 h 1110342"/>
            </a:gdLst>
            <a:ahLst/>
            <a:cxnLst>
              <a:cxn ang="0">
                <a:pos x="connsiteX0" y="connsiteY0"/>
              </a:cxn>
              <a:cxn ang="0">
                <a:pos x="connsiteX1" y="connsiteY1"/>
              </a:cxn>
              <a:cxn ang="0">
                <a:pos x="connsiteX2" y="connsiteY2"/>
              </a:cxn>
              <a:cxn ang="0">
                <a:pos x="connsiteX3" y="connsiteY3"/>
              </a:cxn>
            </a:cxnLst>
            <a:rect l="l" t="t" r="r" b="b"/>
            <a:pathLst>
              <a:path w="1998616" h="1110342">
                <a:moveTo>
                  <a:pt x="1998616" y="1110342"/>
                </a:moveTo>
                <a:lnTo>
                  <a:pt x="1449976" y="1110342"/>
                </a:lnTo>
                <a:lnTo>
                  <a:pt x="1449976" y="13062"/>
                </a:lnTo>
                <a:lnTo>
                  <a:pt x="0" y="0"/>
                </a:lnTo>
              </a:path>
            </a:pathLst>
          </a:custGeom>
          <a:noFill/>
          <a:ln w="73025" cap="sq" cmpd="sng" algn="ctr">
            <a:gradFill>
              <a:gsLst>
                <a:gs pos="0">
                  <a:schemeClr val="tx2">
                    <a:lumMod val="60000"/>
                    <a:lumOff val="40000"/>
                  </a:schemeClr>
                </a:gs>
                <a:gs pos="100000">
                  <a:schemeClr val="tx2">
                    <a:lumMod val="50000"/>
                  </a:schemeClr>
                </a:gs>
              </a:gsLst>
              <a:lin ang="0" scaled="0"/>
            </a:gradFill>
            <a:prstDash val="solid"/>
            <a:round/>
            <a:headEnd type="none" w="med" len="med"/>
            <a:tailEnd type="none" w="med" len="med"/>
          </a:ln>
          <a:effectLst/>
        </p:spPr>
        <p:txBody>
          <a:bodyPr rtlCol="0" anchor="ctr"/>
          <a:lstStyle/>
          <a:p>
            <a:pPr algn="ctr"/>
            <a:endParaRPr lang="en-US" dirty="0">
              <a:latin typeface="Helvetica" pitchFamily="34" charset="0"/>
              <a:cs typeface="Calibri" panose="020F0502020204030204" pitchFamily="34" charset="0"/>
            </a:endParaRPr>
          </a:p>
        </p:txBody>
      </p:sp>
      <p:pic>
        <p:nvPicPr>
          <p:cNvPr id="7" name="Picture 6">
            <a:extLst>
              <a:ext uri="{FF2B5EF4-FFF2-40B4-BE49-F238E27FC236}">
                <a16:creationId xmlns:a16="http://schemas.microsoft.com/office/drawing/2014/main" id="{7EE5CD88-4180-4335-8AF4-ED0520E13E3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124825" y="0"/>
            <a:ext cx="4064000" cy="6858000"/>
          </a:xfrm>
          <a:prstGeom prst="rect">
            <a:avLst/>
          </a:prstGeom>
        </p:spPr>
      </p:pic>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4" name="Date Placeholder 3" hidden="1"/>
          <p:cNvSpPr>
            <a:spLocks noGrp="1"/>
          </p:cNvSpPr>
          <p:nvPr>
            <p:ph type="dt" sz="half" idx="12"/>
          </p:nvPr>
        </p:nvSpPr>
        <p:spPr>
          <a:xfrm>
            <a:off x="-2991244" y="6356350"/>
            <a:ext cx="2843213" cy="365125"/>
          </a:xfrm>
          <a:prstGeom prst="rect">
            <a:avLst/>
          </a:prstGeom>
        </p:spPr>
        <p:txBody>
          <a:bodyPr/>
          <a:lstStyle/>
          <a:p>
            <a:endParaRPr lang="en-US" dirty="0"/>
          </a:p>
        </p:txBody>
      </p:sp>
      <p:grpSp>
        <p:nvGrpSpPr>
          <p:cNvPr id="25" name="Group 24">
            <a:extLst>
              <a:ext uri="{FF2B5EF4-FFF2-40B4-BE49-F238E27FC236}">
                <a16:creationId xmlns:a16="http://schemas.microsoft.com/office/drawing/2014/main" id="{A7749A4A-62ED-4083-BC89-931531D48BCD}"/>
              </a:ext>
            </a:extLst>
          </p:cNvPr>
          <p:cNvGrpSpPr/>
          <p:nvPr/>
        </p:nvGrpSpPr>
        <p:grpSpPr>
          <a:xfrm>
            <a:off x="10671510" y="4265467"/>
            <a:ext cx="760131" cy="619632"/>
            <a:chOff x="5604663" y="2320025"/>
            <a:chExt cx="2223881" cy="1812829"/>
          </a:xfrm>
        </p:grpSpPr>
        <p:sp>
          <p:nvSpPr>
            <p:cNvPr id="26" name="Freeform: Shape 25">
              <a:extLst>
                <a:ext uri="{FF2B5EF4-FFF2-40B4-BE49-F238E27FC236}">
                  <a16:creationId xmlns:a16="http://schemas.microsoft.com/office/drawing/2014/main" id="{81AE7230-3260-4C05-841C-8C8EBD3E3684}"/>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27" name="Freeform: Shape 26">
              <a:extLst>
                <a:ext uri="{FF2B5EF4-FFF2-40B4-BE49-F238E27FC236}">
                  <a16:creationId xmlns:a16="http://schemas.microsoft.com/office/drawing/2014/main" id="{64B605DB-D550-4162-8EF8-3B6CA93BABA4}"/>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28" name="Freeform: Shape 27">
              <a:extLst>
                <a:ext uri="{FF2B5EF4-FFF2-40B4-BE49-F238E27FC236}">
                  <a16:creationId xmlns:a16="http://schemas.microsoft.com/office/drawing/2014/main" id="{2A985256-5D4F-4A9A-B854-D362928AD33D}"/>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29" name="Freeform: Shape 28">
              <a:extLst>
                <a:ext uri="{FF2B5EF4-FFF2-40B4-BE49-F238E27FC236}">
                  <a16:creationId xmlns:a16="http://schemas.microsoft.com/office/drawing/2014/main" id="{636DA6C8-FBCB-41FC-B744-DF81EA5B1494}"/>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grpSp>
      <p:cxnSp>
        <p:nvCxnSpPr>
          <p:cNvPr id="30" name="C">
            <a:extLst>
              <a:ext uri="{FF2B5EF4-FFF2-40B4-BE49-F238E27FC236}">
                <a16:creationId xmlns:a16="http://schemas.microsoft.com/office/drawing/2014/main" id="{45658897-DCE4-491E-9A35-8D43CA48319C}"/>
              </a:ext>
            </a:extLst>
          </p:cNvPr>
          <p:cNvCxnSpPr>
            <a:cxnSpLocks/>
            <a:stCxn id="20" idx="5"/>
          </p:cNvCxnSpPr>
          <p:nvPr/>
        </p:nvCxnSpPr>
        <p:spPr bwMode="auto">
          <a:xfrm>
            <a:off x="8388267" y="2992592"/>
            <a:ext cx="2283243" cy="1558880"/>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a:extLst>
              <a:ext uri="{FF2B5EF4-FFF2-40B4-BE49-F238E27FC236}">
                <a16:creationId xmlns:a16="http://schemas.microsoft.com/office/drawing/2014/main" id="{2DE53781-70B0-4036-9AE0-BF2B653BAB8F}"/>
              </a:ext>
            </a:extLst>
          </p:cNvPr>
          <p:cNvSpPr/>
          <p:nvPr/>
        </p:nvSpPr>
        <p:spPr bwMode="auto">
          <a:xfrm>
            <a:off x="7680779" y="2285105"/>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pic>
        <p:nvPicPr>
          <p:cNvPr id="21" name="Graphic 20">
            <a:extLst>
              <a:ext uri="{FF2B5EF4-FFF2-40B4-BE49-F238E27FC236}">
                <a16:creationId xmlns:a16="http://schemas.microsoft.com/office/drawing/2014/main" id="{DDCBD189-5074-4E8F-AE60-3081000F9E8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41306" y="2487949"/>
            <a:ext cx="507820" cy="423183"/>
          </a:xfrm>
          <a:prstGeom prst="rect">
            <a:avLst/>
          </a:prstGeom>
        </p:spPr>
      </p:pic>
      <p:grpSp>
        <p:nvGrpSpPr>
          <p:cNvPr id="18" name="Group 17">
            <a:extLst>
              <a:ext uri="{FF2B5EF4-FFF2-40B4-BE49-F238E27FC236}">
                <a16:creationId xmlns:a16="http://schemas.microsoft.com/office/drawing/2014/main" id="{403C3F26-2BE3-4BB5-8081-59F05E3F247C}"/>
              </a:ext>
            </a:extLst>
          </p:cNvPr>
          <p:cNvGrpSpPr/>
          <p:nvPr/>
        </p:nvGrpSpPr>
        <p:grpSpPr>
          <a:xfrm>
            <a:off x="-604029" y="1432544"/>
            <a:ext cx="6652689" cy="3991613"/>
            <a:chOff x="-795025" y="2582181"/>
            <a:chExt cx="6652689" cy="3991613"/>
          </a:xfrm>
        </p:grpSpPr>
        <p:pic>
          <p:nvPicPr>
            <p:cNvPr id="94" name="Picture 93">
              <a:extLst>
                <a:ext uri="{FF2B5EF4-FFF2-40B4-BE49-F238E27FC236}">
                  <a16:creationId xmlns:a16="http://schemas.microsoft.com/office/drawing/2014/main" id="{8C44CEF7-069E-44B5-AF96-95BCB0582AE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5025" y="2582181"/>
              <a:ext cx="6652689" cy="3991613"/>
            </a:xfrm>
            <a:prstGeom prst="rect">
              <a:avLst/>
            </a:prstGeom>
          </p:spPr>
        </p:pic>
        <p:pic>
          <p:nvPicPr>
            <p:cNvPr id="95" name="Picture 94">
              <a:extLst>
                <a:ext uri="{FF2B5EF4-FFF2-40B4-BE49-F238E27FC236}">
                  <a16:creationId xmlns:a16="http://schemas.microsoft.com/office/drawing/2014/main" id="{0DE4B490-5752-40C8-854E-FBF5A2FAE0D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48736" y="3319526"/>
              <a:ext cx="3875812" cy="2434037"/>
            </a:xfrm>
            <a:prstGeom prst="rect">
              <a:avLst/>
            </a:prstGeom>
            <a:ln>
              <a:noFill/>
            </a:ln>
          </p:spPr>
        </p:pic>
      </p:grpSp>
      <p:sp>
        <p:nvSpPr>
          <p:cNvPr id="97" name="TextBox 96">
            <a:extLst>
              <a:ext uri="{FF2B5EF4-FFF2-40B4-BE49-F238E27FC236}">
                <a16:creationId xmlns:a16="http://schemas.microsoft.com/office/drawing/2014/main" id="{D6AF297F-8D79-4D65-B175-B6E4944CD162}"/>
              </a:ext>
            </a:extLst>
          </p:cNvPr>
          <p:cNvSpPr txBox="1"/>
          <p:nvPr/>
        </p:nvSpPr>
        <p:spPr bwMode="auto">
          <a:xfrm>
            <a:off x="4971794" y="2287506"/>
            <a:ext cx="2563624" cy="288000"/>
          </a:xfrm>
          <a:prstGeom prst="roundRect">
            <a:avLst>
              <a:gd name="adj" fmla="val 50000"/>
            </a:avLst>
          </a:prstGeom>
          <a:gradFill>
            <a:gsLst>
              <a:gs pos="0">
                <a:schemeClr val="accent1">
                  <a:alpha val="88000"/>
                </a:schemeClr>
              </a:gs>
              <a:gs pos="100000">
                <a:schemeClr val="accent2">
                  <a:alpha val="94000"/>
                </a:schemeClr>
              </a:gs>
            </a:gsLst>
            <a:lin ang="0" scaled="1"/>
          </a:gradFill>
          <a:ln>
            <a:noFill/>
          </a:ln>
        </p:spPr>
        <p:txBody>
          <a:bodyPr vert="horz" wrap="square" lIns="0" tIns="0" rIns="0" bIns="0" numCol="1" anchor="b"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kumimoji="0" lang="en-US" i="0" u="none" strike="noStrike" kern="1200" cap="none" spc="0" normalizeH="0" baseline="0" noProof="0" dirty="0">
                <a:ln>
                  <a:noFill/>
                </a:ln>
                <a:solidFill>
                  <a:srgbClr val="FFFFFF"/>
                </a:solidFill>
                <a:effectLst/>
                <a:uLnTx/>
                <a:uFillTx/>
                <a:latin typeface="Calibri"/>
              </a:rPr>
              <a:t> </a:t>
            </a:r>
          </a:p>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endParaRPr lang="en-US" dirty="0">
              <a:solidFill>
                <a:srgbClr val="FFFFFF"/>
              </a:solidFill>
              <a:latin typeface="Calibri"/>
            </a:endParaRPr>
          </a:p>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endParaRPr lang="en-US" dirty="0">
              <a:solidFill>
                <a:srgbClr val="FFFFFF"/>
              </a:solidFill>
              <a:latin typeface="Calibri"/>
            </a:endParaRPr>
          </a:p>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lang="en-US" dirty="0">
                <a:solidFill>
                  <a:srgbClr val="FFFFFF"/>
                </a:solidFill>
                <a:latin typeface="Calibri"/>
              </a:rPr>
              <a:t>SUSPICIOUS SENDER</a:t>
            </a:r>
            <a:endParaRPr kumimoji="0" lang="en-US" sz="1100" i="0" u="none" strike="noStrike" kern="1200" cap="none" spc="0" normalizeH="0" baseline="0" noProof="0" dirty="0">
              <a:ln>
                <a:noFill/>
              </a:ln>
              <a:solidFill>
                <a:srgbClr val="FFFFFF"/>
              </a:solidFill>
              <a:effectLst/>
              <a:uLnTx/>
              <a:uFillTx/>
              <a:latin typeface="Calibri"/>
            </a:endParaRPr>
          </a:p>
        </p:txBody>
      </p:sp>
      <p:sp>
        <p:nvSpPr>
          <p:cNvPr id="101" name="TextBox 100">
            <a:extLst>
              <a:ext uri="{FF2B5EF4-FFF2-40B4-BE49-F238E27FC236}">
                <a16:creationId xmlns:a16="http://schemas.microsoft.com/office/drawing/2014/main" id="{2A9A2057-A8E0-46ED-90E0-9BEBF11F4229}"/>
              </a:ext>
            </a:extLst>
          </p:cNvPr>
          <p:cNvSpPr txBox="1"/>
          <p:nvPr/>
        </p:nvSpPr>
        <p:spPr bwMode="auto">
          <a:xfrm>
            <a:off x="4941510" y="3027764"/>
            <a:ext cx="2563624" cy="288000"/>
          </a:xfrm>
          <a:prstGeom prst="roundRect">
            <a:avLst>
              <a:gd name="adj" fmla="val 50000"/>
            </a:avLst>
          </a:prstGeom>
          <a:gradFill>
            <a:gsLst>
              <a:gs pos="2000">
                <a:schemeClr val="accent1">
                  <a:alpha val="88000"/>
                </a:schemeClr>
              </a:gs>
              <a:gs pos="100000">
                <a:schemeClr val="accent2">
                  <a:alpha val="94000"/>
                </a:schemeClr>
              </a:gs>
            </a:gsLst>
            <a:lin ang="0" scaled="1"/>
          </a:gradFill>
          <a:ln>
            <a:noFill/>
          </a:ln>
        </p:spPr>
        <p:txBody>
          <a:bodyPr vert="horz" wrap="square" lIns="0" tIns="0" rIns="0" bIns="0" numCol="1" anchor="ctr"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kumimoji="0" lang="en-US" i="0" u="none" strike="noStrike" kern="1200" cap="none" spc="0" normalizeH="0" baseline="0" noProof="0" dirty="0">
                <a:ln>
                  <a:noFill/>
                </a:ln>
                <a:solidFill>
                  <a:srgbClr val="FFFFFF"/>
                </a:solidFill>
                <a:effectLst/>
                <a:uLnTx/>
                <a:uFillTx/>
                <a:latin typeface="Calibri"/>
              </a:rPr>
              <a:t> </a:t>
            </a:r>
            <a:r>
              <a:rPr lang="en-US" dirty="0">
                <a:solidFill>
                  <a:srgbClr val="FFFFFF"/>
                </a:solidFill>
                <a:latin typeface="Calibri"/>
              </a:rPr>
              <a:t>MALICIOUS ATTACHMENT</a:t>
            </a:r>
            <a:endParaRPr kumimoji="0" lang="en-US" sz="1100" i="0" u="none" strike="noStrike" kern="1200" cap="none" spc="0" normalizeH="0" baseline="0" noProof="0" dirty="0">
              <a:ln>
                <a:noFill/>
              </a:ln>
              <a:solidFill>
                <a:srgbClr val="FFFFFF"/>
              </a:solidFill>
              <a:effectLst/>
              <a:uLnTx/>
              <a:uFillTx/>
              <a:latin typeface="Calibri"/>
            </a:endParaRPr>
          </a:p>
        </p:txBody>
      </p:sp>
      <p:cxnSp>
        <p:nvCxnSpPr>
          <p:cNvPr id="102" name="Straight Connector 101">
            <a:extLst>
              <a:ext uri="{FF2B5EF4-FFF2-40B4-BE49-F238E27FC236}">
                <a16:creationId xmlns:a16="http://schemas.microsoft.com/office/drawing/2014/main" id="{A50B0294-5F46-42F0-8FD3-7B46523C01F5}"/>
              </a:ext>
            </a:extLst>
          </p:cNvPr>
          <p:cNvCxnSpPr>
            <a:cxnSpLocks/>
          </p:cNvCxnSpPr>
          <p:nvPr/>
        </p:nvCxnSpPr>
        <p:spPr bwMode="auto">
          <a:xfrm flipH="1">
            <a:off x="2339444" y="3183981"/>
            <a:ext cx="2623626" cy="0"/>
          </a:xfrm>
          <a:prstGeom prst="line">
            <a:avLst/>
          </a:prstGeom>
          <a:gradFill>
            <a:gsLst>
              <a:gs pos="0">
                <a:schemeClr val="accent1">
                  <a:alpha val="88000"/>
                </a:schemeClr>
              </a:gs>
              <a:gs pos="100000">
                <a:schemeClr val="accent2">
                  <a:alpha val="94000"/>
                </a:schemeClr>
              </a:gs>
            </a:gsLst>
            <a:lin ang="0" scaled="1"/>
          </a:gradFill>
          <a:ln w="22225">
            <a:solidFill>
              <a:srgbClr val="D51067"/>
            </a:solidFill>
            <a:prstDash val="sysDash"/>
          </a:ln>
        </p:spPr>
      </p:cxnSp>
      <p:sp>
        <p:nvSpPr>
          <p:cNvPr id="103" name="TextBox 102">
            <a:extLst>
              <a:ext uri="{FF2B5EF4-FFF2-40B4-BE49-F238E27FC236}">
                <a16:creationId xmlns:a16="http://schemas.microsoft.com/office/drawing/2014/main" id="{4F4452FE-17A1-4339-88AB-5971FEC375BB}"/>
              </a:ext>
            </a:extLst>
          </p:cNvPr>
          <p:cNvSpPr txBox="1"/>
          <p:nvPr/>
        </p:nvSpPr>
        <p:spPr bwMode="auto">
          <a:xfrm>
            <a:off x="724430" y="2930841"/>
            <a:ext cx="1626970" cy="456430"/>
          </a:xfrm>
          <a:prstGeom prst="roundRect">
            <a:avLst>
              <a:gd name="adj" fmla="val 16270"/>
            </a:avLst>
          </a:prstGeom>
          <a:noFill/>
          <a:ln w="22225">
            <a:solidFill>
              <a:srgbClr val="D51067"/>
            </a:solidFill>
            <a:prstDash val="sysDash"/>
          </a:ln>
        </p:spPr>
        <p:txBody>
          <a:bodyPr vert="horz" wrap="square" lIns="0" tIns="0" rIns="0" bIns="0" numCol="1" anchor="b"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j-cs"/>
            </a:endParaRPr>
          </a:p>
        </p:txBody>
      </p:sp>
      <p:sp>
        <p:nvSpPr>
          <p:cNvPr id="105" name="TextBox 104">
            <a:extLst>
              <a:ext uri="{FF2B5EF4-FFF2-40B4-BE49-F238E27FC236}">
                <a16:creationId xmlns:a16="http://schemas.microsoft.com/office/drawing/2014/main" id="{B61FF2A3-C400-473F-ABA7-1C46D11C4617}"/>
              </a:ext>
            </a:extLst>
          </p:cNvPr>
          <p:cNvSpPr txBox="1"/>
          <p:nvPr/>
        </p:nvSpPr>
        <p:spPr bwMode="auto">
          <a:xfrm>
            <a:off x="4941510" y="3775795"/>
            <a:ext cx="2563624" cy="288000"/>
          </a:xfrm>
          <a:prstGeom prst="roundRect">
            <a:avLst>
              <a:gd name="adj" fmla="val 50000"/>
            </a:avLst>
          </a:prstGeom>
          <a:gradFill>
            <a:gsLst>
              <a:gs pos="0">
                <a:schemeClr val="accent1">
                  <a:alpha val="88000"/>
                </a:schemeClr>
              </a:gs>
              <a:gs pos="100000">
                <a:schemeClr val="accent2">
                  <a:alpha val="94000"/>
                </a:schemeClr>
              </a:gs>
            </a:gsLst>
            <a:lin ang="0" scaled="1"/>
          </a:gradFill>
          <a:ln>
            <a:noFill/>
          </a:ln>
        </p:spPr>
        <p:txBody>
          <a:bodyPr vert="horz" wrap="square" lIns="0" tIns="0" rIns="0" bIns="0" numCol="1" anchor="ctr"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kumimoji="0" lang="en-US" i="0" u="none" strike="noStrike" kern="1200" cap="none" spc="0" normalizeH="0" baseline="0" noProof="0" dirty="0">
                <a:ln>
                  <a:noFill/>
                </a:ln>
                <a:solidFill>
                  <a:srgbClr val="FFFFFF"/>
                </a:solidFill>
                <a:effectLst/>
                <a:uLnTx/>
                <a:uFillTx/>
                <a:latin typeface="Calibri"/>
                <a:ea typeface="+mn-ea"/>
                <a:cs typeface="+mj-cs"/>
              </a:rPr>
              <a:t>MALICIOUS LINK</a:t>
            </a:r>
            <a:r>
              <a:rPr kumimoji="0" lang="en-US" i="0" u="none" strike="noStrike" kern="1200" cap="none" spc="0" normalizeH="0" noProof="0" dirty="0">
                <a:ln>
                  <a:noFill/>
                </a:ln>
                <a:solidFill>
                  <a:srgbClr val="FFFFFF"/>
                </a:solidFill>
                <a:effectLst/>
                <a:uLnTx/>
                <a:uFillTx/>
                <a:latin typeface="Calibri"/>
                <a:ea typeface="+mn-ea"/>
                <a:cs typeface="+mj-cs"/>
              </a:rPr>
              <a:t> </a:t>
            </a:r>
            <a:endParaRPr kumimoji="0" lang="en-US" sz="1100" i="0" u="none" strike="noStrike" kern="1200" cap="none" spc="0" normalizeH="0" baseline="0" noProof="0" dirty="0">
              <a:ln>
                <a:noFill/>
              </a:ln>
              <a:solidFill>
                <a:srgbClr val="FFFFFF"/>
              </a:solidFill>
              <a:effectLst/>
              <a:uLnTx/>
              <a:uFillTx/>
              <a:latin typeface="Calibri"/>
              <a:ea typeface="+mn-ea"/>
              <a:cs typeface="+mj-cs"/>
            </a:endParaRPr>
          </a:p>
        </p:txBody>
      </p:sp>
      <p:sp>
        <p:nvSpPr>
          <p:cNvPr id="109" name="TextBox 108">
            <a:extLst>
              <a:ext uri="{FF2B5EF4-FFF2-40B4-BE49-F238E27FC236}">
                <a16:creationId xmlns:a16="http://schemas.microsoft.com/office/drawing/2014/main" id="{28AAC692-679F-4C25-B460-A2A6AB67FBEA}"/>
              </a:ext>
            </a:extLst>
          </p:cNvPr>
          <p:cNvSpPr txBox="1"/>
          <p:nvPr/>
        </p:nvSpPr>
        <p:spPr bwMode="auto">
          <a:xfrm>
            <a:off x="4946852" y="4156459"/>
            <a:ext cx="2563624" cy="288000"/>
          </a:xfrm>
          <a:prstGeom prst="roundRect">
            <a:avLst>
              <a:gd name="adj" fmla="val 50000"/>
            </a:avLst>
          </a:prstGeom>
          <a:gradFill>
            <a:gsLst>
              <a:gs pos="0">
                <a:schemeClr val="accent1">
                  <a:alpha val="88000"/>
                </a:schemeClr>
              </a:gs>
              <a:gs pos="100000">
                <a:schemeClr val="accent2">
                  <a:alpha val="94000"/>
                </a:schemeClr>
              </a:gs>
            </a:gsLst>
            <a:lin ang="0" scaled="1"/>
          </a:gradFill>
          <a:ln>
            <a:noFill/>
          </a:ln>
        </p:spPr>
        <p:txBody>
          <a:bodyPr vert="horz" wrap="square" lIns="0" tIns="0" rIns="0" bIns="0" numCol="1" anchor="ctr"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kumimoji="0" lang="en-US" i="0" u="none" strike="noStrike" kern="1200" cap="none" spc="0" normalizeH="0" baseline="0" noProof="0" dirty="0">
                <a:ln>
                  <a:noFill/>
                </a:ln>
                <a:solidFill>
                  <a:srgbClr val="FFFFFF"/>
                </a:solidFill>
                <a:effectLst/>
                <a:uLnTx/>
                <a:uFillTx/>
                <a:latin typeface="Calibri"/>
                <a:ea typeface="+mn-ea"/>
                <a:cs typeface="+mj-cs"/>
              </a:rPr>
              <a:t>BODY</a:t>
            </a:r>
            <a:r>
              <a:rPr kumimoji="0" lang="en-US" i="0" u="none" strike="noStrike" kern="1200" cap="none" spc="0" normalizeH="0" noProof="0" dirty="0">
                <a:ln>
                  <a:noFill/>
                </a:ln>
                <a:solidFill>
                  <a:srgbClr val="FFFFFF"/>
                </a:solidFill>
                <a:effectLst/>
                <a:uLnTx/>
                <a:uFillTx/>
                <a:latin typeface="Calibri"/>
                <a:ea typeface="+mn-ea"/>
                <a:cs typeface="+mj-cs"/>
              </a:rPr>
              <a:t> TEXT SUSPICIOUS</a:t>
            </a:r>
            <a:endParaRPr kumimoji="0" lang="en-US" i="0" u="none" strike="noStrike" kern="1200" cap="none" spc="0" normalizeH="0" baseline="0" noProof="0" dirty="0">
              <a:ln>
                <a:noFill/>
              </a:ln>
              <a:solidFill>
                <a:srgbClr val="FFFFFF"/>
              </a:solidFill>
              <a:effectLst/>
              <a:uLnTx/>
              <a:uFillTx/>
              <a:latin typeface="Calibri"/>
              <a:ea typeface="+mn-ea"/>
              <a:cs typeface="+mj-cs"/>
            </a:endParaRPr>
          </a:p>
        </p:txBody>
      </p:sp>
      <p:cxnSp>
        <p:nvCxnSpPr>
          <p:cNvPr id="112" name="Straight Connector 111">
            <a:extLst>
              <a:ext uri="{FF2B5EF4-FFF2-40B4-BE49-F238E27FC236}">
                <a16:creationId xmlns:a16="http://schemas.microsoft.com/office/drawing/2014/main" id="{F083F0E3-C54F-4F04-B45E-3181903C77BC}"/>
              </a:ext>
            </a:extLst>
          </p:cNvPr>
          <p:cNvCxnSpPr>
            <a:cxnSpLocks/>
          </p:cNvCxnSpPr>
          <p:nvPr/>
        </p:nvCxnSpPr>
        <p:spPr bwMode="auto">
          <a:xfrm flipH="1">
            <a:off x="3766798" y="2390230"/>
            <a:ext cx="1196272" cy="0"/>
          </a:xfrm>
          <a:prstGeom prst="line">
            <a:avLst/>
          </a:prstGeom>
          <a:gradFill>
            <a:gsLst>
              <a:gs pos="0">
                <a:schemeClr val="accent1">
                  <a:alpha val="88000"/>
                </a:schemeClr>
              </a:gs>
              <a:gs pos="100000">
                <a:schemeClr val="accent2">
                  <a:alpha val="94000"/>
                </a:schemeClr>
              </a:gs>
            </a:gsLst>
            <a:lin ang="0" scaled="1"/>
          </a:gradFill>
          <a:ln w="22225">
            <a:solidFill>
              <a:srgbClr val="D51067"/>
            </a:solidFill>
            <a:prstDash val="sysDash"/>
          </a:ln>
        </p:spPr>
      </p:cxnSp>
      <p:sp>
        <p:nvSpPr>
          <p:cNvPr id="113" name="TextBox 112">
            <a:extLst>
              <a:ext uri="{FF2B5EF4-FFF2-40B4-BE49-F238E27FC236}">
                <a16:creationId xmlns:a16="http://schemas.microsoft.com/office/drawing/2014/main" id="{4ED40560-ED3B-4052-ACD1-BE68FB122C07}"/>
              </a:ext>
            </a:extLst>
          </p:cNvPr>
          <p:cNvSpPr txBox="1"/>
          <p:nvPr/>
        </p:nvSpPr>
        <p:spPr bwMode="auto">
          <a:xfrm>
            <a:off x="1462519" y="2270003"/>
            <a:ext cx="2304277" cy="257185"/>
          </a:xfrm>
          <a:prstGeom prst="roundRect">
            <a:avLst>
              <a:gd name="adj" fmla="val 16270"/>
            </a:avLst>
          </a:prstGeom>
          <a:noFill/>
          <a:ln w="22225">
            <a:solidFill>
              <a:srgbClr val="D51067"/>
            </a:solidFill>
            <a:prstDash val="sysDash"/>
          </a:ln>
        </p:spPr>
        <p:txBody>
          <a:bodyPr vert="horz" wrap="square" lIns="0" tIns="0" rIns="0" bIns="0" numCol="1" anchor="b"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j-cs"/>
            </a:endParaRPr>
          </a:p>
        </p:txBody>
      </p:sp>
      <p:sp>
        <p:nvSpPr>
          <p:cNvPr id="114" name="TextBox 113">
            <a:extLst>
              <a:ext uri="{FF2B5EF4-FFF2-40B4-BE49-F238E27FC236}">
                <a16:creationId xmlns:a16="http://schemas.microsoft.com/office/drawing/2014/main" id="{1015C18C-82A7-465E-958E-22AE3D35407D}"/>
              </a:ext>
            </a:extLst>
          </p:cNvPr>
          <p:cNvSpPr txBox="1"/>
          <p:nvPr/>
        </p:nvSpPr>
        <p:spPr bwMode="auto">
          <a:xfrm>
            <a:off x="1183842" y="3909120"/>
            <a:ext cx="483991" cy="194424"/>
          </a:xfrm>
          <a:prstGeom prst="roundRect">
            <a:avLst>
              <a:gd name="adj" fmla="val 16270"/>
            </a:avLst>
          </a:prstGeom>
          <a:noFill/>
          <a:ln w="22225">
            <a:solidFill>
              <a:srgbClr val="D51067"/>
            </a:solidFill>
            <a:prstDash val="sysDash"/>
          </a:ln>
        </p:spPr>
        <p:txBody>
          <a:bodyPr vert="horz" wrap="square" lIns="0" tIns="0" rIns="0" bIns="0" numCol="1" anchor="b"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j-cs"/>
              </a:rPr>
              <a:t>c</a:t>
            </a:r>
          </a:p>
        </p:txBody>
      </p:sp>
      <p:sp>
        <p:nvSpPr>
          <p:cNvPr id="115" name="TextBox 114">
            <a:extLst>
              <a:ext uri="{FF2B5EF4-FFF2-40B4-BE49-F238E27FC236}">
                <a16:creationId xmlns:a16="http://schemas.microsoft.com/office/drawing/2014/main" id="{30EE052D-D746-4D55-931B-6CD9599E2583}"/>
              </a:ext>
            </a:extLst>
          </p:cNvPr>
          <p:cNvSpPr txBox="1"/>
          <p:nvPr/>
        </p:nvSpPr>
        <p:spPr bwMode="auto">
          <a:xfrm>
            <a:off x="872842" y="4139427"/>
            <a:ext cx="2092367" cy="294533"/>
          </a:xfrm>
          <a:prstGeom prst="roundRect">
            <a:avLst>
              <a:gd name="adj" fmla="val 16270"/>
            </a:avLst>
          </a:prstGeom>
          <a:noFill/>
          <a:ln w="22225">
            <a:solidFill>
              <a:srgbClr val="D51067"/>
            </a:solidFill>
            <a:prstDash val="sysDash"/>
          </a:ln>
        </p:spPr>
        <p:txBody>
          <a:bodyPr vert="horz" wrap="square" lIns="0" tIns="0" rIns="0" bIns="0" numCol="1" anchor="b" anchorCtr="0" compatLnSpc="1">
            <a:prstTxWarp prst="textNoShape">
              <a:avLst/>
            </a:prstTxWarp>
          </a:bodyPr>
          <a:lstStyle>
            <a:defPPr>
              <a:defRPr lang="en-US"/>
            </a:defPPr>
            <a:lvl1pPr algn="ctr">
              <a:defRPr sz="1600">
                <a:solidFill>
                  <a:schemeClr val="bg1"/>
                </a:solidFill>
                <a:latin typeface="+mj-lt"/>
                <a:cs typeface="+mj-cs"/>
              </a:defRPr>
            </a:lvl1pPr>
          </a:lstStyle>
          <a:p>
            <a:pPr marL="0" marR="0" lvl="0" indent="0" algn="ctr" defTabSz="914400" rtl="0" eaLnBrk="1" fontAlgn="base" latinLnBrk="0" hangingPunct="1">
              <a:lnSpc>
                <a:spcPts val="1400"/>
              </a:lnSpc>
              <a:spcBef>
                <a:spcPts val="300"/>
              </a:spcBef>
              <a:spcAft>
                <a:spcPct val="0"/>
              </a:spcAft>
              <a:buClr>
                <a:srgbClr val="FF0000"/>
              </a:buClr>
              <a:buSzPct val="65000"/>
              <a:buFont typeface="Wingdings" pitchFamily="2" charset="2"/>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j-cs"/>
            </a:endParaRPr>
          </a:p>
        </p:txBody>
      </p:sp>
      <p:cxnSp>
        <p:nvCxnSpPr>
          <p:cNvPr id="116" name="Straight Connector 115">
            <a:extLst>
              <a:ext uri="{FF2B5EF4-FFF2-40B4-BE49-F238E27FC236}">
                <a16:creationId xmlns:a16="http://schemas.microsoft.com/office/drawing/2014/main" id="{C09B534A-E54A-4B3C-AFC1-2A8987E1A5C6}"/>
              </a:ext>
            </a:extLst>
          </p:cNvPr>
          <p:cNvCxnSpPr>
            <a:cxnSpLocks/>
          </p:cNvCxnSpPr>
          <p:nvPr/>
        </p:nvCxnSpPr>
        <p:spPr bwMode="auto">
          <a:xfrm flipH="1" flipV="1">
            <a:off x="1667833" y="3919795"/>
            <a:ext cx="3376455" cy="11872"/>
          </a:xfrm>
          <a:prstGeom prst="line">
            <a:avLst/>
          </a:prstGeom>
          <a:gradFill>
            <a:gsLst>
              <a:gs pos="0">
                <a:schemeClr val="accent1">
                  <a:alpha val="88000"/>
                </a:schemeClr>
              </a:gs>
              <a:gs pos="100000">
                <a:schemeClr val="accent2">
                  <a:alpha val="94000"/>
                </a:schemeClr>
              </a:gs>
            </a:gsLst>
            <a:lin ang="0" scaled="1"/>
          </a:gradFill>
          <a:ln w="22225">
            <a:solidFill>
              <a:srgbClr val="D51067"/>
            </a:solidFill>
            <a:prstDash val="sysDash"/>
          </a:ln>
        </p:spPr>
      </p:cxnSp>
      <p:cxnSp>
        <p:nvCxnSpPr>
          <p:cNvPr id="117" name="Straight Connector 116">
            <a:extLst>
              <a:ext uri="{FF2B5EF4-FFF2-40B4-BE49-F238E27FC236}">
                <a16:creationId xmlns:a16="http://schemas.microsoft.com/office/drawing/2014/main" id="{07BADEA5-F8C1-4E05-8580-6C1620AFF84C}"/>
              </a:ext>
            </a:extLst>
          </p:cNvPr>
          <p:cNvCxnSpPr>
            <a:cxnSpLocks/>
          </p:cNvCxnSpPr>
          <p:nvPr/>
        </p:nvCxnSpPr>
        <p:spPr bwMode="auto">
          <a:xfrm flipH="1">
            <a:off x="2974900" y="4286693"/>
            <a:ext cx="1971952" cy="0"/>
          </a:xfrm>
          <a:prstGeom prst="line">
            <a:avLst/>
          </a:prstGeom>
          <a:gradFill>
            <a:gsLst>
              <a:gs pos="0">
                <a:schemeClr val="accent1">
                  <a:alpha val="88000"/>
                </a:schemeClr>
              </a:gs>
              <a:gs pos="100000">
                <a:schemeClr val="accent2">
                  <a:alpha val="94000"/>
                </a:schemeClr>
              </a:gs>
            </a:gsLst>
            <a:lin ang="0" scaled="1"/>
          </a:gradFill>
          <a:ln w="22225">
            <a:solidFill>
              <a:srgbClr val="D51067"/>
            </a:solidFill>
            <a:prstDash val="sysDash"/>
          </a:ln>
        </p:spPr>
      </p:cxnSp>
      <p:pic>
        <p:nvPicPr>
          <p:cNvPr id="119" name="Picture 9" descr="Related image">
            <a:extLst>
              <a:ext uri="{FF2B5EF4-FFF2-40B4-BE49-F238E27FC236}">
                <a16:creationId xmlns:a16="http://schemas.microsoft.com/office/drawing/2014/main" id="{9D178CCB-4557-4786-B03B-AC60565C7007}"/>
              </a:ext>
            </a:extLst>
          </p:cNvPr>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51940" y="5430456"/>
            <a:ext cx="909591" cy="909591"/>
          </a:xfrm>
          <a:prstGeom prst="rect">
            <a:avLst/>
          </a:prstGeom>
          <a:noFill/>
          <a:extLst>
            <a:ext uri="{909E8E84-426E-40DD-AFC4-6F175D3DCCD1}">
              <a14:hiddenFill xmlns:a14="http://schemas.microsoft.com/office/drawing/2010/main">
                <a:solidFill>
                  <a:srgbClr val="FFFFFF"/>
                </a:solidFill>
              </a14:hiddenFill>
            </a:ext>
          </a:extLst>
        </p:spPr>
      </p:pic>
      <p:sp>
        <p:nvSpPr>
          <p:cNvPr id="47" name="Google Shape;11;p56"/>
          <p:cNvSpPr txBox="1"/>
          <p:nvPr/>
        </p:nvSpPr>
        <p:spPr>
          <a:xfrm>
            <a:off x="9897959" y="6556249"/>
            <a:ext cx="1840451" cy="269820"/>
          </a:xfrm>
          <a:prstGeom prst="rect">
            <a:avLst/>
          </a:prstGeom>
          <a:noFill/>
          <a:ln>
            <a:noFill/>
          </a:ln>
        </p:spPr>
        <p:txBody>
          <a:bodyPr spcFirstLastPara="1" wrap="square" lIns="121875" tIns="60925" rIns="121875" bIns="60925" anchor="ctr" anchorCtr="0">
            <a:noAutofit/>
          </a:bodyPr>
          <a:lstStyle/>
          <a:p>
            <a:pPr marL="0" marR="0" lvl="0" indent="0" algn="r" rtl="0">
              <a:spcBef>
                <a:spcPts val="0"/>
              </a:spcBef>
              <a:spcAft>
                <a:spcPts val="0"/>
              </a:spcAft>
              <a:buClr>
                <a:schemeClr val="dk1"/>
              </a:buClr>
              <a:buSzPts val="1000"/>
              <a:buFont typeface="Noto Sans Symbols"/>
              <a:buNone/>
            </a:pPr>
            <a:fld id="{00000000-1234-1234-1234-123412341234}" type="slidenum">
              <a:rPr lang="en-US" sz="1000" b="0" i="0" u="none" strike="noStrike" cap="none">
                <a:solidFill>
                  <a:schemeClr val="dk1"/>
                </a:solidFill>
                <a:latin typeface="Calibri"/>
                <a:ea typeface="Calibri"/>
                <a:cs typeface="Calibri"/>
                <a:sym typeface="Calibri"/>
              </a:rPr>
              <a:t>15</a:t>
            </a:fld>
            <a:endParaRPr sz="1100" b="0" i="0" u="none" strike="noStrike" cap="none">
              <a:solidFill>
                <a:schemeClr val="dk1"/>
              </a:solidFill>
              <a:latin typeface="Calibri"/>
              <a:ea typeface="Calibri"/>
              <a:cs typeface="Calibri"/>
              <a:sym typeface="Calibri"/>
            </a:endParaRPr>
          </a:p>
        </p:txBody>
      </p:sp>
      <p:sp>
        <p:nvSpPr>
          <p:cNvPr id="48" name="Google Shape;12;p56"/>
          <p:cNvSpPr txBox="1"/>
          <p:nvPr/>
        </p:nvSpPr>
        <p:spPr>
          <a:xfrm>
            <a:off x="9080500" y="6542102"/>
            <a:ext cx="2744799" cy="304221"/>
          </a:xfrm>
          <a:prstGeom prst="rect">
            <a:avLst/>
          </a:prstGeom>
          <a:noFill/>
          <a:ln>
            <a:noFill/>
          </a:ln>
        </p:spPr>
        <p:txBody>
          <a:bodyPr spcFirstLastPara="1" wrap="square" lIns="121875" tIns="60925" rIns="121875" bIns="60925" anchor="ctr" anchorCtr="0">
            <a:noAutofit/>
          </a:bodyPr>
          <a:lstStyle/>
          <a:p>
            <a:pPr marL="0" marR="0" lvl="0" indent="0" algn="l" rtl="0">
              <a:spcBef>
                <a:spcPts val="0"/>
              </a:spcBef>
              <a:spcAft>
                <a:spcPts val="0"/>
              </a:spcAft>
              <a:buClr>
                <a:srgbClr val="B6B6B8"/>
              </a:buClr>
              <a:buSzPts val="900"/>
              <a:buFont typeface="Noto Sans Symbols"/>
              <a:buNone/>
            </a:pPr>
            <a:r>
              <a:rPr lang="en-US" sz="900" b="0" i="0" u="none" strike="noStrike" cap="none" dirty="0">
                <a:solidFill>
                  <a:srgbClr val="B6B6B8"/>
                </a:solidFill>
                <a:latin typeface="Calibri"/>
                <a:ea typeface="Calibri"/>
                <a:cs typeface="Calibri"/>
                <a:sym typeface="Calibri"/>
              </a:rPr>
              <a:t>©2021 Check Point Software Technologies Ltd. </a:t>
            </a:r>
            <a:endParaRPr dirty="0">
              <a:latin typeface="Calibri" panose="020F0502020204030204" pitchFamily="34" charset="0"/>
              <a:cs typeface="Calibri" panose="020F0502020204030204" pitchFamily="34" charset="0"/>
            </a:endParaRPr>
          </a:p>
        </p:txBody>
      </p:sp>
      <p:cxnSp>
        <p:nvCxnSpPr>
          <p:cNvPr id="49" name="Google Shape;14;p56"/>
          <p:cNvCxnSpPr/>
          <p:nvPr/>
        </p:nvCxnSpPr>
        <p:spPr>
          <a:xfrm>
            <a:off x="0" y="6505756"/>
            <a:ext cx="12188825" cy="3837"/>
          </a:xfrm>
          <a:prstGeom prst="straightConnector1">
            <a:avLst/>
          </a:prstGeom>
          <a:solidFill>
            <a:schemeClr val="lt1"/>
          </a:solidFill>
          <a:ln w="9525" cap="flat" cmpd="sng">
            <a:solidFill>
              <a:srgbClr val="D8D8D8"/>
            </a:solidFill>
            <a:prstDash val="solid"/>
            <a:round/>
            <a:headEnd type="none" w="sm" len="sm"/>
            <a:tailEnd type="none" w="sm" len="sm"/>
          </a:ln>
        </p:spPr>
      </p:cxnSp>
      <p:sp>
        <p:nvSpPr>
          <p:cNvPr id="50" name="Google Shape;828;p12"/>
          <p:cNvSpPr txBox="1"/>
          <p:nvPr/>
        </p:nvSpPr>
        <p:spPr>
          <a:xfrm>
            <a:off x="582487" y="912436"/>
            <a:ext cx="7340596" cy="461624"/>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mn-lt"/>
                <a:cs typeface="Segoe UI" panose="020B0502040204020203" pitchFamily="34" charset="0"/>
              </a:rPr>
              <a:t>PROTECT USER MAILBOXES &amp; PRODUCTIVITY APPS</a:t>
            </a:r>
          </a:p>
        </p:txBody>
      </p:sp>
      <p:sp>
        <p:nvSpPr>
          <p:cNvPr id="6" name="AutoShape 2" descr="Download Microsoft Teams Logo in SVG Vector or PNG File Format - Logo.win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8" name="AutoShape 4" descr="Download Microsoft Teams Logo in SVG Vector or PNG File Format - Logo.win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pic>
        <p:nvPicPr>
          <p:cNvPr id="8198" name="Picture 6" descr="מה זה ואן דרייב – מהי תוכנת ואן דרייב ? Microsoft OneDrive - סאן ספארק מרכז  הידע"/>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l="8799" t="18008" r="9773" b="13421"/>
          <a:stretch/>
        </p:blipFill>
        <p:spPr bwMode="auto">
          <a:xfrm>
            <a:off x="6386226" y="5552742"/>
            <a:ext cx="789710" cy="665019"/>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SharePoint • תוכנות Anyware"/>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285724" y="5522168"/>
            <a:ext cx="726167" cy="7261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4430" y="292427"/>
            <a:ext cx="1532045" cy="640080"/>
          </a:xfrm>
          <a:prstGeom prst="rect">
            <a:avLst/>
          </a:prstGeom>
        </p:spPr>
      </p:pic>
      <p:pic>
        <p:nvPicPr>
          <p:cNvPr id="1026" name="Picture 2" descr="File:Gsuite-logo.png - Wikimedia Commons"/>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31002" y="5714575"/>
            <a:ext cx="1379563" cy="3413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Microsoft Exchange Logo - LogoDix"/>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67163" y="5670106"/>
            <a:ext cx="1971243" cy="4302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icrosoft Teams Logo transparent PNG - StickPNG"/>
          <p:cNvPicPr>
            <a:picLocks noChangeAspect="1" noChangeArrowheads="1"/>
          </p:cNvPicPr>
          <p:nvPr/>
        </p:nvPicPr>
        <p:blipFill rotWithShape="1">
          <a:blip r:embed="rId14">
            <a:extLst>
              <a:ext uri="{28A0092B-C50C-407E-A947-70E740481C1C}">
                <a14:useLocalDpi xmlns:a14="http://schemas.microsoft.com/office/drawing/2010/main" val="0"/>
              </a:ext>
            </a:extLst>
          </a:blip>
          <a:srcRect l="21224" t="24483" r="18830" b="23923"/>
          <a:stretch/>
        </p:blipFill>
        <p:spPr bwMode="auto">
          <a:xfrm>
            <a:off x="5495004" y="5591732"/>
            <a:ext cx="682063" cy="587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111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down)">
                                      <p:cBhvr>
                                        <p:cTn id="7" dur="500"/>
                                        <p:tgtEl>
                                          <p:spTgt spid="30"/>
                                        </p:tgtEl>
                                      </p:cBhvr>
                                    </p:animEffect>
                                  </p:childTnLst>
                                </p:cTn>
                              </p:par>
                              <p:par>
                                <p:cTn id="8" presetID="22" presetClass="entr" presetSubtype="4"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down)">
                                      <p:cBhvr>
                                        <p:cTn id="10" dur="500"/>
                                        <p:tgtEl>
                                          <p:spTgt spid="25"/>
                                        </p:tgtEl>
                                      </p:cBhvr>
                                    </p:animEffec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nodeType="after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97"/>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childTnLst>
                                </p:cTn>
                              </p:par>
                            </p:childTnLst>
                          </p:cTn>
                        </p:par>
                        <p:par>
                          <p:cTn id="23" fill="hold">
                            <p:stCondLst>
                              <p:cond delay="500"/>
                            </p:stCondLst>
                            <p:childTnLst>
                              <p:par>
                                <p:cTn id="24" presetID="1" presetClass="entr" presetSubtype="0" fill="hold" nodeType="afterEffect">
                                  <p:stCondLst>
                                    <p:cond delay="0"/>
                                  </p:stCondLst>
                                  <p:childTnLst>
                                    <p:set>
                                      <p:cBhvr>
                                        <p:cTn id="25" dur="1" fill="hold">
                                          <p:stCondLst>
                                            <p:cond delay="0"/>
                                          </p:stCondLst>
                                        </p:cTn>
                                        <p:tgtEl>
                                          <p:spTgt spid="102"/>
                                        </p:tgtEl>
                                        <p:attrNameLst>
                                          <p:attrName>style.visibility</p:attrName>
                                        </p:attrNameLst>
                                      </p:cBhvr>
                                      <p:to>
                                        <p:strVal val="visible"/>
                                      </p:to>
                                    </p:set>
                                  </p:childTnLst>
                                </p:cTn>
                              </p:par>
                            </p:childTnLst>
                          </p:cTn>
                        </p:par>
                        <p:par>
                          <p:cTn id="26" fill="hold">
                            <p:stCondLst>
                              <p:cond delay="500"/>
                            </p:stCondLst>
                            <p:childTnLst>
                              <p:par>
                                <p:cTn id="27" presetID="1" presetClass="entr" presetSubtype="0" fill="hold" grpId="0" nodeType="afterEffect">
                                  <p:stCondLst>
                                    <p:cond delay="0"/>
                                  </p:stCondLst>
                                  <p:childTnLst>
                                    <p:set>
                                      <p:cBhvr>
                                        <p:cTn id="28" dur="1" fill="hold">
                                          <p:stCondLst>
                                            <p:cond delay="0"/>
                                          </p:stCondLst>
                                        </p:cTn>
                                        <p:tgtEl>
                                          <p:spTgt spid="103"/>
                                        </p:tgtEl>
                                        <p:attrNameLst>
                                          <p:attrName>style.visibility</p:attrName>
                                        </p:attrNameLst>
                                      </p:cBhvr>
                                      <p:to>
                                        <p:strVal val="visible"/>
                                      </p:to>
                                    </p:set>
                                  </p:childTnLst>
                                </p:cTn>
                              </p:par>
                            </p:childTnLst>
                          </p:cTn>
                        </p:par>
                        <p:par>
                          <p:cTn id="29" fill="hold">
                            <p:stCondLst>
                              <p:cond delay="500"/>
                            </p:stCondLst>
                            <p:childTnLst>
                              <p:par>
                                <p:cTn id="30" presetID="1" presetClass="entr" presetSubtype="0" fill="hold" grpId="0" nodeType="afterEffect">
                                  <p:stCondLst>
                                    <p:cond delay="0"/>
                                  </p:stCondLst>
                                  <p:childTnLst>
                                    <p:set>
                                      <p:cBhvr>
                                        <p:cTn id="31" dur="1" fill="hold">
                                          <p:stCondLst>
                                            <p:cond delay="0"/>
                                          </p:stCondLst>
                                        </p:cTn>
                                        <p:tgtEl>
                                          <p:spTgt spid="105"/>
                                        </p:tgtEl>
                                        <p:attrNameLst>
                                          <p:attrName>style.visibility</p:attrName>
                                        </p:attrNameLst>
                                      </p:cBhvr>
                                      <p:to>
                                        <p:strVal val="visible"/>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109"/>
                                        </p:tgtEl>
                                        <p:attrNameLst>
                                          <p:attrName>style.visibility</p:attrName>
                                        </p:attrNameLst>
                                      </p:cBhvr>
                                      <p:to>
                                        <p:strVal val="visible"/>
                                      </p:to>
                                    </p:set>
                                  </p:childTnLst>
                                </p:cTn>
                              </p:par>
                            </p:childTnLst>
                          </p:cTn>
                        </p:par>
                        <p:par>
                          <p:cTn id="35" fill="hold">
                            <p:stCondLst>
                              <p:cond delay="500"/>
                            </p:stCondLst>
                            <p:childTnLst>
                              <p:par>
                                <p:cTn id="36" presetID="1" presetClass="entr" presetSubtype="0" fill="hold" nodeType="afterEffect">
                                  <p:stCondLst>
                                    <p:cond delay="0"/>
                                  </p:stCondLst>
                                  <p:childTnLst>
                                    <p:set>
                                      <p:cBhvr>
                                        <p:cTn id="37" dur="1" fill="hold">
                                          <p:stCondLst>
                                            <p:cond delay="0"/>
                                          </p:stCondLst>
                                        </p:cTn>
                                        <p:tgtEl>
                                          <p:spTgt spid="112"/>
                                        </p:tgtEl>
                                        <p:attrNameLst>
                                          <p:attrName>style.visibility</p:attrName>
                                        </p:attrNameLst>
                                      </p:cBhvr>
                                      <p:to>
                                        <p:strVal val="visible"/>
                                      </p:to>
                                    </p:set>
                                  </p:childTnLst>
                                </p:cTn>
                              </p:par>
                            </p:childTnLst>
                          </p:cTn>
                        </p:par>
                        <p:par>
                          <p:cTn id="38" fill="hold">
                            <p:stCondLst>
                              <p:cond delay="500"/>
                            </p:stCondLst>
                            <p:childTnLst>
                              <p:par>
                                <p:cTn id="39" presetID="1"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childTnLst>
                          </p:cTn>
                        </p:par>
                        <p:par>
                          <p:cTn id="41" fill="hold">
                            <p:stCondLst>
                              <p:cond delay="500"/>
                            </p:stCondLst>
                            <p:childTnLst>
                              <p:par>
                                <p:cTn id="42" presetID="1" presetClass="entr" presetSubtype="0" fill="hold" grpId="0" nodeType="afterEffect">
                                  <p:stCondLst>
                                    <p:cond delay="0"/>
                                  </p:stCondLst>
                                  <p:childTnLst>
                                    <p:set>
                                      <p:cBhvr>
                                        <p:cTn id="43" dur="1" fill="hold">
                                          <p:stCondLst>
                                            <p:cond delay="0"/>
                                          </p:stCondLst>
                                        </p:cTn>
                                        <p:tgtEl>
                                          <p:spTgt spid="114"/>
                                        </p:tgtEl>
                                        <p:attrNameLst>
                                          <p:attrName>style.visibility</p:attrName>
                                        </p:attrNameLst>
                                      </p:cBhvr>
                                      <p:to>
                                        <p:strVal val="visible"/>
                                      </p:to>
                                    </p:set>
                                  </p:childTnLst>
                                </p:cTn>
                              </p:par>
                            </p:childTnLst>
                          </p:cTn>
                        </p:par>
                        <p:par>
                          <p:cTn id="44" fill="hold">
                            <p:stCondLst>
                              <p:cond delay="500"/>
                            </p:stCondLst>
                            <p:childTnLst>
                              <p:par>
                                <p:cTn id="45" presetID="1" presetClass="entr" presetSubtype="0" fill="hold" grpId="0" nodeType="afterEffect">
                                  <p:stCondLst>
                                    <p:cond delay="0"/>
                                  </p:stCondLst>
                                  <p:childTnLst>
                                    <p:set>
                                      <p:cBhvr>
                                        <p:cTn id="46" dur="1" fill="hold">
                                          <p:stCondLst>
                                            <p:cond delay="0"/>
                                          </p:stCondLst>
                                        </p:cTn>
                                        <p:tgtEl>
                                          <p:spTgt spid="115"/>
                                        </p:tgtEl>
                                        <p:attrNameLst>
                                          <p:attrName>style.visibility</p:attrName>
                                        </p:attrNameLst>
                                      </p:cBhvr>
                                      <p:to>
                                        <p:strVal val="visible"/>
                                      </p:to>
                                    </p:set>
                                  </p:childTnLst>
                                </p:cTn>
                              </p:par>
                            </p:childTnLst>
                          </p:cTn>
                        </p:par>
                        <p:par>
                          <p:cTn id="47" fill="hold">
                            <p:stCondLst>
                              <p:cond delay="500"/>
                            </p:stCondLst>
                            <p:childTnLst>
                              <p:par>
                                <p:cTn id="48" presetID="1" presetClass="entr" presetSubtype="0" fill="hold" nodeType="afterEffect">
                                  <p:stCondLst>
                                    <p:cond delay="0"/>
                                  </p:stCondLst>
                                  <p:childTnLst>
                                    <p:set>
                                      <p:cBhvr>
                                        <p:cTn id="49" dur="1" fill="hold">
                                          <p:stCondLst>
                                            <p:cond delay="0"/>
                                          </p:stCondLst>
                                        </p:cTn>
                                        <p:tgtEl>
                                          <p:spTgt spid="116"/>
                                        </p:tgtEl>
                                        <p:attrNameLst>
                                          <p:attrName>style.visibility</p:attrName>
                                        </p:attrNameLst>
                                      </p:cBhvr>
                                      <p:to>
                                        <p:strVal val="visible"/>
                                      </p:to>
                                    </p:set>
                                  </p:childTnLst>
                                </p:cTn>
                              </p:par>
                            </p:childTnLst>
                          </p:cTn>
                        </p:par>
                        <p:par>
                          <p:cTn id="50" fill="hold">
                            <p:stCondLst>
                              <p:cond delay="500"/>
                            </p:stCondLst>
                            <p:childTnLst>
                              <p:par>
                                <p:cTn id="51" presetID="1" presetClass="entr" presetSubtype="0" fill="hold" nodeType="afterEffect">
                                  <p:stCondLst>
                                    <p:cond delay="0"/>
                                  </p:stCondLst>
                                  <p:childTnLst>
                                    <p:set>
                                      <p:cBhvr>
                                        <p:cTn id="52" dur="1" fill="hold">
                                          <p:stCondLst>
                                            <p:cond delay="0"/>
                                          </p:stCondLst>
                                        </p:cTn>
                                        <p:tgtEl>
                                          <p:spTgt spid="117"/>
                                        </p:tgtEl>
                                        <p:attrNameLst>
                                          <p:attrName>style.visibility</p:attrName>
                                        </p:attrNameLst>
                                      </p:cBhvr>
                                      <p:to>
                                        <p:strVal val="visible"/>
                                      </p:to>
                                    </p:set>
                                  </p:childTnLst>
                                </p:cTn>
                              </p:par>
                            </p:childTnLst>
                          </p:cTn>
                        </p:par>
                        <p:par>
                          <p:cTn id="53" fill="hold">
                            <p:stCondLst>
                              <p:cond delay="500"/>
                            </p:stCondLst>
                            <p:childTnLst>
                              <p:par>
                                <p:cTn id="54" presetID="1" presetClass="entr" presetSubtype="0" fill="hold" nodeType="afterEffect">
                                  <p:stCondLst>
                                    <p:cond delay="0"/>
                                  </p:stCondLst>
                                  <p:childTnLst>
                                    <p:set>
                                      <p:cBhvr>
                                        <p:cTn id="55" dur="1" fill="hold">
                                          <p:stCondLst>
                                            <p:cond delay="0"/>
                                          </p:stCondLst>
                                        </p:cTn>
                                        <p:tgtEl>
                                          <p:spTgt spid="119"/>
                                        </p:tgtEl>
                                        <p:attrNameLst>
                                          <p:attrName>style.visibility</p:attrName>
                                        </p:attrNameLst>
                                      </p:cBhvr>
                                      <p:to>
                                        <p:strVal val="visible"/>
                                      </p:to>
                                    </p:set>
                                  </p:childTnLst>
                                </p:cTn>
                              </p:par>
                            </p:childTnLst>
                          </p:cTn>
                        </p:par>
                        <p:par>
                          <p:cTn id="56" fill="hold">
                            <p:stCondLst>
                              <p:cond delay="500"/>
                            </p:stCondLst>
                            <p:childTnLst>
                              <p:par>
                                <p:cTn id="57" presetID="1" presetClass="entr" presetSubtype="0" fill="hold" nodeType="afterEffect">
                                  <p:stCondLst>
                                    <p:cond delay="0"/>
                                  </p:stCondLst>
                                  <p:childTnLst>
                                    <p:set>
                                      <p:cBhvr>
                                        <p:cTn id="58" dur="1" fill="hold">
                                          <p:stCondLst>
                                            <p:cond delay="0"/>
                                          </p:stCondLst>
                                        </p:cTn>
                                        <p:tgtEl>
                                          <p:spTgt spid="8198"/>
                                        </p:tgtEl>
                                        <p:attrNameLst>
                                          <p:attrName>style.visibility</p:attrName>
                                        </p:attrNameLst>
                                      </p:cBhvr>
                                      <p:to>
                                        <p:strVal val="visible"/>
                                      </p:to>
                                    </p:set>
                                  </p:childTnLst>
                                </p:cTn>
                              </p:par>
                            </p:childTnLst>
                          </p:cTn>
                        </p:par>
                        <p:par>
                          <p:cTn id="59" fill="hold">
                            <p:stCondLst>
                              <p:cond delay="500"/>
                            </p:stCondLst>
                            <p:childTnLst>
                              <p:par>
                                <p:cTn id="60" presetID="1" presetClass="entr" presetSubtype="0" fill="hold" nodeType="afterEffect">
                                  <p:stCondLst>
                                    <p:cond delay="0"/>
                                  </p:stCondLst>
                                  <p:childTnLst>
                                    <p:set>
                                      <p:cBhvr>
                                        <p:cTn id="61" dur="1" fill="hold">
                                          <p:stCondLst>
                                            <p:cond delay="0"/>
                                          </p:stCondLst>
                                        </p:cTn>
                                        <p:tgtEl>
                                          <p:spTgt spid="8200"/>
                                        </p:tgtEl>
                                        <p:attrNameLst>
                                          <p:attrName>style.visibility</p:attrName>
                                        </p:attrNameLst>
                                      </p:cBhvr>
                                      <p:to>
                                        <p:strVal val="visible"/>
                                      </p:to>
                                    </p:set>
                                  </p:childTnLst>
                                </p:cTn>
                              </p:par>
                            </p:childTnLst>
                          </p:cTn>
                        </p:par>
                        <p:par>
                          <p:cTn id="62" fill="hold">
                            <p:stCondLst>
                              <p:cond delay="500"/>
                            </p:stCondLst>
                            <p:childTnLst>
                              <p:par>
                                <p:cTn id="63" presetID="1" presetClass="entr" presetSubtype="0" fill="hold" nodeType="afterEffect">
                                  <p:stCondLst>
                                    <p:cond delay="0"/>
                                  </p:stCondLst>
                                  <p:childTnLst>
                                    <p:set>
                                      <p:cBhvr>
                                        <p:cTn id="64" dur="1" fill="hold">
                                          <p:stCondLst>
                                            <p:cond delay="0"/>
                                          </p:stCondLst>
                                        </p:cTn>
                                        <p:tgtEl>
                                          <p:spTgt spid="1026"/>
                                        </p:tgtEl>
                                        <p:attrNameLst>
                                          <p:attrName>style.visibility</p:attrName>
                                        </p:attrNameLst>
                                      </p:cBhvr>
                                      <p:to>
                                        <p:strVal val="visible"/>
                                      </p:to>
                                    </p:set>
                                  </p:childTnLst>
                                </p:cTn>
                              </p:par>
                            </p:childTnLst>
                          </p:cTn>
                        </p:par>
                        <p:par>
                          <p:cTn id="65" fill="hold">
                            <p:stCondLst>
                              <p:cond delay="500"/>
                            </p:stCondLst>
                            <p:childTnLst>
                              <p:par>
                                <p:cTn id="66" presetID="1" presetClass="entr" presetSubtype="0" fill="hold" nodeType="afterEffect">
                                  <p:stCondLst>
                                    <p:cond delay="0"/>
                                  </p:stCondLst>
                                  <p:childTnLst>
                                    <p:set>
                                      <p:cBhvr>
                                        <p:cTn id="67" dur="1" fill="hold">
                                          <p:stCondLst>
                                            <p:cond delay="0"/>
                                          </p:stCondLst>
                                        </p:cTn>
                                        <p:tgtEl>
                                          <p:spTgt spid="9"/>
                                        </p:tgtEl>
                                        <p:attrNameLst>
                                          <p:attrName>style.visibility</p:attrName>
                                        </p:attrNameLst>
                                      </p:cBhvr>
                                      <p:to>
                                        <p:strVal val="visible"/>
                                      </p:to>
                                    </p:set>
                                  </p:childTnLst>
                                </p:cTn>
                              </p:par>
                            </p:childTnLst>
                          </p:cTn>
                        </p:par>
                        <p:par>
                          <p:cTn id="68" fill="hold">
                            <p:stCondLst>
                              <p:cond delay="500"/>
                            </p:stCondLst>
                            <p:childTnLst>
                              <p:par>
                                <p:cTn id="69" presetID="1" presetClass="entr" presetSubtype="0" fill="hold" nodeType="afterEffect">
                                  <p:stCondLst>
                                    <p:cond delay="0"/>
                                  </p:stCondLst>
                                  <p:childTnLst>
                                    <p:set>
                                      <p:cBhvr>
                                        <p:cTn id="70"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7" grpId="0" animBg="1"/>
      <p:bldP spid="101" grpId="0" animBg="1"/>
      <p:bldP spid="103" grpId="0" animBg="1"/>
      <p:bldP spid="105" grpId="0" animBg="1"/>
      <p:bldP spid="109" grpId="0" animBg="1"/>
      <p:bldP spid="113" grpId="0" animBg="1"/>
      <p:bldP spid="114" grpId="0" animBg="1"/>
      <p:bldP spid="1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9" name="Straight Connector 88">
            <a:extLst>
              <a:ext uri="{FF2B5EF4-FFF2-40B4-BE49-F238E27FC236}">
                <a16:creationId xmlns:a16="http://schemas.microsoft.com/office/drawing/2014/main" id="{0423AC72-512E-45EE-8747-000E73B41500}"/>
              </a:ext>
            </a:extLst>
          </p:cNvPr>
          <p:cNvCxnSpPr>
            <a:cxnSpLocks/>
          </p:cNvCxnSpPr>
          <p:nvPr/>
        </p:nvCxnSpPr>
        <p:spPr bwMode="auto">
          <a:xfrm>
            <a:off x="5698999" y="3384805"/>
            <a:ext cx="2190369" cy="0"/>
          </a:xfrm>
          <a:prstGeom prst="line">
            <a:avLst/>
          </a:prstGeom>
          <a:noFill/>
          <a:ln w="73025" cap="sq" cmpd="sng" algn="ctr">
            <a:gradFill>
              <a:gsLst>
                <a:gs pos="0">
                  <a:schemeClr val="tx2">
                    <a:lumMod val="60000"/>
                    <a:lumOff val="40000"/>
                  </a:schemeClr>
                </a:gs>
                <a:gs pos="100000">
                  <a:schemeClr val="tx2">
                    <a:lumMod val="50000"/>
                  </a:schemeClr>
                </a:gs>
              </a:gsLst>
              <a:lin ang="0" scaled="0"/>
            </a:gradFill>
            <a:prstDash val="solid"/>
            <a:round/>
            <a:headEnd type="oval" w="sm" len="sm"/>
            <a:tailEnd type="oval" w="sm" len="sm"/>
          </a:ln>
          <a:effectLst/>
        </p:spPr>
      </p:cxnSp>
      <p:pic>
        <p:nvPicPr>
          <p:cNvPr id="6" name="Picture 5">
            <a:extLst>
              <a:ext uri="{FF2B5EF4-FFF2-40B4-BE49-F238E27FC236}">
                <a16:creationId xmlns:a16="http://schemas.microsoft.com/office/drawing/2014/main" id="{F701CAE0-D08F-4D8B-8E04-5EF38CA06D0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124825" y="0"/>
            <a:ext cx="4064000" cy="6858000"/>
          </a:xfrm>
          <a:prstGeom prst="rect">
            <a:avLst/>
          </a:prstGeom>
        </p:spPr>
      </p:pic>
      <p:sp>
        <p:nvSpPr>
          <p:cNvPr id="2" name="Footer Placeholder 1" hidden="1"/>
          <p:cNvSpPr>
            <a:spLocks noGrp="1"/>
          </p:cNvSpPr>
          <p:nvPr>
            <p:ph type="ftr" sz="quarter" idx="11"/>
          </p:nvPr>
        </p:nvSpPr>
        <p:spPr/>
        <p:txBody>
          <a:bodyPr/>
          <a:lstStyle/>
          <a:p>
            <a:pPr>
              <a:buClr>
                <a:srgbClr val="FF0000"/>
              </a:buClr>
            </a:pPr>
            <a:r>
              <a:rPr lang="en-US" dirty="0">
                <a:solidFill>
                  <a:srgbClr val="FFFFFF">
                    <a:lumMod val="75000"/>
                  </a:srgbClr>
                </a:solidFill>
              </a:rPr>
              <a:t> [Internal Use] for Check Point employees​</a:t>
            </a:r>
          </a:p>
        </p:txBody>
      </p:sp>
      <p:sp>
        <p:nvSpPr>
          <p:cNvPr id="4" name="Date Placeholder 3" hidden="1"/>
          <p:cNvSpPr>
            <a:spLocks noGrp="1"/>
          </p:cNvSpPr>
          <p:nvPr>
            <p:ph type="dt" sz="half" idx="12"/>
          </p:nvPr>
        </p:nvSpPr>
        <p:spPr>
          <a:xfrm>
            <a:off x="-2991244" y="6356350"/>
            <a:ext cx="2843213" cy="365125"/>
          </a:xfrm>
        </p:spPr>
        <p:txBody>
          <a:bodyPr/>
          <a:lstStyle/>
          <a:p>
            <a:pPr>
              <a:buClr>
                <a:srgbClr val="FF0000"/>
              </a:buClr>
            </a:pPr>
            <a:endParaRPr lang="en-US" dirty="0">
              <a:solidFill>
                <a:srgbClr val="4D4D4F">
                  <a:tint val="75000"/>
                </a:srgbClr>
              </a:solidFill>
            </a:endParaRPr>
          </a:p>
        </p:txBody>
      </p:sp>
      <p:sp>
        <p:nvSpPr>
          <p:cNvPr id="9" name="TextBox 8">
            <a:extLst>
              <a:ext uri="{FF2B5EF4-FFF2-40B4-BE49-F238E27FC236}">
                <a16:creationId xmlns:a16="http://schemas.microsoft.com/office/drawing/2014/main" id="{163BED91-75D2-4A67-9F05-2781B72C5104}"/>
              </a:ext>
            </a:extLst>
          </p:cNvPr>
          <p:cNvSpPr txBox="1"/>
          <p:nvPr/>
        </p:nvSpPr>
        <p:spPr bwMode="auto">
          <a:xfrm>
            <a:off x="1233123" y="-294560"/>
            <a:ext cx="8021783" cy="523220"/>
          </a:xfrm>
          <a:prstGeom prst="rect">
            <a:avLst/>
          </a:prstGeom>
          <a:noFill/>
          <a:ln>
            <a:noFill/>
          </a:ln>
          <a:effectLst/>
        </p:spPr>
        <p:txBody>
          <a:bodyPr vert="horz" wrap="square" lIns="91440" tIns="45720" rIns="91440" bIns="45720" numCol="1" rtlCol="0" anchor="ctr" anchorCtr="0" compatLnSpc="1">
            <a:prstTxWarp prst="textNoShape">
              <a:avLst/>
            </a:prstTxWarp>
            <a:spAutoFit/>
          </a:bodyPr>
          <a:lstStyle/>
          <a:p>
            <a:pPr fontAlgn="base">
              <a:spcAft>
                <a:spcPct val="0"/>
              </a:spcAft>
              <a:buClr>
                <a:srgbClr val="FF0000"/>
              </a:buClr>
              <a:buSzPct val="65000"/>
              <a:buFont typeface="Wingdings" pitchFamily="2" charset="2"/>
              <a:buNone/>
            </a:pPr>
            <a:endParaRPr lang="en-US" sz="2800" kern="1200" dirty="0">
              <a:solidFill>
                <a:schemeClr val="tx1"/>
              </a:solidFill>
              <a:latin typeface="Segoe UI" panose="020B0502040204020203" pitchFamily="34" charset="0"/>
              <a:ea typeface="+mn-ea"/>
              <a:cs typeface="Segoe UI" panose="020B0502040204020203" pitchFamily="34" charset="0"/>
            </a:endParaRPr>
          </a:p>
        </p:txBody>
      </p:sp>
      <p:pic>
        <p:nvPicPr>
          <p:cNvPr id="7" name="Graphic 6">
            <a:extLst>
              <a:ext uri="{FF2B5EF4-FFF2-40B4-BE49-F238E27FC236}">
                <a16:creationId xmlns:a16="http://schemas.microsoft.com/office/drawing/2014/main" id="{15DC2DC5-8E98-46E8-A1D1-FAE2490CCB1B}"/>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0893" y="4168793"/>
            <a:ext cx="463659" cy="442259"/>
          </a:xfrm>
          <a:prstGeom prst="rect">
            <a:avLst/>
          </a:prstGeom>
        </p:spPr>
      </p:pic>
      <p:cxnSp>
        <p:nvCxnSpPr>
          <p:cNvPr id="56" name="Straight Connector 55">
            <a:extLst>
              <a:ext uri="{FF2B5EF4-FFF2-40B4-BE49-F238E27FC236}">
                <a16:creationId xmlns:a16="http://schemas.microsoft.com/office/drawing/2014/main" id="{1C8A5AEB-4EC9-4245-A200-4F81F2A321AF}"/>
              </a:ext>
            </a:extLst>
          </p:cNvPr>
          <p:cNvCxnSpPr>
            <a:cxnSpLocks/>
            <a:stCxn id="7" idx="0"/>
            <a:endCxn id="8" idx="5"/>
          </p:cNvCxnSpPr>
          <p:nvPr/>
        </p:nvCxnSpPr>
        <p:spPr bwMode="auto">
          <a:xfrm flipH="1" flipV="1">
            <a:off x="8417876" y="3684181"/>
            <a:ext cx="194847" cy="484612"/>
          </a:xfrm>
          <a:prstGeom prst="line">
            <a:avLst/>
          </a:prstGeom>
          <a:solidFill>
            <a:schemeClr val="bg1"/>
          </a:solidFill>
          <a:ln w="762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Oval 7">
            <a:extLst>
              <a:ext uri="{FF2B5EF4-FFF2-40B4-BE49-F238E27FC236}">
                <a16:creationId xmlns:a16="http://schemas.microsoft.com/office/drawing/2014/main" id="{F79532A7-335E-4731-AC96-AE12C1A72A19}"/>
              </a:ext>
            </a:extLst>
          </p:cNvPr>
          <p:cNvSpPr/>
          <p:nvPr/>
        </p:nvSpPr>
        <p:spPr bwMode="auto">
          <a:xfrm>
            <a:off x="7710388" y="2976694"/>
            <a:ext cx="828874" cy="828872"/>
          </a:xfrm>
          <a:prstGeom prst="ellipse">
            <a:avLst/>
          </a:prstGeom>
          <a:solidFill>
            <a:schemeClr val="bg1"/>
          </a:solidFill>
          <a:ln w="60325" algn="ctr">
            <a:gradFill>
              <a:gsLst>
                <a:gs pos="20000">
                  <a:schemeClr val="bg2"/>
                </a:gs>
                <a:gs pos="48000">
                  <a:schemeClr val="accent1">
                    <a:lumMod val="45000"/>
                    <a:lumOff val="55000"/>
                  </a:schemeClr>
                </a:gs>
                <a:gs pos="68000">
                  <a:schemeClr val="bg2"/>
                </a:gs>
              </a:gsLst>
              <a:lin ang="2700000" scaled="0"/>
            </a:gra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pic>
        <p:nvPicPr>
          <p:cNvPr id="23" name="Graphic 22">
            <a:extLst>
              <a:ext uri="{FF2B5EF4-FFF2-40B4-BE49-F238E27FC236}">
                <a16:creationId xmlns:a16="http://schemas.microsoft.com/office/drawing/2014/main" id="{0FFBCAAF-1659-45C7-8AFB-3D1B9FFBB46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89368" y="3179538"/>
            <a:ext cx="507820" cy="423183"/>
          </a:xfrm>
          <a:prstGeom prst="rect">
            <a:avLst/>
          </a:prstGeom>
        </p:spPr>
      </p:pic>
      <p:sp>
        <p:nvSpPr>
          <p:cNvPr id="39" name="Google Shape;11;p56"/>
          <p:cNvSpPr txBox="1"/>
          <p:nvPr/>
        </p:nvSpPr>
        <p:spPr>
          <a:xfrm>
            <a:off x="9897959" y="6556249"/>
            <a:ext cx="1840451" cy="269820"/>
          </a:xfrm>
          <a:prstGeom prst="rect">
            <a:avLst/>
          </a:prstGeom>
          <a:noFill/>
          <a:ln>
            <a:noFill/>
          </a:ln>
        </p:spPr>
        <p:txBody>
          <a:bodyPr spcFirstLastPara="1" wrap="square" lIns="121875" tIns="60925" rIns="121875" bIns="60925" anchor="ctr" anchorCtr="0">
            <a:noAutofit/>
          </a:bodyPr>
          <a:lstStyle/>
          <a:p>
            <a:pPr marL="0" marR="0" lvl="0" indent="0" algn="r" rtl="0">
              <a:spcBef>
                <a:spcPts val="0"/>
              </a:spcBef>
              <a:spcAft>
                <a:spcPts val="0"/>
              </a:spcAft>
              <a:buClr>
                <a:schemeClr val="dk1"/>
              </a:buClr>
              <a:buSzPts val="1000"/>
              <a:buFont typeface="Noto Sans Symbols"/>
              <a:buNone/>
            </a:pPr>
            <a:fld id="{00000000-1234-1234-1234-123412341234}" type="slidenum">
              <a:rPr lang="en-US" sz="1000" b="0" i="0" u="none" strike="noStrike" cap="none">
                <a:solidFill>
                  <a:schemeClr val="dk1"/>
                </a:solidFill>
                <a:latin typeface="Calibri"/>
                <a:ea typeface="Calibri"/>
                <a:cs typeface="Calibri"/>
                <a:sym typeface="Calibri"/>
              </a:rPr>
              <a:t>16</a:t>
            </a:fld>
            <a:endParaRPr sz="1100" b="0" i="0" u="none" strike="noStrike" cap="none">
              <a:solidFill>
                <a:schemeClr val="dk1"/>
              </a:solidFill>
              <a:latin typeface="Calibri"/>
              <a:ea typeface="Calibri"/>
              <a:cs typeface="Calibri"/>
              <a:sym typeface="Calibri"/>
            </a:endParaRPr>
          </a:p>
        </p:txBody>
      </p:sp>
      <p:sp>
        <p:nvSpPr>
          <p:cNvPr id="41" name="Google Shape;12;p56"/>
          <p:cNvSpPr txBox="1"/>
          <p:nvPr/>
        </p:nvSpPr>
        <p:spPr>
          <a:xfrm>
            <a:off x="9080500" y="6542102"/>
            <a:ext cx="2744799" cy="304221"/>
          </a:xfrm>
          <a:prstGeom prst="rect">
            <a:avLst/>
          </a:prstGeom>
          <a:noFill/>
          <a:ln>
            <a:noFill/>
          </a:ln>
        </p:spPr>
        <p:txBody>
          <a:bodyPr spcFirstLastPara="1" wrap="square" lIns="121875" tIns="60925" rIns="121875" bIns="60925" anchor="ctr" anchorCtr="0">
            <a:noAutofit/>
          </a:bodyPr>
          <a:lstStyle/>
          <a:p>
            <a:pPr marL="0" marR="0" lvl="0" indent="0" algn="l" rtl="0">
              <a:spcBef>
                <a:spcPts val="0"/>
              </a:spcBef>
              <a:spcAft>
                <a:spcPts val="0"/>
              </a:spcAft>
              <a:buClr>
                <a:srgbClr val="B6B6B8"/>
              </a:buClr>
              <a:buSzPts val="900"/>
              <a:buFont typeface="Noto Sans Symbols"/>
              <a:buNone/>
            </a:pPr>
            <a:r>
              <a:rPr lang="en-US" sz="900" b="0" i="0" u="none" strike="noStrike" cap="none" dirty="0">
                <a:solidFill>
                  <a:srgbClr val="B6B6B8"/>
                </a:solidFill>
                <a:latin typeface="Calibri"/>
                <a:ea typeface="Calibri"/>
                <a:cs typeface="Calibri"/>
                <a:sym typeface="Calibri"/>
              </a:rPr>
              <a:t>©2021 Check Point Software Technologies Ltd. </a:t>
            </a:r>
            <a:endParaRPr dirty="0">
              <a:latin typeface="Calibri" panose="020F0502020204030204" pitchFamily="34" charset="0"/>
              <a:cs typeface="Calibri" panose="020F0502020204030204" pitchFamily="34" charset="0"/>
            </a:endParaRPr>
          </a:p>
        </p:txBody>
      </p:sp>
      <p:cxnSp>
        <p:nvCxnSpPr>
          <p:cNvPr id="42" name="Google Shape;14;p56"/>
          <p:cNvCxnSpPr/>
          <p:nvPr/>
        </p:nvCxnSpPr>
        <p:spPr>
          <a:xfrm>
            <a:off x="0" y="6505756"/>
            <a:ext cx="12188825" cy="3837"/>
          </a:xfrm>
          <a:prstGeom prst="straightConnector1">
            <a:avLst/>
          </a:prstGeom>
          <a:solidFill>
            <a:schemeClr val="lt1"/>
          </a:solidFill>
          <a:ln w="9525" cap="flat" cmpd="sng">
            <a:solidFill>
              <a:srgbClr val="D8D8D8"/>
            </a:solidFill>
            <a:prstDash val="solid"/>
            <a:round/>
            <a:headEnd type="none" w="sm" len="sm"/>
            <a:tailEnd type="none" w="sm" len="sm"/>
          </a:ln>
        </p:spPr>
      </p:cxnSp>
      <p:grpSp>
        <p:nvGrpSpPr>
          <p:cNvPr id="72" name="Google Shape;5068;p36"/>
          <p:cNvGrpSpPr/>
          <p:nvPr/>
        </p:nvGrpSpPr>
        <p:grpSpPr>
          <a:xfrm>
            <a:off x="500709" y="4470171"/>
            <a:ext cx="3641511" cy="1522884"/>
            <a:chOff x="8051196" y="3146089"/>
            <a:chExt cx="3642459" cy="1523280"/>
          </a:xfrm>
        </p:grpSpPr>
        <p:sp>
          <p:nvSpPr>
            <p:cNvPr id="74" name="Google Shape;5070;p36"/>
            <p:cNvSpPr/>
            <p:nvPr/>
          </p:nvSpPr>
          <p:spPr>
            <a:xfrm flipH="1">
              <a:off x="8659035" y="3268662"/>
              <a:ext cx="3034620" cy="14007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cap="none" dirty="0">
                  <a:solidFill>
                    <a:srgbClr val="262627"/>
                  </a:solidFill>
                  <a:latin typeface="+mn-lt"/>
                  <a:ea typeface="Calibri"/>
                  <a:cs typeface="Calibri"/>
                  <a:sym typeface="Calibri"/>
                </a:rPr>
                <a:t>DEVICE &amp; OS</a:t>
              </a:r>
              <a:endParaRPr dirty="0">
                <a:latin typeface="+mn-lt"/>
                <a:cs typeface="Calibri" panose="020F0502020204030204" pitchFamily="34" charset="0"/>
              </a:endParaRPr>
            </a:p>
            <a:p>
              <a:pPr marL="0" marR="0" lvl="0" indent="0" algn="l" rtl="0">
                <a:spcBef>
                  <a:spcPts val="320"/>
                </a:spcBef>
                <a:spcAft>
                  <a:spcPts val="0"/>
                </a:spcAft>
                <a:buNone/>
              </a:pPr>
              <a:r>
                <a:rPr lang="en-US" sz="1600" dirty="0">
                  <a:solidFill>
                    <a:schemeClr val="dk1"/>
                  </a:solidFill>
                  <a:latin typeface="+mn-lt"/>
                  <a:ea typeface="Helvetica Neue"/>
                  <a:cs typeface="Helvetica Neue"/>
                  <a:sym typeface="Helvetica Neue"/>
                </a:rPr>
                <a:t>Real-time risk assessments detecting vulnerabilities and configuration changes</a:t>
              </a:r>
              <a:endParaRPr dirty="0">
                <a:latin typeface="+mn-lt"/>
                <a:cs typeface="Calibri" panose="020F0502020204030204" pitchFamily="34" charset="0"/>
              </a:endParaRPr>
            </a:p>
            <a:p>
              <a:pPr marL="0" marR="0" lvl="0" indent="0" algn="l" rtl="0">
                <a:spcBef>
                  <a:spcPts val="320"/>
                </a:spcBef>
                <a:spcAft>
                  <a:spcPts val="0"/>
                </a:spcAft>
                <a:buNone/>
              </a:pPr>
              <a:endParaRPr sz="1600" b="1" cap="none" dirty="0">
                <a:solidFill>
                  <a:srgbClr val="262627"/>
                </a:solidFill>
                <a:latin typeface="+mn-lt"/>
                <a:ea typeface="Calibri"/>
                <a:cs typeface="Calibri"/>
                <a:sym typeface="Calibri"/>
              </a:endParaRPr>
            </a:p>
          </p:txBody>
        </p:sp>
        <p:sp>
          <p:nvSpPr>
            <p:cNvPr id="75" name="Google Shape;5071;p36"/>
            <p:cNvSpPr txBox="1"/>
            <p:nvPr/>
          </p:nvSpPr>
          <p:spPr>
            <a:xfrm>
              <a:off x="8051196" y="3146089"/>
              <a:ext cx="801740" cy="646331"/>
            </a:xfrm>
            <a:prstGeom prst="rect">
              <a:avLst/>
            </a:prstGeom>
            <a:noFill/>
            <a:ln>
              <a:noFill/>
            </a:ln>
          </p:spPr>
          <p:txBody>
            <a:bodyPr spcFirstLastPara="1" wrap="square" lIns="91400" tIns="45700" rIns="91400" bIns="45700" anchor="ctr" anchorCtr="0">
              <a:spAutoFit/>
            </a:bodyPr>
            <a:lstStyle/>
            <a:p>
              <a:pPr marL="0" marR="0" lvl="0" indent="0" algn="l" rtl="0">
                <a:spcBef>
                  <a:spcPts val="0"/>
                </a:spcBef>
                <a:spcAft>
                  <a:spcPts val="0"/>
                </a:spcAft>
                <a:buNone/>
              </a:pPr>
              <a:r>
                <a:rPr lang="en-US" sz="3599" b="1" dirty="0">
                  <a:solidFill>
                    <a:srgbClr val="F360A1"/>
                  </a:solidFill>
                  <a:latin typeface="+mn-lt"/>
                  <a:ea typeface="Calibri"/>
                  <a:cs typeface="Calibri"/>
                  <a:sym typeface="Calibri"/>
                </a:rPr>
                <a:t>03</a:t>
              </a:r>
              <a:endParaRPr dirty="0">
                <a:latin typeface="+mn-lt"/>
                <a:cs typeface="Calibri" panose="020F0502020204030204" pitchFamily="34" charset="0"/>
              </a:endParaRPr>
            </a:p>
          </p:txBody>
        </p:sp>
      </p:grpSp>
      <p:grpSp>
        <p:nvGrpSpPr>
          <p:cNvPr id="76" name="Google Shape;5072;p36"/>
          <p:cNvGrpSpPr/>
          <p:nvPr/>
        </p:nvGrpSpPr>
        <p:grpSpPr>
          <a:xfrm>
            <a:off x="505549" y="2183576"/>
            <a:ext cx="3613583" cy="916419"/>
            <a:chOff x="8058879" y="786344"/>
            <a:chExt cx="3614524" cy="916656"/>
          </a:xfrm>
        </p:grpSpPr>
        <p:sp>
          <p:nvSpPr>
            <p:cNvPr id="78" name="Google Shape;5074;p36"/>
            <p:cNvSpPr/>
            <p:nvPr/>
          </p:nvSpPr>
          <p:spPr>
            <a:xfrm flipH="1">
              <a:off x="8673733" y="833347"/>
              <a:ext cx="2999670" cy="869653"/>
            </a:xfrm>
            <a:prstGeom prst="rect">
              <a:avLst/>
            </a:prstGeom>
            <a:noFill/>
            <a:ln>
              <a:noFill/>
            </a:ln>
          </p:spPr>
          <p:txBody>
            <a:bodyPr spcFirstLastPara="1" wrap="square" lIns="91425" tIns="45700" rIns="91425" bIns="45700" anchor="t" anchorCtr="0">
              <a:spAutoFit/>
            </a:bodyPr>
            <a:lstStyle/>
            <a:p>
              <a:pPr marL="0" marR="0" lvl="1" indent="0" algn="l" rtl="0">
                <a:spcBef>
                  <a:spcPts val="0"/>
                </a:spcBef>
                <a:spcAft>
                  <a:spcPts val="0"/>
                </a:spcAft>
                <a:buNone/>
              </a:pPr>
              <a:r>
                <a:rPr lang="en-US" sz="1600" b="1" i="0" u="none" strike="noStrike" cap="none" dirty="0">
                  <a:solidFill>
                    <a:srgbClr val="262627"/>
                  </a:solidFill>
                  <a:latin typeface="+mn-lt"/>
                  <a:ea typeface="Calibri"/>
                  <a:cs typeface="Calibri"/>
                  <a:sym typeface="Calibri"/>
                </a:rPr>
                <a:t>APPLICATIONS</a:t>
              </a:r>
              <a:endParaRPr dirty="0">
                <a:latin typeface="+mn-lt"/>
                <a:cs typeface="Calibri" panose="020F0502020204030204" pitchFamily="34" charset="0"/>
              </a:endParaRPr>
            </a:p>
            <a:p>
              <a:pPr marL="0" marR="0" lvl="1" indent="0" algn="l" rtl="0">
                <a:spcBef>
                  <a:spcPts val="320"/>
                </a:spcBef>
                <a:spcAft>
                  <a:spcPts val="0"/>
                </a:spcAft>
                <a:buNone/>
              </a:pPr>
              <a:r>
                <a:rPr lang="en-US" sz="1600" dirty="0">
                  <a:solidFill>
                    <a:schemeClr val="dk1"/>
                  </a:solidFill>
                  <a:latin typeface="+mn-lt"/>
                  <a:ea typeface="Helvetica Neue"/>
                  <a:cs typeface="Helvetica Neue"/>
                  <a:sym typeface="Helvetica Neue"/>
                </a:rPr>
                <a:t>Prevent the </a:t>
              </a:r>
              <a:r>
                <a:rPr lang="en-US" sz="1600" b="0" i="0" u="none" strike="noStrike" cap="none" dirty="0">
                  <a:solidFill>
                    <a:schemeClr val="dk1"/>
                  </a:solidFill>
                  <a:latin typeface="+mn-lt"/>
                  <a:ea typeface="Helvetica Neue"/>
                  <a:cs typeface="Helvetica Neue"/>
                  <a:sym typeface="Helvetica Neue"/>
                </a:rPr>
                <a:t>download of malicious apps</a:t>
              </a:r>
              <a:endParaRPr sz="1600" b="1" i="0" u="none" strike="noStrike" cap="none" dirty="0">
                <a:solidFill>
                  <a:srgbClr val="262627"/>
                </a:solidFill>
                <a:latin typeface="+mn-lt"/>
                <a:ea typeface="Calibri"/>
                <a:cs typeface="Calibri"/>
                <a:sym typeface="Calibri"/>
              </a:endParaRPr>
            </a:p>
          </p:txBody>
        </p:sp>
        <p:sp>
          <p:nvSpPr>
            <p:cNvPr id="79" name="Google Shape;5075;p36"/>
            <p:cNvSpPr txBox="1"/>
            <p:nvPr/>
          </p:nvSpPr>
          <p:spPr>
            <a:xfrm>
              <a:off x="8058879" y="786344"/>
              <a:ext cx="801740" cy="646331"/>
            </a:xfrm>
            <a:prstGeom prst="rect">
              <a:avLst/>
            </a:prstGeom>
            <a:noFill/>
            <a:ln>
              <a:noFill/>
            </a:ln>
          </p:spPr>
          <p:txBody>
            <a:bodyPr spcFirstLastPara="1" wrap="square" lIns="91400" tIns="45700" rIns="91400" bIns="45700" anchor="ctr" anchorCtr="0">
              <a:spAutoFit/>
            </a:bodyPr>
            <a:lstStyle/>
            <a:p>
              <a:pPr marL="0" marR="0" lvl="0" indent="0" algn="l" rtl="0">
                <a:spcBef>
                  <a:spcPts val="0"/>
                </a:spcBef>
                <a:spcAft>
                  <a:spcPts val="0"/>
                </a:spcAft>
                <a:buNone/>
              </a:pPr>
              <a:r>
                <a:rPr lang="en-US" sz="3599" b="1" dirty="0">
                  <a:solidFill>
                    <a:srgbClr val="920053"/>
                  </a:solidFill>
                  <a:latin typeface="+mn-lt"/>
                  <a:ea typeface="Calibri"/>
                  <a:cs typeface="Calibri"/>
                  <a:sym typeface="Calibri"/>
                </a:rPr>
                <a:t>01</a:t>
              </a:r>
              <a:endParaRPr dirty="0">
                <a:latin typeface="+mn-lt"/>
                <a:cs typeface="Calibri" panose="020F0502020204030204" pitchFamily="34" charset="0"/>
              </a:endParaRPr>
            </a:p>
          </p:txBody>
        </p:sp>
      </p:grpSp>
      <p:grpSp>
        <p:nvGrpSpPr>
          <p:cNvPr id="80" name="Google Shape;5076;p36"/>
          <p:cNvGrpSpPr/>
          <p:nvPr/>
        </p:nvGrpSpPr>
        <p:grpSpPr>
          <a:xfrm>
            <a:off x="510426" y="3302698"/>
            <a:ext cx="3781998" cy="959218"/>
            <a:chOff x="7918782" y="1678977"/>
            <a:chExt cx="3549957" cy="947364"/>
          </a:xfrm>
        </p:grpSpPr>
        <p:sp>
          <p:nvSpPr>
            <p:cNvPr id="81" name="Google Shape;5077;p36"/>
            <p:cNvSpPr/>
            <p:nvPr/>
          </p:nvSpPr>
          <p:spPr>
            <a:xfrm flipH="1">
              <a:off x="8495032" y="1767658"/>
              <a:ext cx="2973707" cy="858683"/>
            </a:xfrm>
            <a:prstGeom prst="rect">
              <a:avLst/>
            </a:prstGeom>
            <a:noFill/>
            <a:ln>
              <a:noFill/>
            </a:ln>
          </p:spPr>
          <p:txBody>
            <a:bodyPr spcFirstLastPara="1" wrap="square" lIns="91425" tIns="45700" rIns="91425" bIns="45700" anchor="t" anchorCtr="0">
              <a:spAutoFit/>
            </a:bodyPr>
            <a:lstStyle/>
            <a:p>
              <a:pPr marL="0" marR="0" lvl="1" indent="0" algn="l" rtl="0">
                <a:spcBef>
                  <a:spcPts val="0"/>
                </a:spcBef>
                <a:spcAft>
                  <a:spcPts val="0"/>
                </a:spcAft>
                <a:buNone/>
              </a:pPr>
              <a:r>
                <a:rPr lang="en-US" sz="1600" b="1" i="0" u="none" strike="noStrike" cap="none" dirty="0">
                  <a:solidFill>
                    <a:srgbClr val="262627"/>
                  </a:solidFill>
                  <a:latin typeface="+mn-lt"/>
                  <a:ea typeface="Calibri"/>
                  <a:cs typeface="Calibri"/>
                  <a:sym typeface="Calibri"/>
                </a:rPr>
                <a:t>NETWORK</a:t>
              </a:r>
              <a:endParaRPr sz="1600" b="0" i="0" u="none" strike="noStrike" cap="none" dirty="0">
                <a:solidFill>
                  <a:schemeClr val="dk1"/>
                </a:solidFill>
                <a:latin typeface="+mn-lt"/>
                <a:ea typeface="Helvetica Neue"/>
                <a:cs typeface="Helvetica Neue"/>
                <a:sym typeface="Helvetica Neue"/>
              </a:endParaRPr>
            </a:p>
            <a:p>
              <a:pPr marL="0" marR="0" lvl="1" indent="0" algn="l" rtl="0">
                <a:spcBef>
                  <a:spcPts val="320"/>
                </a:spcBef>
                <a:spcAft>
                  <a:spcPts val="0"/>
                </a:spcAft>
                <a:buNone/>
              </a:pPr>
              <a:r>
                <a:rPr lang="en-US" sz="1600" b="0" i="0" u="none" strike="noStrike" cap="none" dirty="0">
                  <a:solidFill>
                    <a:schemeClr val="dk1"/>
                  </a:solidFill>
                  <a:latin typeface="+mn-lt"/>
                  <a:ea typeface="Helvetica Neue"/>
                  <a:cs typeface="Helvetica Neue"/>
                  <a:sym typeface="Helvetica Neue"/>
                </a:rPr>
                <a:t>Prevent phishing, Man-in-the-Middle attacks, and more</a:t>
              </a:r>
              <a:endParaRPr dirty="0">
                <a:latin typeface="+mn-lt"/>
                <a:cs typeface="Calibri" panose="020F0502020204030204" pitchFamily="34" charset="0"/>
              </a:endParaRPr>
            </a:p>
          </p:txBody>
        </p:sp>
        <p:sp>
          <p:nvSpPr>
            <p:cNvPr id="83" name="Google Shape;5079;p36"/>
            <p:cNvSpPr txBox="1"/>
            <p:nvPr/>
          </p:nvSpPr>
          <p:spPr>
            <a:xfrm>
              <a:off x="7918782" y="1678977"/>
              <a:ext cx="801740" cy="646331"/>
            </a:xfrm>
            <a:prstGeom prst="rect">
              <a:avLst/>
            </a:prstGeom>
            <a:noFill/>
            <a:ln>
              <a:noFill/>
            </a:ln>
          </p:spPr>
          <p:txBody>
            <a:bodyPr spcFirstLastPara="1" wrap="square" lIns="91400" tIns="45700" rIns="91400" bIns="45700" anchor="ctr" anchorCtr="0">
              <a:spAutoFit/>
            </a:bodyPr>
            <a:lstStyle/>
            <a:p>
              <a:pPr marL="0" marR="0" lvl="0" indent="0" algn="l" rtl="0">
                <a:spcBef>
                  <a:spcPts val="0"/>
                </a:spcBef>
                <a:spcAft>
                  <a:spcPts val="0"/>
                </a:spcAft>
                <a:buNone/>
              </a:pPr>
              <a:r>
                <a:rPr lang="en-US" sz="3599" b="1" dirty="0">
                  <a:solidFill>
                    <a:srgbClr val="D51067"/>
                  </a:solidFill>
                  <a:latin typeface="+mn-lt"/>
                  <a:ea typeface="Calibri"/>
                  <a:cs typeface="Calibri"/>
                  <a:sym typeface="Calibri"/>
                </a:rPr>
                <a:t>02</a:t>
              </a:r>
              <a:endParaRPr dirty="0">
                <a:latin typeface="+mn-lt"/>
                <a:cs typeface="Calibri" panose="020F0502020204030204" pitchFamily="34" charset="0"/>
              </a:endParaRPr>
            </a:p>
          </p:txBody>
        </p:sp>
      </p:grpSp>
      <p:pic>
        <p:nvPicPr>
          <p:cNvPr id="84" name="Google Shape;5065;p36"/>
          <p:cNvPicPr preferRelativeResize="0"/>
          <p:nvPr/>
        </p:nvPicPr>
        <p:blipFill rotWithShape="1">
          <a:blip r:embed="rId8">
            <a:alphaModFix/>
          </a:blip>
          <a:srcRect/>
          <a:stretch/>
        </p:blipFill>
        <p:spPr>
          <a:xfrm>
            <a:off x="4508806" y="1758325"/>
            <a:ext cx="2286000" cy="4572000"/>
          </a:xfrm>
          <a:prstGeom prst="rect">
            <a:avLst/>
          </a:prstGeom>
          <a:noFill/>
          <a:ln>
            <a:noFill/>
          </a:ln>
        </p:spPr>
      </p:pic>
      <p:pic>
        <p:nvPicPr>
          <p:cNvPr id="85" name="Google Shape;5066;p36"/>
          <p:cNvPicPr preferRelativeResize="0"/>
          <p:nvPr/>
        </p:nvPicPr>
        <p:blipFill rotWithShape="1">
          <a:blip r:embed="rId9">
            <a:alphaModFix/>
          </a:blip>
          <a:srcRect/>
          <a:stretch/>
        </p:blipFill>
        <p:spPr>
          <a:xfrm>
            <a:off x="4536704" y="1743281"/>
            <a:ext cx="2286000" cy="4572000"/>
          </a:xfrm>
          <a:prstGeom prst="rect">
            <a:avLst/>
          </a:prstGeom>
          <a:noFill/>
          <a:ln>
            <a:noFill/>
          </a:ln>
        </p:spPr>
      </p:pic>
      <p:pic>
        <p:nvPicPr>
          <p:cNvPr id="86" name="Google Shape;5067;p36"/>
          <p:cNvPicPr preferRelativeResize="0"/>
          <p:nvPr/>
        </p:nvPicPr>
        <p:blipFill rotWithShape="1">
          <a:blip r:embed="rId10">
            <a:alphaModFix/>
          </a:blip>
          <a:srcRect/>
          <a:stretch/>
        </p:blipFill>
        <p:spPr>
          <a:xfrm>
            <a:off x="4543584" y="1743282"/>
            <a:ext cx="2286000" cy="4572000"/>
          </a:xfrm>
          <a:prstGeom prst="rect">
            <a:avLst/>
          </a:prstGeom>
          <a:noFill/>
          <a:ln>
            <a:noFill/>
          </a:ln>
        </p:spPr>
      </p:pic>
      <p:sp>
        <p:nvSpPr>
          <p:cNvPr id="87" name="Google Shape;828;p12"/>
          <p:cNvSpPr txBox="1"/>
          <p:nvPr/>
        </p:nvSpPr>
        <p:spPr>
          <a:xfrm>
            <a:off x="500709" y="907631"/>
            <a:ext cx="6573422" cy="856586"/>
          </a:xfrm>
          <a:prstGeom prst="rect">
            <a:avLst/>
          </a:prstGeom>
          <a:noFill/>
          <a:ln>
            <a:noFill/>
          </a:ln>
        </p:spPr>
        <p:txBody>
          <a:bodyPr spcFirstLastPara="1" wrap="square" lIns="91425" tIns="45700" rIns="91425" bIns="45700" anchor="t" anchorCtr="0">
            <a:spAutoFit/>
          </a:bodyPr>
          <a:lstStyle/>
          <a:p>
            <a:pPr fontAlgn="base">
              <a:spcAft>
                <a:spcPct val="0"/>
              </a:spcAft>
              <a:buClr>
                <a:srgbClr val="FF0000"/>
              </a:buClr>
              <a:buSzPct val="65000"/>
              <a:buFont typeface="Wingdings" pitchFamily="2" charset="2"/>
              <a:buNone/>
            </a:pPr>
            <a:r>
              <a:rPr lang="en-US" sz="2400" b="1" kern="1200" dirty="0">
                <a:solidFill>
                  <a:schemeClr val="tx1"/>
                </a:solidFill>
                <a:latin typeface="Calibri" panose="020F0502020204030204" pitchFamily="34" charset="0"/>
                <a:cs typeface="Calibri" panose="020F0502020204030204" pitchFamily="34" charset="0"/>
              </a:rPr>
              <a:t>PROTECT CORPORATE DATA ACROSS ALL MOBILE ATTACK SURFACES</a:t>
            </a: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6850" y="282961"/>
            <a:ext cx="1532045" cy="640080"/>
          </a:xfrm>
          <a:prstGeom prst="rect">
            <a:avLst/>
          </a:prstGeom>
        </p:spPr>
      </p:pic>
    </p:spTree>
    <p:extLst>
      <p:ext uri="{BB962C8B-B14F-4D97-AF65-F5344CB8AC3E}">
        <p14:creationId xmlns:p14="http://schemas.microsoft.com/office/powerpoint/2010/main" val="18111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down)">
                                      <p:cBhvr>
                                        <p:cTn id="7" dur="500"/>
                                        <p:tgtEl>
                                          <p:spTgt spid="56"/>
                                        </p:tgtEl>
                                      </p:cBhvr>
                                    </p:animEffect>
                                  </p:childTnLst>
                                </p:cTn>
                              </p:par>
                              <p:par>
                                <p:cTn id="8" presetID="22" presetClass="entr" presetSubtype="4"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par>
                                <p:cTn id="16" presetID="10" presetClass="entr" presetSubtype="0" fill="hold"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fade">
                                      <p:cBhvr>
                                        <p:cTn id="18" dur="500"/>
                                        <p:tgtEl>
                                          <p:spTgt spid="8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par>
                                <p:cTn id="24" presetID="10" presetClass="entr" presetSubtype="0" fill="hold" nodeType="withEffect">
                                  <p:stCondLst>
                                    <p:cond delay="0"/>
                                  </p:stCondLst>
                                  <p:childTnLst>
                                    <p:set>
                                      <p:cBhvr>
                                        <p:cTn id="25" dur="1" fill="hold">
                                          <p:stCondLst>
                                            <p:cond delay="0"/>
                                          </p:stCondLst>
                                        </p:cTn>
                                        <p:tgtEl>
                                          <p:spTgt spid="86"/>
                                        </p:tgtEl>
                                        <p:attrNameLst>
                                          <p:attrName>style.visibility</p:attrName>
                                        </p:attrNameLst>
                                      </p:cBhvr>
                                      <p:to>
                                        <p:strVal val="visible"/>
                                      </p:to>
                                    </p:set>
                                    <p:animEffect transition="in" filter="fade">
                                      <p:cBhvr>
                                        <p:cTn id="26"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636"/>
        <p:cNvGrpSpPr/>
        <p:nvPr/>
      </p:nvGrpSpPr>
      <p:grpSpPr>
        <a:xfrm>
          <a:off x="0" y="0"/>
          <a:ext cx="0" cy="0"/>
          <a:chOff x="0" y="0"/>
          <a:chExt cx="0" cy="0"/>
        </a:xfrm>
      </p:grpSpPr>
      <p:sp>
        <p:nvSpPr>
          <p:cNvPr id="35" name="Google Shape;5016;p35"/>
          <p:cNvSpPr/>
          <p:nvPr/>
        </p:nvSpPr>
        <p:spPr>
          <a:xfrm>
            <a:off x="614" y="3139147"/>
            <a:ext cx="12188825" cy="204052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lang="en-US" sz="2400" dirty="0">
              <a:solidFill>
                <a:schemeClr val="dk1"/>
              </a:solidFill>
              <a:latin typeface="Calibri"/>
              <a:ea typeface="Calibri"/>
              <a:cs typeface="Calibri"/>
              <a:sym typeface="Calibri"/>
            </a:endParaRPr>
          </a:p>
        </p:txBody>
      </p:sp>
      <p:grpSp>
        <p:nvGrpSpPr>
          <p:cNvPr id="3638" name="Google Shape;3638;p27"/>
          <p:cNvGrpSpPr/>
          <p:nvPr/>
        </p:nvGrpSpPr>
        <p:grpSpPr>
          <a:xfrm>
            <a:off x="3240900" y="1978009"/>
            <a:ext cx="5669353" cy="3788229"/>
            <a:chOff x="2100417" y="1330070"/>
            <a:chExt cx="7648621" cy="4454070"/>
          </a:xfrm>
        </p:grpSpPr>
        <p:grpSp>
          <p:nvGrpSpPr>
            <p:cNvPr id="3639" name="Google Shape;3639;p27"/>
            <p:cNvGrpSpPr/>
            <p:nvPr/>
          </p:nvGrpSpPr>
          <p:grpSpPr>
            <a:xfrm>
              <a:off x="2100417" y="1330070"/>
              <a:ext cx="7648621" cy="4454070"/>
              <a:chOff x="2100417" y="1330070"/>
              <a:chExt cx="7648621" cy="4454070"/>
            </a:xfrm>
          </p:grpSpPr>
          <p:grpSp>
            <p:nvGrpSpPr>
              <p:cNvPr id="3640" name="Google Shape;3640;p27"/>
              <p:cNvGrpSpPr/>
              <p:nvPr/>
            </p:nvGrpSpPr>
            <p:grpSpPr>
              <a:xfrm>
                <a:off x="2100417" y="1330070"/>
                <a:ext cx="7648621" cy="4454070"/>
                <a:chOff x="2030233" y="668121"/>
                <a:chExt cx="7648621" cy="4454070"/>
              </a:xfrm>
            </p:grpSpPr>
            <p:grpSp>
              <p:nvGrpSpPr>
                <p:cNvPr id="3641" name="Google Shape;3641;p27"/>
                <p:cNvGrpSpPr/>
                <p:nvPr/>
              </p:nvGrpSpPr>
              <p:grpSpPr>
                <a:xfrm>
                  <a:off x="2030233" y="668121"/>
                  <a:ext cx="7648621" cy="4454070"/>
                  <a:chOff x="2338344" y="668121"/>
                  <a:chExt cx="7648621" cy="4454070"/>
                </a:xfrm>
              </p:grpSpPr>
              <p:pic>
                <p:nvPicPr>
                  <p:cNvPr id="3642" name="Google Shape;3642;p27"/>
                  <p:cNvPicPr preferRelativeResize="0"/>
                  <p:nvPr/>
                </p:nvPicPr>
                <p:blipFill rotWithShape="1">
                  <a:blip r:embed="rId3">
                    <a:alphaModFix/>
                  </a:blip>
                  <a:srcRect/>
                  <a:stretch/>
                </p:blipFill>
                <p:spPr>
                  <a:xfrm>
                    <a:off x="2338344" y="668121"/>
                    <a:ext cx="7648621" cy="4454070"/>
                  </a:xfrm>
                  <a:prstGeom prst="rect">
                    <a:avLst/>
                  </a:prstGeom>
                  <a:noFill/>
                  <a:ln>
                    <a:noFill/>
                  </a:ln>
                </p:spPr>
              </p:pic>
              <p:grpSp>
                <p:nvGrpSpPr>
                  <p:cNvPr id="3643" name="Google Shape;3643;p27"/>
                  <p:cNvGrpSpPr/>
                  <p:nvPr/>
                </p:nvGrpSpPr>
                <p:grpSpPr>
                  <a:xfrm>
                    <a:off x="6726605" y="3246491"/>
                    <a:ext cx="1467651" cy="1205812"/>
                    <a:chOff x="7182770" y="3915309"/>
                    <a:chExt cx="3107641" cy="2164677"/>
                  </a:xfrm>
                </p:grpSpPr>
                <p:pic>
                  <p:nvPicPr>
                    <p:cNvPr id="3644" name="Google Shape;3644;p27"/>
                    <p:cNvPicPr preferRelativeResize="0"/>
                    <p:nvPr/>
                  </p:nvPicPr>
                  <p:blipFill rotWithShape="1">
                    <a:blip r:embed="rId4">
                      <a:alphaModFix/>
                    </a:blip>
                    <a:srcRect/>
                    <a:stretch/>
                  </p:blipFill>
                  <p:spPr>
                    <a:xfrm>
                      <a:off x="7491056" y="3915309"/>
                      <a:ext cx="348915" cy="2164677"/>
                    </a:xfrm>
                    <a:prstGeom prst="rect">
                      <a:avLst/>
                    </a:prstGeom>
                    <a:noFill/>
                    <a:ln>
                      <a:noFill/>
                    </a:ln>
                  </p:spPr>
                </p:pic>
                <p:pic>
                  <p:nvPicPr>
                    <p:cNvPr id="3645" name="Google Shape;3645;p27"/>
                    <p:cNvPicPr preferRelativeResize="0"/>
                    <p:nvPr/>
                  </p:nvPicPr>
                  <p:blipFill rotWithShape="1">
                    <a:blip r:embed="rId5">
                      <a:alphaModFix/>
                    </a:blip>
                    <a:srcRect/>
                    <a:stretch/>
                  </p:blipFill>
                  <p:spPr>
                    <a:xfrm>
                      <a:off x="7839970" y="4343636"/>
                      <a:ext cx="2450441" cy="1593139"/>
                    </a:xfrm>
                    <a:prstGeom prst="rect">
                      <a:avLst/>
                    </a:prstGeom>
                    <a:noFill/>
                    <a:ln>
                      <a:noFill/>
                    </a:ln>
                  </p:spPr>
                </p:pic>
                <p:pic>
                  <p:nvPicPr>
                    <p:cNvPr id="3646" name="Google Shape;3646;p27"/>
                    <p:cNvPicPr preferRelativeResize="0"/>
                    <p:nvPr/>
                  </p:nvPicPr>
                  <p:blipFill rotWithShape="1">
                    <a:blip r:embed="rId6">
                      <a:alphaModFix/>
                    </a:blip>
                    <a:srcRect/>
                    <a:stretch/>
                  </p:blipFill>
                  <p:spPr>
                    <a:xfrm>
                      <a:off x="7182770" y="4343635"/>
                      <a:ext cx="432681" cy="1593139"/>
                    </a:xfrm>
                    <a:prstGeom prst="rect">
                      <a:avLst/>
                    </a:prstGeom>
                    <a:noFill/>
                    <a:ln>
                      <a:noFill/>
                    </a:ln>
                  </p:spPr>
                </p:pic>
              </p:grpSp>
            </p:grpSp>
            <p:pic>
              <p:nvPicPr>
                <p:cNvPr id="3647" name="Google Shape;3647;p27"/>
                <p:cNvPicPr preferRelativeResize="0"/>
                <p:nvPr/>
              </p:nvPicPr>
              <p:blipFill rotWithShape="1">
                <a:blip r:embed="rId7">
                  <a:alphaModFix/>
                </a:blip>
                <a:srcRect/>
                <a:stretch/>
              </p:blipFill>
              <p:spPr>
                <a:xfrm>
                  <a:off x="3361146" y="3428481"/>
                  <a:ext cx="792078" cy="1045573"/>
                </a:xfrm>
                <a:prstGeom prst="rect">
                  <a:avLst/>
                </a:prstGeom>
                <a:noFill/>
                <a:ln>
                  <a:noFill/>
                </a:ln>
              </p:spPr>
            </p:pic>
            <p:pic>
              <p:nvPicPr>
                <p:cNvPr id="3648" name="Google Shape;3648;p27"/>
                <p:cNvPicPr preferRelativeResize="0"/>
                <p:nvPr/>
              </p:nvPicPr>
              <p:blipFill rotWithShape="1">
                <a:blip r:embed="rId7">
                  <a:alphaModFix/>
                </a:blip>
                <a:srcRect/>
                <a:stretch/>
              </p:blipFill>
              <p:spPr>
                <a:xfrm>
                  <a:off x="7567290" y="2866346"/>
                  <a:ext cx="809509" cy="1045573"/>
                </a:xfrm>
                <a:prstGeom prst="rect">
                  <a:avLst/>
                </a:prstGeom>
                <a:noFill/>
                <a:ln>
                  <a:noFill/>
                </a:ln>
              </p:spPr>
            </p:pic>
          </p:grpSp>
          <p:pic>
            <p:nvPicPr>
              <p:cNvPr id="3649" name="Google Shape;3649;p27"/>
              <p:cNvPicPr preferRelativeResize="0"/>
              <p:nvPr/>
            </p:nvPicPr>
            <p:blipFill rotWithShape="1">
              <a:blip r:embed="rId8">
                <a:alphaModFix/>
              </a:blip>
              <a:srcRect/>
              <a:stretch/>
            </p:blipFill>
            <p:spPr>
              <a:xfrm>
                <a:off x="3278185" y="1919319"/>
                <a:ext cx="5280469" cy="3283549"/>
              </a:xfrm>
              <a:prstGeom prst="rect">
                <a:avLst/>
              </a:prstGeom>
              <a:noFill/>
              <a:ln>
                <a:noFill/>
              </a:ln>
            </p:spPr>
          </p:pic>
          <p:pic>
            <p:nvPicPr>
              <p:cNvPr id="3650" name="Google Shape;3650;p27"/>
              <p:cNvPicPr preferRelativeResize="0"/>
              <p:nvPr/>
            </p:nvPicPr>
            <p:blipFill rotWithShape="1">
              <a:blip r:embed="rId7">
                <a:alphaModFix/>
              </a:blip>
              <a:srcRect/>
              <a:stretch/>
            </p:blipFill>
            <p:spPr>
              <a:xfrm>
                <a:off x="3646571" y="4004321"/>
                <a:ext cx="792078" cy="1045573"/>
              </a:xfrm>
              <a:prstGeom prst="rect">
                <a:avLst/>
              </a:prstGeom>
              <a:noFill/>
              <a:ln>
                <a:noFill/>
              </a:ln>
            </p:spPr>
          </p:pic>
          <p:pic>
            <p:nvPicPr>
              <p:cNvPr id="3651" name="Google Shape;3651;p27"/>
              <p:cNvPicPr preferRelativeResize="0"/>
              <p:nvPr/>
            </p:nvPicPr>
            <p:blipFill rotWithShape="1">
              <a:blip r:embed="rId7">
                <a:alphaModFix/>
              </a:blip>
              <a:srcRect/>
              <a:stretch/>
            </p:blipFill>
            <p:spPr>
              <a:xfrm>
                <a:off x="7618998" y="3630431"/>
                <a:ext cx="809509" cy="1045573"/>
              </a:xfrm>
              <a:prstGeom prst="rect">
                <a:avLst/>
              </a:prstGeom>
              <a:noFill/>
              <a:ln>
                <a:noFill/>
              </a:ln>
            </p:spPr>
          </p:pic>
        </p:grpSp>
        <p:pic>
          <p:nvPicPr>
            <p:cNvPr id="3652" name="Google Shape;3652;p27"/>
            <p:cNvPicPr preferRelativeResize="0"/>
            <p:nvPr/>
          </p:nvPicPr>
          <p:blipFill rotWithShape="1">
            <a:blip r:embed="rId9">
              <a:alphaModFix/>
            </a:blip>
            <a:srcRect/>
            <a:stretch/>
          </p:blipFill>
          <p:spPr>
            <a:xfrm>
              <a:off x="3969924" y="1943100"/>
              <a:ext cx="685800" cy="114986"/>
            </a:xfrm>
            <a:prstGeom prst="rect">
              <a:avLst/>
            </a:prstGeom>
            <a:noFill/>
            <a:ln>
              <a:noFill/>
            </a:ln>
          </p:spPr>
        </p:pic>
      </p:gr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sp>
        <p:nvSpPr>
          <p:cNvPr id="36" name="Google Shape;3733;p29"/>
          <p:cNvSpPr txBox="1">
            <a:spLocks/>
          </p:cNvSpPr>
          <p:nvPr/>
        </p:nvSpPr>
        <p:spPr>
          <a:xfrm>
            <a:off x="583842" y="460552"/>
            <a:ext cx="11424544" cy="1006632"/>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5000"/>
              </a:lnSpc>
              <a:spcBef>
                <a:spcPts val="0"/>
              </a:spcBef>
              <a:spcAft>
                <a:spcPts val="0"/>
              </a:spcAft>
              <a:buClr>
                <a:srgbClr val="000000"/>
              </a:buClr>
              <a:buSzPts val="1400"/>
              <a:buFont typeface="Arial"/>
              <a:buNone/>
              <a:defRPr sz="3400" b="0" i="0" u="none" strike="noStrike" cap="none">
                <a:solidFill>
                  <a:schemeClr val="lt2"/>
                </a:solidFill>
                <a:latin typeface="Arial"/>
                <a:ea typeface="Arial"/>
                <a:cs typeface="Arial"/>
                <a:sym typeface="Arial"/>
              </a:defRPr>
            </a:lvl1pPr>
            <a:lvl2pPr marR="0" lvl="1"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2pPr>
            <a:lvl3pPr marR="0" lvl="2"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3pPr>
            <a:lvl4pPr marR="0" lvl="3"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4pPr>
            <a:lvl5pPr marR="0" lvl="4"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5pPr>
            <a:lvl6pPr marR="0" lvl="5"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6pPr>
            <a:lvl7pPr marR="0" lvl="6"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7pPr>
            <a:lvl8pPr marR="0" lvl="7"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8pPr>
            <a:lvl9pPr marR="0" lvl="8" algn="l" rtl="0">
              <a:lnSpc>
                <a:spcPct val="85000"/>
              </a:lnSpc>
              <a:spcBef>
                <a:spcPts val="0"/>
              </a:spcBef>
              <a:spcAft>
                <a:spcPts val="0"/>
              </a:spcAft>
              <a:buClr>
                <a:srgbClr val="000000"/>
              </a:buClr>
              <a:buSzPts val="1400"/>
              <a:buFont typeface="Arial"/>
              <a:buNone/>
              <a:defRPr sz="3700" b="1" i="0" u="none" strike="noStrike" cap="none">
                <a:solidFill>
                  <a:srgbClr val="4E4E4E"/>
                </a:solidFill>
                <a:latin typeface="Helvetica Neue"/>
                <a:ea typeface="Helvetica Neue"/>
                <a:cs typeface="Helvetica Neue"/>
                <a:sym typeface="Helvetica Neue"/>
              </a:defRPr>
            </a:lvl9pPr>
          </a:lstStyle>
          <a:p>
            <a:r>
              <a:rPr lang="en-US" sz="3200" b="1" cap="all" dirty="0">
                <a:solidFill>
                  <a:schemeClr val="bg2"/>
                </a:solidFill>
                <a:latin typeface="Calibri" panose="020F0502020204030204" pitchFamily="34" charset="0"/>
                <a:ea typeface="+mj-ea"/>
                <a:cs typeface="Calibri" panose="020F0502020204030204" pitchFamily="34" charset="0"/>
                <a:sym typeface="Calibri"/>
              </a:rPr>
              <a:t>UNIFIED CLOUD-BASED MANAGEMENT</a:t>
            </a:r>
            <a:br>
              <a:rPr lang="en-US" sz="3200" b="1" dirty="0">
                <a:solidFill>
                  <a:schemeClr val="tx2"/>
                </a:solidFill>
                <a:latin typeface="Calibri" panose="020F0502020204030204" pitchFamily="34" charset="0"/>
                <a:ea typeface="Calibri"/>
                <a:cs typeface="Calibri" panose="020F0502020204030204" pitchFamily="34" charset="0"/>
                <a:sym typeface="Calibri"/>
              </a:rPr>
            </a:br>
            <a:r>
              <a:rPr lang="en-US" sz="2800" b="1" dirty="0">
                <a:solidFill>
                  <a:schemeClr val="tx1"/>
                </a:solidFill>
                <a:latin typeface="Calibri" panose="020F0502020204030204" pitchFamily="34" charset="0"/>
                <a:ea typeface="Calibri"/>
                <a:cs typeface="Calibri" panose="020F0502020204030204" pitchFamily="34" charset="0"/>
                <a:sym typeface="Calibri"/>
              </a:rPr>
              <a:t>DEPLOY, CONFIGURE AND MANAGE HARMONY FROM A SINGLE PORTAL</a:t>
            </a:r>
          </a:p>
        </p:txBody>
      </p:sp>
      <p:pic>
        <p:nvPicPr>
          <p:cNvPr id="23"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48088" y="3531746"/>
            <a:ext cx="216502" cy="180418"/>
          </a:xfrm>
          <a:prstGeom prst="rect">
            <a:avLst/>
          </a:prstGeom>
          <a:solidFill>
            <a:srgbClr val="F7F7F7"/>
          </a:solidFill>
        </p:spPr>
      </p:pic>
      <p:pic>
        <p:nvPicPr>
          <p:cNvPr id="24"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41766" y="3531746"/>
            <a:ext cx="216502" cy="180418"/>
          </a:xfrm>
          <a:prstGeom prst="rect">
            <a:avLst/>
          </a:prstGeom>
          <a:solidFill>
            <a:srgbClr val="F7F7F7"/>
          </a:solidFill>
        </p:spPr>
      </p:pic>
      <p:pic>
        <p:nvPicPr>
          <p:cNvPr id="26"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33213" y="3990519"/>
            <a:ext cx="216502" cy="180418"/>
          </a:xfrm>
          <a:prstGeom prst="rect">
            <a:avLst/>
          </a:prstGeom>
          <a:solidFill>
            <a:srgbClr val="F7F7F7"/>
          </a:solidFill>
        </p:spPr>
      </p:pic>
      <p:pic>
        <p:nvPicPr>
          <p:cNvPr id="27"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26891" y="3990519"/>
            <a:ext cx="216502" cy="180418"/>
          </a:xfrm>
          <a:prstGeom prst="rect">
            <a:avLst/>
          </a:prstGeom>
          <a:solidFill>
            <a:srgbClr val="F7F7F7"/>
          </a:solidFill>
        </p:spPr>
      </p:pic>
      <p:pic>
        <p:nvPicPr>
          <p:cNvPr id="28"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37177" y="4410245"/>
            <a:ext cx="216502" cy="180418"/>
          </a:xfrm>
          <a:prstGeom prst="rect">
            <a:avLst/>
          </a:prstGeom>
          <a:solidFill>
            <a:srgbClr val="F7F7F7"/>
          </a:solidFill>
        </p:spPr>
      </p:pic>
      <p:pic>
        <p:nvPicPr>
          <p:cNvPr id="29" name="Graphic 22">
            <a:extLst>
              <a:ext uri="{FF2B5EF4-FFF2-40B4-BE49-F238E27FC236}">
                <a16:creationId xmlns:a16="http://schemas.microsoft.com/office/drawing/2014/main" id="{0FFBCAAF-1659-45C7-8AFB-3D1B9FFBB46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30855" y="4410245"/>
            <a:ext cx="216502" cy="180418"/>
          </a:xfrm>
          <a:prstGeom prst="rect">
            <a:avLst/>
          </a:prstGeom>
          <a:solidFill>
            <a:srgbClr val="F7F7F7"/>
          </a:solidFill>
        </p:spPr>
      </p:pic>
      <p:pic>
        <p:nvPicPr>
          <p:cNvPr id="1026"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558182" y="3517719"/>
            <a:ext cx="236626" cy="223766"/>
          </a:xfrm>
          <a:prstGeom prst="rect">
            <a:avLst/>
          </a:prstGeom>
          <a:solidFill>
            <a:srgbClr val="F7F7F7"/>
          </a:solidFill>
        </p:spPr>
      </p:pic>
      <p:pic>
        <p:nvPicPr>
          <p:cNvPr id="32"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993336" y="3526425"/>
            <a:ext cx="236626" cy="223766"/>
          </a:xfrm>
          <a:prstGeom prst="rect">
            <a:avLst/>
          </a:prstGeom>
          <a:solidFill>
            <a:srgbClr val="F7F7F7"/>
          </a:solidFill>
        </p:spPr>
      </p:pic>
      <p:pic>
        <p:nvPicPr>
          <p:cNvPr id="33"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532015" y="3954888"/>
            <a:ext cx="236626" cy="223766"/>
          </a:xfrm>
          <a:prstGeom prst="rect">
            <a:avLst/>
          </a:prstGeom>
          <a:solidFill>
            <a:srgbClr val="F7F7F7"/>
          </a:solidFill>
        </p:spPr>
      </p:pic>
      <p:pic>
        <p:nvPicPr>
          <p:cNvPr id="34"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972531" y="3954888"/>
            <a:ext cx="236626" cy="223766"/>
          </a:xfrm>
          <a:prstGeom prst="rect">
            <a:avLst/>
          </a:prstGeom>
          <a:solidFill>
            <a:srgbClr val="F7F7F7"/>
          </a:solidFill>
        </p:spPr>
      </p:pic>
      <p:pic>
        <p:nvPicPr>
          <p:cNvPr id="37"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064055" y="4405944"/>
            <a:ext cx="236626" cy="223766"/>
          </a:xfrm>
          <a:prstGeom prst="rect">
            <a:avLst/>
          </a:prstGeom>
          <a:solidFill>
            <a:srgbClr val="F7F7F7"/>
          </a:solidFill>
        </p:spPr>
      </p:pic>
      <p:pic>
        <p:nvPicPr>
          <p:cNvPr id="1028"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527150" y="3549172"/>
            <a:ext cx="201270" cy="190332"/>
          </a:xfrm>
          <a:prstGeom prst="rect">
            <a:avLst/>
          </a:prstGeom>
          <a:solidFill>
            <a:srgbClr val="F7F7F7"/>
          </a:solidFill>
        </p:spPr>
      </p:pic>
      <p:pic>
        <p:nvPicPr>
          <p:cNvPr id="38"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105320" y="3543142"/>
            <a:ext cx="201270" cy="190332"/>
          </a:xfrm>
          <a:prstGeom prst="rect">
            <a:avLst/>
          </a:prstGeom>
          <a:solidFill>
            <a:srgbClr val="F7F7F7"/>
          </a:solidFill>
        </p:spPr>
      </p:pic>
      <p:pic>
        <p:nvPicPr>
          <p:cNvPr id="39"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527150" y="3985562"/>
            <a:ext cx="201270" cy="190332"/>
          </a:xfrm>
          <a:prstGeom prst="rect">
            <a:avLst/>
          </a:prstGeom>
          <a:solidFill>
            <a:srgbClr val="F7F7F7"/>
          </a:solidFill>
        </p:spPr>
      </p:pic>
      <p:pic>
        <p:nvPicPr>
          <p:cNvPr id="40"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090445" y="3994652"/>
            <a:ext cx="201270" cy="190332"/>
          </a:xfrm>
          <a:prstGeom prst="rect">
            <a:avLst/>
          </a:prstGeom>
          <a:solidFill>
            <a:srgbClr val="F7F7F7"/>
          </a:solidFill>
        </p:spPr>
      </p:pic>
      <p:pic>
        <p:nvPicPr>
          <p:cNvPr id="41"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507505" y="4399480"/>
            <a:ext cx="201270" cy="190332"/>
          </a:xfrm>
          <a:prstGeom prst="rect">
            <a:avLst/>
          </a:prstGeom>
          <a:solidFill>
            <a:srgbClr val="F7F7F7"/>
          </a:solidFill>
        </p:spPr>
      </p:pic>
      <p:sp>
        <p:nvSpPr>
          <p:cNvPr id="5" name="Rectangle 4"/>
          <p:cNvSpPr/>
          <p:nvPr/>
        </p:nvSpPr>
        <p:spPr bwMode="auto">
          <a:xfrm>
            <a:off x="5609679" y="4823759"/>
            <a:ext cx="1035376" cy="341266"/>
          </a:xfrm>
          <a:prstGeom prst="rect">
            <a:avLst/>
          </a:prstGeom>
          <a:solidFill>
            <a:srgbClr val="F7F7F7"/>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42" name="Rectangle 41"/>
          <p:cNvSpPr/>
          <p:nvPr/>
        </p:nvSpPr>
        <p:spPr bwMode="auto">
          <a:xfrm>
            <a:off x="4399314" y="4385907"/>
            <a:ext cx="1035376" cy="341266"/>
          </a:xfrm>
          <a:prstGeom prst="rect">
            <a:avLst/>
          </a:prstGeom>
          <a:solidFill>
            <a:srgbClr val="F7F7F7"/>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pic>
        <p:nvPicPr>
          <p:cNvPr id="43"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078132" y="4405944"/>
            <a:ext cx="201270" cy="190332"/>
          </a:xfrm>
          <a:prstGeom prst="rect">
            <a:avLst/>
          </a:prstGeom>
          <a:solidFill>
            <a:srgbClr val="F7F7F7"/>
          </a:solidFill>
        </p:spPr>
      </p:pic>
      <p:grpSp>
        <p:nvGrpSpPr>
          <p:cNvPr id="8" name="Group 7"/>
          <p:cNvGrpSpPr/>
          <p:nvPr/>
        </p:nvGrpSpPr>
        <p:grpSpPr>
          <a:xfrm>
            <a:off x="7090844" y="3268604"/>
            <a:ext cx="682639" cy="169277"/>
            <a:chOff x="4318751" y="3483593"/>
            <a:chExt cx="682639" cy="169277"/>
          </a:xfrm>
        </p:grpSpPr>
        <p:sp>
          <p:nvSpPr>
            <p:cNvPr id="7" name="Rectangle 6"/>
            <p:cNvSpPr/>
            <p:nvPr/>
          </p:nvSpPr>
          <p:spPr bwMode="auto">
            <a:xfrm>
              <a:off x="4386660" y="3517591"/>
              <a:ext cx="583089" cy="118347"/>
            </a:xfrm>
            <a:prstGeom prst="rect">
              <a:avLst/>
            </a:prstGeom>
            <a:solidFill>
              <a:srgbClr val="F7F7F7"/>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45" name="TextBox 44"/>
            <p:cNvSpPr txBox="1"/>
            <p:nvPr/>
          </p:nvSpPr>
          <p:spPr bwMode="auto">
            <a:xfrm>
              <a:off x="4318751" y="3483593"/>
              <a:ext cx="682639" cy="169277"/>
            </a:xfrm>
            <a:prstGeom prst="rect">
              <a:avLst/>
            </a:prstGeom>
            <a:noFill/>
            <a:ln>
              <a:noFill/>
            </a:ln>
            <a:effectLst/>
          </p:spPr>
          <p:txBody>
            <a:bodyPr vert="horz" wrap="square" lIns="91440" tIns="45720" rIns="91440" bIns="45720" numCol="1" rtlCol="0" anchor="ctr" anchorCtr="0" compatLnSpc="1">
              <a:prstTxWarp prst="textNoShape">
                <a:avLst/>
              </a:prstTxWarp>
              <a:spAutoFit/>
            </a:bodyPr>
            <a:lstStyle/>
            <a:p>
              <a:pPr>
                <a:spcBef>
                  <a:spcPts val="0"/>
                </a:spcBef>
              </a:pPr>
              <a:r>
                <a:rPr lang="en-US" sz="500" dirty="0">
                  <a:latin typeface="Calibri" panose="020F0502020204030204" pitchFamily="34" charset="0"/>
                  <a:cs typeface="Calibri" panose="020F0502020204030204" pitchFamily="34" charset="0"/>
                </a:rPr>
                <a:t>Network security</a:t>
              </a:r>
            </a:p>
          </p:txBody>
        </p:sp>
      </p:grpSp>
      <p:grpSp>
        <p:nvGrpSpPr>
          <p:cNvPr id="47" name="Group 46"/>
          <p:cNvGrpSpPr/>
          <p:nvPr/>
        </p:nvGrpSpPr>
        <p:grpSpPr>
          <a:xfrm>
            <a:off x="4632737" y="3264412"/>
            <a:ext cx="682639" cy="169277"/>
            <a:chOff x="4318751" y="3483593"/>
            <a:chExt cx="682639" cy="169277"/>
          </a:xfrm>
        </p:grpSpPr>
        <p:sp>
          <p:nvSpPr>
            <p:cNvPr id="48" name="Rectangle 47"/>
            <p:cNvSpPr/>
            <p:nvPr/>
          </p:nvSpPr>
          <p:spPr bwMode="auto">
            <a:xfrm>
              <a:off x="4386660" y="3517591"/>
              <a:ext cx="583089" cy="118347"/>
            </a:xfrm>
            <a:prstGeom prst="rect">
              <a:avLst/>
            </a:prstGeom>
            <a:solidFill>
              <a:srgbClr val="F7F7F7"/>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49" name="TextBox 48"/>
            <p:cNvSpPr txBox="1"/>
            <p:nvPr/>
          </p:nvSpPr>
          <p:spPr bwMode="auto">
            <a:xfrm>
              <a:off x="4318751" y="3483593"/>
              <a:ext cx="682639" cy="169277"/>
            </a:xfrm>
            <a:prstGeom prst="rect">
              <a:avLst/>
            </a:prstGeom>
            <a:noFill/>
            <a:ln>
              <a:noFill/>
            </a:ln>
            <a:effectLst/>
          </p:spPr>
          <p:txBody>
            <a:bodyPr vert="horz" wrap="square" lIns="91440" tIns="45720" rIns="91440" bIns="45720" numCol="1" rtlCol="0" anchor="ctr" anchorCtr="0" compatLnSpc="1">
              <a:prstTxWarp prst="textNoShape">
                <a:avLst/>
              </a:prstTxWarp>
              <a:spAutoFit/>
            </a:bodyPr>
            <a:lstStyle/>
            <a:p>
              <a:pPr>
                <a:spcBef>
                  <a:spcPts val="0"/>
                </a:spcBef>
              </a:pPr>
              <a:r>
                <a:rPr lang="en-US" sz="500" dirty="0">
                  <a:latin typeface="Calibri" panose="020F0502020204030204" pitchFamily="34" charset="0"/>
                  <a:cs typeface="Calibri" panose="020F0502020204030204" pitchFamily="34" charset="0"/>
                </a:rPr>
                <a:t>Cloud security</a:t>
              </a:r>
            </a:p>
          </p:txBody>
        </p:sp>
      </p:grpSp>
      <p:pic>
        <p:nvPicPr>
          <p:cNvPr id="50" name="Picture 4" descr="CloudGuard"/>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555739" y="4397480"/>
            <a:ext cx="201270" cy="190332"/>
          </a:xfrm>
          <a:prstGeom prst="rect">
            <a:avLst/>
          </a:prstGeom>
          <a:solidFill>
            <a:srgbClr val="F7F7F7"/>
          </a:solidFill>
        </p:spPr>
      </p:pic>
      <p:pic>
        <p:nvPicPr>
          <p:cNvPr id="51"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504525" y="4426756"/>
            <a:ext cx="236626" cy="223766"/>
          </a:xfrm>
          <a:prstGeom prst="rect">
            <a:avLst/>
          </a:prstGeom>
          <a:solidFill>
            <a:srgbClr val="F7F7F7"/>
          </a:solidFill>
        </p:spPr>
      </p:pic>
      <p:pic>
        <p:nvPicPr>
          <p:cNvPr id="52" name="Picture 2" descr="Quantum"/>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953789" y="4428562"/>
            <a:ext cx="236626" cy="223766"/>
          </a:xfrm>
          <a:prstGeom prst="rect">
            <a:avLst/>
          </a:prstGeom>
          <a:solidFill>
            <a:srgbClr val="F7F7F7"/>
          </a:solidFill>
        </p:spPr>
      </p:pic>
      <p:grpSp>
        <p:nvGrpSpPr>
          <p:cNvPr id="53" name="Group 52"/>
          <p:cNvGrpSpPr/>
          <p:nvPr/>
        </p:nvGrpSpPr>
        <p:grpSpPr>
          <a:xfrm>
            <a:off x="5854977" y="3264412"/>
            <a:ext cx="842866" cy="169277"/>
            <a:chOff x="4339507" y="3489908"/>
            <a:chExt cx="842866" cy="169277"/>
          </a:xfrm>
        </p:grpSpPr>
        <p:sp>
          <p:nvSpPr>
            <p:cNvPr id="54" name="Rectangle 53"/>
            <p:cNvSpPr/>
            <p:nvPr/>
          </p:nvSpPr>
          <p:spPr bwMode="auto">
            <a:xfrm>
              <a:off x="4386660" y="3517591"/>
              <a:ext cx="583089" cy="118347"/>
            </a:xfrm>
            <a:prstGeom prst="rect">
              <a:avLst/>
            </a:prstGeom>
            <a:solidFill>
              <a:srgbClr val="F7F7F7"/>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0" dirty="0" err="1">
                <a:latin typeface="+mn-lt"/>
                <a:cs typeface="Calibri" panose="020F0502020204030204" pitchFamily="34" charset="0"/>
              </a:endParaRPr>
            </a:p>
          </p:txBody>
        </p:sp>
        <p:sp>
          <p:nvSpPr>
            <p:cNvPr id="55" name="TextBox 54"/>
            <p:cNvSpPr txBox="1"/>
            <p:nvPr/>
          </p:nvSpPr>
          <p:spPr bwMode="auto">
            <a:xfrm>
              <a:off x="4339507" y="3489908"/>
              <a:ext cx="842866" cy="169277"/>
            </a:xfrm>
            <a:prstGeom prst="rect">
              <a:avLst/>
            </a:prstGeom>
            <a:noFill/>
            <a:ln>
              <a:noFill/>
            </a:ln>
            <a:effectLst/>
          </p:spPr>
          <p:txBody>
            <a:bodyPr vert="horz" wrap="square" lIns="91440" tIns="45720" rIns="91440" bIns="45720" numCol="1" rtlCol="0" anchor="ctr" anchorCtr="0" compatLnSpc="1">
              <a:prstTxWarp prst="textNoShape">
                <a:avLst/>
              </a:prstTxWarp>
              <a:spAutoFit/>
            </a:bodyPr>
            <a:lstStyle/>
            <a:p>
              <a:pPr>
                <a:spcBef>
                  <a:spcPts val="0"/>
                </a:spcBef>
              </a:pPr>
              <a:r>
                <a:rPr lang="en-US" sz="500" dirty="0">
                  <a:latin typeface="Calibri" panose="020F0502020204030204" pitchFamily="34" charset="0"/>
                  <a:cs typeface="Calibri" panose="020F0502020204030204" pitchFamily="34" charset="0"/>
                </a:rPr>
                <a:t>User &amp; access security</a:t>
              </a:r>
            </a:p>
          </p:txBody>
        </p:sp>
      </p:grpSp>
    </p:spTree>
    <p:extLst>
      <p:ext uri="{BB962C8B-B14F-4D97-AF65-F5344CB8AC3E}">
        <p14:creationId xmlns:p14="http://schemas.microsoft.com/office/powerpoint/2010/main" val="4234796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403"/>
        <p:cNvGrpSpPr/>
        <p:nvPr/>
      </p:nvGrpSpPr>
      <p:grpSpPr>
        <a:xfrm>
          <a:off x="0" y="0"/>
          <a:ext cx="0" cy="0"/>
          <a:chOff x="0" y="0"/>
          <a:chExt cx="0" cy="0"/>
        </a:xfrm>
      </p:grpSpPr>
      <p:grpSp>
        <p:nvGrpSpPr>
          <p:cNvPr id="2405" name="Google Shape;2405;p23"/>
          <p:cNvGrpSpPr/>
          <p:nvPr/>
        </p:nvGrpSpPr>
        <p:grpSpPr>
          <a:xfrm>
            <a:off x="3023911" y="1961041"/>
            <a:ext cx="6085012" cy="2605939"/>
            <a:chOff x="2893992" y="2304924"/>
            <a:chExt cx="7785208" cy="3334056"/>
          </a:xfrm>
        </p:grpSpPr>
        <p:sp>
          <p:nvSpPr>
            <p:cNvPr id="2406" name="Google Shape;2406;p23"/>
            <p:cNvSpPr/>
            <p:nvPr/>
          </p:nvSpPr>
          <p:spPr>
            <a:xfrm>
              <a:off x="5164122" y="2304924"/>
              <a:ext cx="5515078" cy="3321357"/>
            </a:xfrm>
            <a:custGeom>
              <a:avLst/>
              <a:gdLst/>
              <a:ahLst/>
              <a:cxnLst/>
              <a:rect l="l" t="t" r="r" b="b"/>
              <a:pathLst>
                <a:path w="5515080" h="3321357" extrusionOk="0">
                  <a:moveTo>
                    <a:pt x="1797662" y="2732725"/>
                  </a:moveTo>
                  <a:lnTo>
                    <a:pt x="1660679" y="2732725"/>
                  </a:lnTo>
                  <a:cubicBezTo>
                    <a:pt x="1068601" y="2732725"/>
                    <a:pt x="588633" y="2252756"/>
                    <a:pt x="588633" y="1660679"/>
                  </a:cubicBezTo>
                  <a:cubicBezTo>
                    <a:pt x="588633" y="1068602"/>
                    <a:pt x="1068601" y="588633"/>
                    <a:pt x="1660679" y="588633"/>
                  </a:cubicBezTo>
                  <a:lnTo>
                    <a:pt x="5515081" y="588633"/>
                  </a:lnTo>
                  <a:lnTo>
                    <a:pt x="5515081" y="0"/>
                  </a:lnTo>
                  <a:lnTo>
                    <a:pt x="1660679" y="0"/>
                  </a:lnTo>
                  <a:cubicBezTo>
                    <a:pt x="743513" y="0"/>
                    <a:pt x="0" y="743514"/>
                    <a:pt x="0" y="1660679"/>
                  </a:cubicBezTo>
                  <a:cubicBezTo>
                    <a:pt x="0" y="2577844"/>
                    <a:pt x="743513" y="3321357"/>
                    <a:pt x="1660679" y="3321357"/>
                  </a:cubicBezTo>
                  <a:lnTo>
                    <a:pt x="1797662" y="3321357"/>
                  </a:lnTo>
                  <a:close/>
                </a:path>
              </a:pathLst>
            </a:custGeom>
            <a:gradFill>
              <a:gsLst>
                <a:gs pos="0">
                  <a:srgbClr val="D8D8D8">
                    <a:alpha val="72941"/>
                  </a:srgbClr>
                </a:gs>
                <a:gs pos="25000">
                  <a:srgbClr val="D8D8D8">
                    <a:alpha val="72941"/>
                  </a:srgbClr>
                </a:gs>
                <a:gs pos="46000">
                  <a:srgbClr val="F2F2F2"/>
                </a:gs>
                <a:gs pos="72000">
                  <a:srgbClr val="F2F2F2">
                    <a:alpha val="40784"/>
                  </a:srgbClr>
                </a:gs>
                <a:gs pos="100000">
                  <a:srgbClr val="F2F2F2">
                    <a:alpha val="40784"/>
                  </a:srgbClr>
                </a:gs>
              </a:gsLst>
              <a:lin ang="81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07" name="Google Shape;2407;p23"/>
            <p:cNvSpPr/>
            <p:nvPr/>
          </p:nvSpPr>
          <p:spPr>
            <a:xfrm rot="10800000">
              <a:off x="2893992" y="2317623"/>
              <a:ext cx="5515080" cy="3321357"/>
            </a:xfrm>
            <a:custGeom>
              <a:avLst/>
              <a:gdLst/>
              <a:ahLst/>
              <a:cxnLst/>
              <a:rect l="l" t="t" r="r" b="b"/>
              <a:pathLst>
                <a:path w="5515080" h="3321357" extrusionOk="0">
                  <a:moveTo>
                    <a:pt x="1797662" y="2732725"/>
                  </a:moveTo>
                  <a:lnTo>
                    <a:pt x="1660679" y="2732725"/>
                  </a:lnTo>
                  <a:cubicBezTo>
                    <a:pt x="1068601" y="2732725"/>
                    <a:pt x="588633" y="2252756"/>
                    <a:pt x="588633" y="1660679"/>
                  </a:cubicBezTo>
                  <a:cubicBezTo>
                    <a:pt x="588633" y="1068602"/>
                    <a:pt x="1068601" y="588633"/>
                    <a:pt x="1660679" y="588633"/>
                  </a:cubicBezTo>
                  <a:lnTo>
                    <a:pt x="5515081" y="588633"/>
                  </a:lnTo>
                  <a:lnTo>
                    <a:pt x="5515081" y="0"/>
                  </a:lnTo>
                  <a:lnTo>
                    <a:pt x="1660679" y="0"/>
                  </a:lnTo>
                  <a:cubicBezTo>
                    <a:pt x="743513" y="0"/>
                    <a:pt x="0" y="743514"/>
                    <a:pt x="0" y="1660679"/>
                  </a:cubicBezTo>
                  <a:cubicBezTo>
                    <a:pt x="0" y="2577844"/>
                    <a:pt x="743513" y="3321357"/>
                    <a:pt x="1660679" y="3321357"/>
                  </a:cubicBezTo>
                  <a:lnTo>
                    <a:pt x="1797662" y="3321357"/>
                  </a:lnTo>
                  <a:close/>
                </a:path>
              </a:pathLst>
            </a:custGeom>
            <a:gradFill>
              <a:gsLst>
                <a:gs pos="0">
                  <a:srgbClr val="B6B6B8">
                    <a:alpha val="5882"/>
                  </a:srgbClr>
                </a:gs>
                <a:gs pos="10000">
                  <a:srgbClr val="B6B6B8">
                    <a:alpha val="5882"/>
                  </a:srgbClr>
                </a:gs>
                <a:gs pos="45000">
                  <a:srgbClr val="D8D8D8"/>
                </a:gs>
                <a:gs pos="72000">
                  <a:srgbClr val="F2F2F2">
                    <a:alpha val="31764"/>
                  </a:srgbClr>
                </a:gs>
                <a:gs pos="100000">
                  <a:srgbClr val="F2F2F2">
                    <a:alpha val="31764"/>
                  </a:srgbClr>
                </a:gs>
              </a:gsLst>
              <a:lin ang="81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sp>
        <p:nvSpPr>
          <p:cNvPr id="2408" name="Google Shape;2408;p23"/>
          <p:cNvSpPr txBox="1">
            <a:spLocks noGrp="1"/>
          </p:cNvSpPr>
          <p:nvPr>
            <p:ph type="title"/>
          </p:nvPr>
        </p:nvSpPr>
        <p:spPr>
          <a:xfrm>
            <a:off x="577277" y="453939"/>
            <a:ext cx="10015157" cy="1377099"/>
          </a:xfrm>
          <a:prstGeom prst="rect">
            <a:avLst/>
          </a:prstGeom>
          <a:noFill/>
          <a:ln>
            <a:noFill/>
          </a:ln>
        </p:spPr>
        <p:txBody>
          <a:bodyPr spcFirstLastPara="1" wrap="square" lIns="91425" tIns="45700" rIns="91425" bIns="45700" anchor="t" anchorCtr="0">
            <a:noAutofit/>
          </a:bodyPr>
          <a:lstStyle/>
          <a:p>
            <a:pPr marL="0" lvl="0" indent="0" algn="l" rtl="0">
              <a:lnSpc>
                <a:spcPct val="85000"/>
              </a:lnSpc>
              <a:spcBef>
                <a:spcPts val="0"/>
              </a:spcBef>
              <a:spcAft>
                <a:spcPts val="0"/>
              </a:spcAft>
              <a:buNone/>
            </a:pPr>
            <a:r>
              <a:rPr lang="en-US" sz="3200" b="1" cap="all" dirty="0">
                <a:sym typeface="Calibri"/>
              </a:rPr>
              <a:t>BEST ZERO-DAY PROTECTION </a:t>
            </a:r>
            <a:br>
              <a:rPr lang="en-US" b="1" dirty="0">
                <a:solidFill>
                  <a:schemeClr val="tx2"/>
                </a:solidFill>
                <a:latin typeface="Calibri"/>
                <a:ea typeface="Calibri"/>
                <a:cs typeface="Calibri"/>
                <a:sym typeface="Calibri"/>
              </a:rPr>
            </a:br>
            <a:r>
              <a:rPr lang="en-US" sz="2800" b="1" dirty="0">
                <a:solidFill>
                  <a:schemeClr val="tx1"/>
                </a:solidFill>
                <a:ea typeface="Calibri"/>
                <a:sym typeface="Calibri"/>
              </a:rPr>
              <a:t>POWERED BY THE WORLD’S MOST POWERFUL</a:t>
            </a:r>
            <a:br>
              <a:rPr lang="en-US" sz="2800" b="1" dirty="0">
                <a:solidFill>
                  <a:schemeClr val="tx1"/>
                </a:solidFill>
                <a:ea typeface="Calibri"/>
                <a:sym typeface="Calibri"/>
              </a:rPr>
            </a:br>
            <a:r>
              <a:rPr lang="en-US" sz="2800" b="1" dirty="0">
                <a:solidFill>
                  <a:schemeClr val="tx1"/>
                </a:solidFill>
                <a:ea typeface="Calibri"/>
                <a:sym typeface="Calibri"/>
              </a:rPr>
              <a:t>THREAT INTELLIGENCE AND 60+ SECURITY ENGINES </a:t>
            </a:r>
            <a:endParaRPr sz="2800" b="1" dirty="0">
              <a:solidFill>
                <a:schemeClr val="tx1"/>
              </a:solidFill>
              <a:ea typeface="Calibri"/>
              <a:sym typeface="Calibri"/>
            </a:endParaRPr>
          </a:p>
        </p:txBody>
      </p:sp>
      <p:sp>
        <p:nvSpPr>
          <p:cNvPr id="2409" name="Google Shape;2409;p23"/>
          <p:cNvSpPr/>
          <p:nvPr/>
        </p:nvSpPr>
        <p:spPr>
          <a:xfrm>
            <a:off x="6874249" y="4823033"/>
            <a:ext cx="379360" cy="165317"/>
          </a:xfrm>
          <a:prstGeom prst="rect">
            <a:avLst/>
          </a:prstGeom>
          <a:no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Clr>
                <a:srgbClr val="72183E"/>
              </a:buClr>
              <a:buSzPts val="2300"/>
              <a:buFont typeface="Noto Sans Symbols"/>
              <a:buNone/>
            </a:pPr>
            <a:endParaRPr sz="2000" b="1" i="0" u="none" strike="noStrike" cap="none">
              <a:solidFill>
                <a:srgbClr val="E45785"/>
              </a:solidFill>
              <a:latin typeface="Calibri"/>
              <a:ea typeface="Calibri"/>
              <a:cs typeface="Calibri"/>
              <a:sym typeface="Calibri"/>
            </a:endParaRPr>
          </a:p>
        </p:txBody>
      </p:sp>
      <p:sp>
        <p:nvSpPr>
          <p:cNvPr id="2410" name="Google Shape;2410;p23"/>
          <p:cNvSpPr/>
          <p:nvPr/>
        </p:nvSpPr>
        <p:spPr>
          <a:xfrm>
            <a:off x="2031414" y="5530541"/>
            <a:ext cx="2044716" cy="8617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lt2"/>
                </a:solidFill>
                <a:latin typeface="Calibri"/>
                <a:ea typeface="Calibri"/>
                <a:cs typeface="Calibri"/>
                <a:sym typeface="Calibri"/>
              </a:rPr>
              <a:t>60+</a:t>
            </a:r>
            <a:endParaRPr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sz="1600" dirty="0">
                <a:solidFill>
                  <a:schemeClr val="dk1"/>
                </a:solidFill>
                <a:latin typeface="Calibri"/>
                <a:ea typeface="Calibri"/>
                <a:cs typeface="Calibri"/>
                <a:sym typeface="Calibri"/>
              </a:rPr>
              <a:t>AI &amp; traditional engines</a:t>
            </a:r>
            <a:endParaRPr dirty="0">
              <a:latin typeface="Calibri" panose="020F0502020204030204" pitchFamily="34" charset="0"/>
              <a:cs typeface="Calibri" panose="020F0502020204030204" pitchFamily="34" charset="0"/>
            </a:endParaRPr>
          </a:p>
        </p:txBody>
      </p:sp>
      <p:grpSp>
        <p:nvGrpSpPr>
          <p:cNvPr id="2411" name="Google Shape;2411;p23"/>
          <p:cNvGrpSpPr/>
          <p:nvPr/>
        </p:nvGrpSpPr>
        <p:grpSpPr>
          <a:xfrm>
            <a:off x="7897795" y="375091"/>
            <a:ext cx="4036463" cy="2472951"/>
            <a:chOff x="7847729" y="1341438"/>
            <a:chExt cx="4036463" cy="2472951"/>
          </a:xfrm>
        </p:grpSpPr>
        <p:sp>
          <p:nvSpPr>
            <p:cNvPr id="2412" name="Google Shape;2412;p23"/>
            <p:cNvSpPr/>
            <p:nvPr/>
          </p:nvSpPr>
          <p:spPr>
            <a:xfrm>
              <a:off x="7847729" y="1341438"/>
              <a:ext cx="4036463" cy="2472951"/>
            </a:xfrm>
            <a:custGeom>
              <a:avLst/>
              <a:gdLst/>
              <a:ahLst/>
              <a:cxnLst/>
              <a:rect l="l" t="t" r="r" b="b"/>
              <a:pathLst>
                <a:path w="4472598" h="2740150" extrusionOk="0">
                  <a:moveTo>
                    <a:pt x="780535" y="1064528"/>
                  </a:moveTo>
                  <a:lnTo>
                    <a:pt x="494785" y="1064528"/>
                  </a:lnTo>
                  <a:lnTo>
                    <a:pt x="494785" y="1069386"/>
                  </a:lnTo>
                  <a:lnTo>
                    <a:pt x="780535" y="1069386"/>
                  </a:lnTo>
                  <a:cubicBezTo>
                    <a:pt x="782307" y="1077187"/>
                    <a:pt x="790060" y="1082073"/>
                    <a:pt x="797852" y="1080311"/>
                  </a:cubicBezTo>
                  <a:cubicBezTo>
                    <a:pt x="804157" y="1078882"/>
                    <a:pt x="808748" y="1073453"/>
                    <a:pt x="809110" y="1067004"/>
                  </a:cubicBezTo>
                  <a:cubicBezTo>
                    <a:pt x="809110" y="1059060"/>
                    <a:pt x="802671" y="1052622"/>
                    <a:pt x="794728" y="1052622"/>
                  </a:cubicBezTo>
                  <a:cubicBezTo>
                    <a:pt x="787727" y="1052641"/>
                    <a:pt x="781726" y="1057641"/>
                    <a:pt x="780440" y="1064528"/>
                  </a:cubicBezTo>
                  <a:close/>
                  <a:moveTo>
                    <a:pt x="3936359" y="1589832"/>
                  </a:moveTo>
                  <a:cubicBezTo>
                    <a:pt x="3941969" y="1584231"/>
                    <a:pt x="3950817" y="1583545"/>
                    <a:pt x="3957218" y="1588212"/>
                  </a:cubicBezTo>
                  <a:lnTo>
                    <a:pt x="4254113" y="1291318"/>
                  </a:lnTo>
                  <a:cubicBezTo>
                    <a:pt x="4251741" y="1287489"/>
                    <a:pt x="4252379" y="1282517"/>
                    <a:pt x="4255637" y="1279412"/>
                  </a:cubicBezTo>
                  <a:cubicBezTo>
                    <a:pt x="4259475" y="1275811"/>
                    <a:pt x="4265505" y="1276011"/>
                    <a:pt x="4269095" y="1279840"/>
                  </a:cubicBezTo>
                  <a:cubicBezTo>
                    <a:pt x="4272696" y="1283679"/>
                    <a:pt x="4272505" y="1289708"/>
                    <a:pt x="4268667" y="1293309"/>
                  </a:cubicBezTo>
                  <a:cubicBezTo>
                    <a:pt x="4265685" y="1296109"/>
                    <a:pt x="4261237" y="1296690"/>
                    <a:pt x="4257637" y="1294747"/>
                  </a:cubicBezTo>
                  <a:lnTo>
                    <a:pt x="3960647" y="1591641"/>
                  </a:lnTo>
                  <a:cubicBezTo>
                    <a:pt x="3965343" y="1598023"/>
                    <a:pt x="3964695" y="1606872"/>
                    <a:pt x="3959123" y="1612501"/>
                  </a:cubicBezTo>
                  <a:cubicBezTo>
                    <a:pt x="3952456" y="1618378"/>
                    <a:pt x="3942283" y="1617740"/>
                    <a:pt x="3936406" y="1611072"/>
                  </a:cubicBezTo>
                  <a:cubicBezTo>
                    <a:pt x="3931053" y="1605014"/>
                    <a:pt x="3931034" y="1595918"/>
                    <a:pt x="3936359" y="1589832"/>
                  </a:cubicBezTo>
                  <a:close/>
                  <a:moveTo>
                    <a:pt x="3955409" y="1593261"/>
                  </a:moveTo>
                  <a:cubicBezTo>
                    <a:pt x="3951065" y="1588898"/>
                    <a:pt x="3944017" y="1588879"/>
                    <a:pt x="3939644" y="1593213"/>
                  </a:cubicBezTo>
                  <a:cubicBezTo>
                    <a:pt x="3935282" y="1597556"/>
                    <a:pt x="3935263" y="1604614"/>
                    <a:pt x="3939606" y="1608977"/>
                  </a:cubicBezTo>
                  <a:cubicBezTo>
                    <a:pt x="3943940" y="1613339"/>
                    <a:pt x="3950998" y="1613358"/>
                    <a:pt x="3955361" y="1609024"/>
                  </a:cubicBezTo>
                  <a:cubicBezTo>
                    <a:pt x="3955380" y="1609005"/>
                    <a:pt x="3955389" y="1608996"/>
                    <a:pt x="3955409" y="1608977"/>
                  </a:cubicBezTo>
                  <a:cubicBezTo>
                    <a:pt x="3959752" y="1604690"/>
                    <a:pt x="3959790" y="1597690"/>
                    <a:pt x="3955504" y="1593356"/>
                  </a:cubicBezTo>
                  <a:cubicBezTo>
                    <a:pt x="3955466" y="1593318"/>
                    <a:pt x="3955437" y="1593289"/>
                    <a:pt x="3955409" y="1593261"/>
                  </a:cubicBezTo>
                  <a:close/>
                  <a:moveTo>
                    <a:pt x="3582600" y="1589832"/>
                  </a:moveTo>
                  <a:cubicBezTo>
                    <a:pt x="3576380" y="1596108"/>
                    <a:pt x="3576437" y="1606243"/>
                    <a:pt x="3582714" y="1612463"/>
                  </a:cubicBezTo>
                  <a:cubicBezTo>
                    <a:pt x="3589001" y="1618683"/>
                    <a:pt x="3599126" y="1618626"/>
                    <a:pt x="3605346" y="1612349"/>
                  </a:cubicBezTo>
                  <a:cubicBezTo>
                    <a:pt x="3610880" y="1606757"/>
                    <a:pt x="3611527" y="1597985"/>
                    <a:pt x="3606889" y="1591641"/>
                  </a:cubicBezTo>
                  <a:lnTo>
                    <a:pt x="4068375" y="1130536"/>
                  </a:lnTo>
                  <a:cubicBezTo>
                    <a:pt x="4072918" y="1133184"/>
                    <a:pt x="4078748" y="1131650"/>
                    <a:pt x="4081405" y="1127107"/>
                  </a:cubicBezTo>
                  <a:cubicBezTo>
                    <a:pt x="4084053" y="1122564"/>
                    <a:pt x="4082519" y="1116734"/>
                    <a:pt x="4077976" y="1114077"/>
                  </a:cubicBezTo>
                  <a:cubicBezTo>
                    <a:pt x="4073433" y="1111429"/>
                    <a:pt x="4067594" y="1112962"/>
                    <a:pt x="4064946" y="1117506"/>
                  </a:cubicBezTo>
                  <a:cubicBezTo>
                    <a:pt x="4063212" y="1120478"/>
                    <a:pt x="4063212" y="1124145"/>
                    <a:pt x="4064946" y="1127107"/>
                  </a:cubicBezTo>
                  <a:lnTo>
                    <a:pt x="3603841" y="1588212"/>
                  </a:lnTo>
                  <a:cubicBezTo>
                    <a:pt x="3597440" y="1583545"/>
                    <a:pt x="3588591" y="1584231"/>
                    <a:pt x="3582981" y="1589832"/>
                  </a:cubicBezTo>
                  <a:close/>
                  <a:moveTo>
                    <a:pt x="3601650" y="1593261"/>
                  </a:moveTo>
                  <a:cubicBezTo>
                    <a:pt x="3606012" y="1597604"/>
                    <a:pt x="3606031" y="1604652"/>
                    <a:pt x="3601698" y="1609024"/>
                  </a:cubicBezTo>
                  <a:cubicBezTo>
                    <a:pt x="3597354" y="1613387"/>
                    <a:pt x="3590296" y="1613406"/>
                    <a:pt x="3585934" y="1609062"/>
                  </a:cubicBezTo>
                  <a:cubicBezTo>
                    <a:pt x="3581571" y="1604729"/>
                    <a:pt x="3581552" y="1597671"/>
                    <a:pt x="3585886" y="1593308"/>
                  </a:cubicBezTo>
                  <a:cubicBezTo>
                    <a:pt x="3585905" y="1593289"/>
                    <a:pt x="3585915" y="1593280"/>
                    <a:pt x="3585934" y="1593261"/>
                  </a:cubicBezTo>
                  <a:cubicBezTo>
                    <a:pt x="3590220" y="1588917"/>
                    <a:pt x="3597221" y="1588879"/>
                    <a:pt x="3601555" y="1593165"/>
                  </a:cubicBezTo>
                  <a:cubicBezTo>
                    <a:pt x="3601593" y="1593203"/>
                    <a:pt x="3601621" y="1593232"/>
                    <a:pt x="3601650" y="1593261"/>
                  </a:cubicBezTo>
                  <a:close/>
                  <a:moveTo>
                    <a:pt x="3870922" y="1021760"/>
                  </a:moveTo>
                  <a:cubicBezTo>
                    <a:pt x="3865350" y="1027352"/>
                    <a:pt x="3856529" y="1028037"/>
                    <a:pt x="3850157" y="1023380"/>
                  </a:cubicBezTo>
                  <a:lnTo>
                    <a:pt x="3510115" y="1364089"/>
                  </a:lnTo>
                  <a:lnTo>
                    <a:pt x="3510115" y="1652506"/>
                  </a:lnTo>
                  <a:cubicBezTo>
                    <a:pt x="3514467" y="1653582"/>
                    <a:pt x="3517487" y="1657545"/>
                    <a:pt x="3517354" y="1662031"/>
                  </a:cubicBezTo>
                  <a:cubicBezTo>
                    <a:pt x="3517144" y="1667289"/>
                    <a:pt x="3512705" y="1671375"/>
                    <a:pt x="3507457" y="1671166"/>
                  </a:cubicBezTo>
                  <a:cubicBezTo>
                    <a:pt x="3502199" y="1670956"/>
                    <a:pt x="3498104" y="1666517"/>
                    <a:pt x="3498323" y="1661269"/>
                  </a:cubicBezTo>
                  <a:cubicBezTo>
                    <a:pt x="3498485" y="1657183"/>
                    <a:pt x="3501237" y="1653659"/>
                    <a:pt x="3505162" y="1652506"/>
                  </a:cubicBezTo>
                  <a:lnTo>
                    <a:pt x="3505162" y="1362089"/>
                  </a:lnTo>
                  <a:lnTo>
                    <a:pt x="3846823" y="1020427"/>
                  </a:lnTo>
                  <a:cubicBezTo>
                    <a:pt x="3841775" y="1013112"/>
                    <a:pt x="3843604" y="1003082"/>
                    <a:pt x="3850919" y="998034"/>
                  </a:cubicBezTo>
                  <a:cubicBezTo>
                    <a:pt x="3857167" y="993719"/>
                    <a:pt x="3865588" y="994357"/>
                    <a:pt x="3871112" y="999567"/>
                  </a:cubicBezTo>
                  <a:cubicBezTo>
                    <a:pt x="3877370" y="1005806"/>
                    <a:pt x="3877389" y="1015941"/>
                    <a:pt x="3871150" y="1022199"/>
                  </a:cubicBezTo>
                  <a:cubicBezTo>
                    <a:pt x="3871141" y="1022208"/>
                    <a:pt x="3871122" y="1022227"/>
                    <a:pt x="3871112" y="1022237"/>
                  </a:cubicBezTo>
                  <a:close/>
                  <a:moveTo>
                    <a:pt x="3851872" y="1018331"/>
                  </a:moveTo>
                  <a:cubicBezTo>
                    <a:pt x="3856215" y="1022694"/>
                    <a:pt x="3863264" y="1022713"/>
                    <a:pt x="3867635" y="1018379"/>
                  </a:cubicBezTo>
                  <a:cubicBezTo>
                    <a:pt x="3871998" y="1014036"/>
                    <a:pt x="3872017" y="1006978"/>
                    <a:pt x="3867673" y="1002615"/>
                  </a:cubicBezTo>
                  <a:cubicBezTo>
                    <a:pt x="3863340" y="998253"/>
                    <a:pt x="3856282" y="998234"/>
                    <a:pt x="3851919" y="1002568"/>
                  </a:cubicBezTo>
                  <a:cubicBezTo>
                    <a:pt x="3851900" y="1002587"/>
                    <a:pt x="3851891" y="1002596"/>
                    <a:pt x="3851872" y="1002615"/>
                  </a:cubicBezTo>
                  <a:cubicBezTo>
                    <a:pt x="3847547" y="1006959"/>
                    <a:pt x="3847547" y="1013988"/>
                    <a:pt x="3851872" y="1018331"/>
                  </a:cubicBezTo>
                  <a:close/>
                  <a:moveTo>
                    <a:pt x="3980078" y="1768616"/>
                  </a:moveTo>
                  <a:cubicBezTo>
                    <a:pt x="3973858" y="1774893"/>
                    <a:pt x="3973916" y="1785027"/>
                    <a:pt x="3980192" y="1791247"/>
                  </a:cubicBezTo>
                  <a:cubicBezTo>
                    <a:pt x="3986479" y="1797467"/>
                    <a:pt x="3996604" y="1797410"/>
                    <a:pt x="4002824" y="1791133"/>
                  </a:cubicBezTo>
                  <a:cubicBezTo>
                    <a:pt x="4008358" y="1785542"/>
                    <a:pt x="4009006" y="1776769"/>
                    <a:pt x="4004367" y="1770426"/>
                  </a:cubicBezTo>
                  <a:lnTo>
                    <a:pt x="4347267" y="1427526"/>
                  </a:lnTo>
                  <a:cubicBezTo>
                    <a:pt x="4351811" y="1430174"/>
                    <a:pt x="4357640" y="1428640"/>
                    <a:pt x="4360297" y="1424097"/>
                  </a:cubicBezTo>
                  <a:cubicBezTo>
                    <a:pt x="4362945" y="1419553"/>
                    <a:pt x="4361412" y="1413724"/>
                    <a:pt x="4356868" y="1411066"/>
                  </a:cubicBezTo>
                  <a:cubicBezTo>
                    <a:pt x="4352325" y="1408418"/>
                    <a:pt x="4346486" y="1409952"/>
                    <a:pt x="4343838" y="1414495"/>
                  </a:cubicBezTo>
                  <a:cubicBezTo>
                    <a:pt x="4342104" y="1417467"/>
                    <a:pt x="4342104" y="1421134"/>
                    <a:pt x="4343838" y="1424097"/>
                  </a:cubicBezTo>
                  <a:lnTo>
                    <a:pt x="4000938" y="1766997"/>
                  </a:lnTo>
                  <a:cubicBezTo>
                    <a:pt x="3994537" y="1762329"/>
                    <a:pt x="3985688" y="1763015"/>
                    <a:pt x="3980078" y="1768616"/>
                  </a:cubicBezTo>
                  <a:close/>
                  <a:moveTo>
                    <a:pt x="3999128" y="1772045"/>
                  </a:moveTo>
                  <a:cubicBezTo>
                    <a:pt x="4003472" y="1776331"/>
                    <a:pt x="4003510" y="1783332"/>
                    <a:pt x="3999223" y="1787666"/>
                  </a:cubicBezTo>
                  <a:cubicBezTo>
                    <a:pt x="3999185" y="1787704"/>
                    <a:pt x="3999157" y="1787732"/>
                    <a:pt x="3999128" y="1787761"/>
                  </a:cubicBezTo>
                  <a:cubicBezTo>
                    <a:pt x="3994785" y="1792124"/>
                    <a:pt x="3987736" y="1792143"/>
                    <a:pt x="3983364" y="1787809"/>
                  </a:cubicBezTo>
                  <a:cubicBezTo>
                    <a:pt x="3979002" y="1783465"/>
                    <a:pt x="3978983" y="1776407"/>
                    <a:pt x="3983326" y="1772045"/>
                  </a:cubicBezTo>
                  <a:cubicBezTo>
                    <a:pt x="3987660" y="1767682"/>
                    <a:pt x="3994718" y="1767663"/>
                    <a:pt x="3999081" y="1771997"/>
                  </a:cubicBezTo>
                  <a:cubicBezTo>
                    <a:pt x="3999099" y="1772016"/>
                    <a:pt x="3999109" y="1772026"/>
                    <a:pt x="3999128" y="1772045"/>
                  </a:cubicBezTo>
                  <a:close/>
                  <a:moveTo>
                    <a:pt x="4221251" y="1235882"/>
                  </a:moveTo>
                  <a:cubicBezTo>
                    <a:pt x="4227471" y="1229606"/>
                    <a:pt x="4227414" y="1219471"/>
                    <a:pt x="4221137" y="1213251"/>
                  </a:cubicBezTo>
                  <a:cubicBezTo>
                    <a:pt x="4214850" y="1207031"/>
                    <a:pt x="4204725" y="1207088"/>
                    <a:pt x="4198505" y="1213365"/>
                  </a:cubicBezTo>
                  <a:cubicBezTo>
                    <a:pt x="4192971" y="1218957"/>
                    <a:pt x="4192324" y="1227729"/>
                    <a:pt x="4196963" y="1234073"/>
                  </a:cubicBezTo>
                  <a:lnTo>
                    <a:pt x="3598030" y="1832910"/>
                  </a:lnTo>
                  <a:cubicBezTo>
                    <a:pt x="3594220" y="1830595"/>
                    <a:pt x="3589315" y="1831224"/>
                    <a:pt x="3586219" y="1834433"/>
                  </a:cubicBezTo>
                  <a:cubicBezTo>
                    <a:pt x="3582590" y="1838234"/>
                    <a:pt x="3582724" y="1844263"/>
                    <a:pt x="3586524" y="1847902"/>
                  </a:cubicBezTo>
                  <a:cubicBezTo>
                    <a:pt x="3590334" y="1851531"/>
                    <a:pt x="3596364" y="1851398"/>
                    <a:pt x="3599992" y="1847588"/>
                  </a:cubicBezTo>
                  <a:cubicBezTo>
                    <a:pt x="3602860" y="1844587"/>
                    <a:pt x="3603460" y="1840072"/>
                    <a:pt x="3601460" y="1836434"/>
                  </a:cubicBezTo>
                  <a:lnTo>
                    <a:pt x="4200391" y="1237502"/>
                  </a:lnTo>
                  <a:cubicBezTo>
                    <a:pt x="4206792" y="1242169"/>
                    <a:pt x="4215641" y="1241483"/>
                    <a:pt x="4221251" y="1235882"/>
                  </a:cubicBezTo>
                  <a:close/>
                  <a:moveTo>
                    <a:pt x="4202201" y="1232453"/>
                  </a:moveTo>
                  <a:cubicBezTo>
                    <a:pt x="4197867" y="1228091"/>
                    <a:pt x="4197886" y="1221033"/>
                    <a:pt x="4202249" y="1216690"/>
                  </a:cubicBezTo>
                  <a:cubicBezTo>
                    <a:pt x="4206621" y="1212356"/>
                    <a:pt x="4213679" y="1212375"/>
                    <a:pt x="4218013" y="1216747"/>
                  </a:cubicBezTo>
                  <a:cubicBezTo>
                    <a:pt x="4222328" y="1221090"/>
                    <a:pt x="4222328" y="1228110"/>
                    <a:pt x="4218013" y="1232453"/>
                  </a:cubicBezTo>
                  <a:cubicBezTo>
                    <a:pt x="4213612" y="1236740"/>
                    <a:pt x="4206602" y="1236740"/>
                    <a:pt x="4202201" y="1232453"/>
                  </a:cubicBezTo>
                  <a:close/>
                  <a:moveTo>
                    <a:pt x="3290754" y="2505279"/>
                  </a:moveTo>
                  <a:cubicBezTo>
                    <a:pt x="3296297" y="2510870"/>
                    <a:pt x="3296983" y="2519662"/>
                    <a:pt x="3292373" y="2526044"/>
                  </a:cubicBezTo>
                  <a:lnTo>
                    <a:pt x="3344189" y="2577860"/>
                  </a:lnTo>
                  <a:lnTo>
                    <a:pt x="4051516" y="2577860"/>
                  </a:lnTo>
                  <a:cubicBezTo>
                    <a:pt x="4052554" y="2573469"/>
                    <a:pt x="4056526" y="2570402"/>
                    <a:pt x="4061041" y="2570526"/>
                  </a:cubicBezTo>
                  <a:cubicBezTo>
                    <a:pt x="4066299" y="2570735"/>
                    <a:pt x="4070385" y="2575174"/>
                    <a:pt x="4070175" y="2580422"/>
                  </a:cubicBezTo>
                  <a:cubicBezTo>
                    <a:pt x="4069966" y="2585680"/>
                    <a:pt x="4065527" y="2589775"/>
                    <a:pt x="4060279" y="2589557"/>
                  </a:cubicBezTo>
                  <a:cubicBezTo>
                    <a:pt x="4056193" y="2589395"/>
                    <a:pt x="4052668" y="2586642"/>
                    <a:pt x="4051516" y="2582717"/>
                  </a:cubicBezTo>
                  <a:lnTo>
                    <a:pt x="3342094" y="2582717"/>
                  </a:lnTo>
                  <a:lnTo>
                    <a:pt x="3288849" y="2529473"/>
                  </a:lnTo>
                  <a:cubicBezTo>
                    <a:pt x="3281715" y="2534693"/>
                    <a:pt x="3271704" y="2533140"/>
                    <a:pt x="3266484" y="2526006"/>
                  </a:cubicBezTo>
                  <a:cubicBezTo>
                    <a:pt x="3261265" y="2518871"/>
                    <a:pt x="3262817" y="2508861"/>
                    <a:pt x="3269951" y="2503641"/>
                  </a:cubicBezTo>
                  <a:cubicBezTo>
                    <a:pt x="3276342" y="2498974"/>
                    <a:pt x="3285182" y="2499669"/>
                    <a:pt x="3290754" y="2505279"/>
                  </a:cubicBezTo>
                  <a:close/>
                  <a:moveTo>
                    <a:pt x="3287325" y="2524329"/>
                  </a:moveTo>
                  <a:cubicBezTo>
                    <a:pt x="3291659" y="2519967"/>
                    <a:pt x="3291640" y="2512909"/>
                    <a:pt x="3287277" y="2508565"/>
                  </a:cubicBezTo>
                  <a:cubicBezTo>
                    <a:pt x="3282905" y="2504232"/>
                    <a:pt x="3275847" y="2504251"/>
                    <a:pt x="3271513" y="2508623"/>
                  </a:cubicBezTo>
                  <a:cubicBezTo>
                    <a:pt x="3267199" y="2512966"/>
                    <a:pt x="3267199" y="2519986"/>
                    <a:pt x="3271513" y="2524329"/>
                  </a:cubicBezTo>
                  <a:cubicBezTo>
                    <a:pt x="3275895" y="2528663"/>
                    <a:pt x="3282943" y="2528663"/>
                    <a:pt x="3287325" y="2524329"/>
                  </a:cubicBezTo>
                  <a:close/>
                  <a:moveTo>
                    <a:pt x="4202297" y="2280394"/>
                  </a:moveTo>
                  <a:cubicBezTo>
                    <a:pt x="4210183" y="2280394"/>
                    <a:pt x="4216889" y="2286128"/>
                    <a:pt x="4218108" y="2293920"/>
                  </a:cubicBezTo>
                  <a:lnTo>
                    <a:pt x="4327074" y="2293920"/>
                  </a:lnTo>
                  <a:cubicBezTo>
                    <a:pt x="4328446" y="2288843"/>
                    <a:pt x="4333665" y="2285833"/>
                    <a:pt x="4338752" y="2287195"/>
                  </a:cubicBezTo>
                  <a:cubicBezTo>
                    <a:pt x="4343829" y="2288567"/>
                    <a:pt x="4346838" y="2293796"/>
                    <a:pt x="4345467" y="2298873"/>
                  </a:cubicBezTo>
                  <a:cubicBezTo>
                    <a:pt x="4344105" y="2303949"/>
                    <a:pt x="4338875" y="2306959"/>
                    <a:pt x="4333799" y="2305597"/>
                  </a:cubicBezTo>
                  <a:cubicBezTo>
                    <a:pt x="4330513" y="2304711"/>
                    <a:pt x="4327960" y="2302149"/>
                    <a:pt x="4327074" y="2298873"/>
                  </a:cubicBezTo>
                  <a:lnTo>
                    <a:pt x="4218108" y="2298873"/>
                  </a:lnTo>
                  <a:cubicBezTo>
                    <a:pt x="4216736" y="2307607"/>
                    <a:pt x="4208555" y="2313570"/>
                    <a:pt x="4199820" y="2312208"/>
                  </a:cubicBezTo>
                  <a:cubicBezTo>
                    <a:pt x="4191095" y="2310836"/>
                    <a:pt x="4185123" y="2302654"/>
                    <a:pt x="4186485" y="2293920"/>
                  </a:cubicBezTo>
                  <a:cubicBezTo>
                    <a:pt x="4187714" y="2286138"/>
                    <a:pt x="4194419" y="2280394"/>
                    <a:pt x="4202297" y="2280394"/>
                  </a:cubicBezTo>
                  <a:close/>
                  <a:moveTo>
                    <a:pt x="4213441" y="2296396"/>
                  </a:moveTo>
                  <a:cubicBezTo>
                    <a:pt x="4213441" y="2290243"/>
                    <a:pt x="4208450" y="2285252"/>
                    <a:pt x="4202297" y="2285252"/>
                  </a:cubicBezTo>
                  <a:cubicBezTo>
                    <a:pt x="4196143" y="2285252"/>
                    <a:pt x="4191152" y="2290243"/>
                    <a:pt x="4191152" y="2296396"/>
                  </a:cubicBezTo>
                  <a:cubicBezTo>
                    <a:pt x="4191152" y="2302549"/>
                    <a:pt x="4196143" y="2307540"/>
                    <a:pt x="4202297" y="2307540"/>
                  </a:cubicBezTo>
                  <a:cubicBezTo>
                    <a:pt x="4208431" y="2307493"/>
                    <a:pt x="4213393" y="2302530"/>
                    <a:pt x="4213441" y="2296396"/>
                  </a:cubicBezTo>
                  <a:close/>
                  <a:moveTo>
                    <a:pt x="3895591" y="2345450"/>
                  </a:moveTo>
                  <a:cubicBezTo>
                    <a:pt x="3903478" y="2345450"/>
                    <a:pt x="3910184" y="2351184"/>
                    <a:pt x="3911403" y="2358975"/>
                  </a:cubicBezTo>
                  <a:lnTo>
                    <a:pt x="4285926" y="2358975"/>
                  </a:lnTo>
                  <a:cubicBezTo>
                    <a:pt x="4287298" y="2353899"/>
                    <a:pt x="4292517" y="2350889"/>
                    <a:pt x="4297603" y="2352251"/>
                  </a:cubicBezTo>
                  <a:cubicBezTo>
                    <a:pt x="4302680" y="2353622"/>
                    <a:pt x="4305690" y="2358852"/>
                    <a:pt x="4304319" y="2363928"/>
                  </a:cubicBezTo>
                  <a:cubicBezTo>
                    <a:pt x="4302957" y="2369005"/>
                    <a:pt x="4297727" y="2372015"/>
                    <a:pt x="4292651" y="2370653"/>
                  </a:cubicBezTo>
                  <a:cubicBezTo>
                    <a:pt x="4289374" y="2369767"/>
                    <a:pt x="4286812" y="2367205"/>
                    <a:pt x="4285926" y="2363928"/>
                  </a:cubicBezTo>
                  <a:lnTo>
                    <a:pt x="3911403" y="2363928"/>
                  </a:lnTo>
                  <a:cubicBezTo>
                    <a:pt x="3910031" y="2372663"/>
                    <a:pt x="3901849" y="2378625"/>
                    <a:pt x="3893115" y="2377263"/>
                  </a:cubicBezTo>
                  <a:cubicBezTo>
                    <a:pt x="3884390" y="2375892"/>
                    <a:pt x="3878418" y="2367710"/>
                    <a:pt x="3879780" y="2358975"/>
                  </a:cubicBezTo>
                  <a:cubicBezTo>
                    <a:pt x="3881009" y="2351194"/>
                    <a:pt x="3887714" y="2345450"/>
                    <a:pt x="3895591" y="2345450"/>
                  </a:cubicBezTo>
                  <a:close/>
                  <a:moveTo>
                    <a:pt x="3906736" y="2361452"/>
                  </a:moveTo>
                  <a:cubicBezTo>
                    <a:pt x="3906736" y="2355299"/>
                    <a:pt x="3901745" y="2350308"/>
                    <a:pt x="3895591" y="2350308"/>
                  </a:cubicBezTo>
                  <a:cubicBezTo>
                    <a:pt x="3889438" y="2350308"/>
                    <a:pt x="3884447" y="2355299"/>
                    <a:pt x="3884447" y="2361452"/>
                  </a:cubicBezTo>
                  <a:cubicBezTo>
                    <a:pt x="3884447" y="2367605"/>
                    <a:pt x="3889438" y="2372596"/>
                    <a:pt x="3895591" y="2372596"/>
                  </a:cubicBezTo>
                  <a:cubicBezTo>
                    <a:pt x="3901725" y="2372548"/>
                    <a:pt x="3906688" y="2367586"/>
                    <a:pt x="3906736" y="2361452"/>
                  </a:cubicBezTo>
                  <a:close/>
                  <a:moveTo>
                    <a:pt x="2044312" y="611519"/>
                  </a:moveTo>
                  <a:cubicBezTo>
                    <a:pt x="2044388" y="603613"/>
                    <a:pt x="2050132" y="596907"/>
                    <a:pt x="2057933" y="595612"/>
                  </a:cubicBezTo>
                  <a:lnTo>
                    <a:pt x="2057933" y="187656"/>
                  </a:lnTo>
                  <a:lnTo>
                    <a:pt x="2150040" y="95549"/>
                  </a:lnTo>
                  <a:lnTo>
                    <a:pt x="2150040" y="28874"/>
                  </a:lnTo>
                  <a:cubicBezTo>
                    <a:pt x="2145687" y="27800"/>
                    <a:pt x="2142667" y="23833"/>
                    <a:pt x="2142801" y="19349"/>
                  </a:cubicBezTo>
                  <a:cubicBezTo>
                    <a:pt x="2143010" y="14094"/>
                    <a:pt x="2147449" y="10004"/>
                    <a:pt x="2152697" y="10215"/>
                  </a:cubicBezTo>
                  <a:cubicBezTo>
                    <a:pt x="2157955" y="10427"/>
                    <a:pt x="2162051" y="14859"/>
                    <a:pt x="2161832" y="20116"/>
                  </a:cubicBezTo>
                  <a:cubicBezTo>
                    <a:pt x="2161670" y="24201"/>
                    <a:pt x="2158917" y="27727"/>
                    <a:pt x="2154993" y="28874"/>
                  </a:cubicBezTo>
                  <a:lnTo>
                    <a:pt x="2154993" y="97359"/>
                  </a:lnTo>
                  <a:lnTo>
                    <a:pt x="2062791" y="189561"/>
                  </a:lnTo>
                  <a:lnTo>
                    <a:pt x="2062791" y="595421"/>
                  </a:lnTo>
                  <a:cubicBezTo>
                    <a:pt x="2071525" y="596793"/>
                    <a:pt x="2077488" y="604975"/>
                    <a:pt x="2076126" y="613709"/>
                  </a:cubicBezTo>
                  <a:cubicBezTo>
                    <a:pt x="2074754" y="622434"/>
                    <a:pt x="2066572" y="628407"/>
                    <a:pt x="2057838" y="627044"/>
                  </a:cubicBezTo>
                  <a:cubicBezTo>
                    <a:pt x="2050084" y="625825"/>
                    <a:pt x="2044360" y="619177"/>
                    <a:pt x="2044312" y="611328"/>
                  </a:cubicBezTo>
                  <a:close/>
                  <a:moveTo>
                    <a:pt x="2060410" y="600375"/>
                  </a:moveTo>
                  <a:cubicBezTo>
                    <a:pt x="2054256" y="600375"/>
                    <a:pt x="2049265" y="605366"/>
                    <a:pt x="2049265" y="611519"/>
                  </a:cubicBezTo>
                  <a:cubicBezTo>
                    <a:pt x="2049265" y="617672"/>
                    <a:pt x="2054256" y="622663"/>
                    <a:pt x="2060410" y="622663"/>
                  </a:cubicBezTo>
                  <a:cubicBezTo>
                    <a:pt x="2066563" y="622663"/>
                    <a:pt x="2071554" y="617672"/>
                    <a:pt x="2071554" y="611519"/>
                  </a:cubicBezTo>
                  <a:cubicBezTo>
                    <a:pt x="2071554" y="605366"/>
                    <a:pt x="2066563" y="600375"/>
                    <a:pt x="2060410" y="600375"/>
                  </a:cubicBezTo>
                  <a:close/>
                  <a:moveTo>
                    <a:pt x="1811426" y="78309"/>
                  </a:moveTo>
                  <a:cubicBezTo>
                    <a:pt x="1817017" y="83884"/>
                    <a:pt x="1817703" y="92700"/>
                    <a:pt x="1813045" y="99074"/>
                  </a:cubicBezTo>
                  <a:lnTo>
                    <a:pt x="1877625" y="163939"/>
                  </a:lnTo>
                  <a:lnTo>
                    <a:pt x="1877625" y="533890"/>
                  </a:lnTo>
                  <a:cubicBezTo>
                    <a:pt x="1882711" y="535231"/>
                    <a:pt x="1885750" y="540442"/>
                    <a:pt x="1884407" y="545529"/>
                  </a:cubicBezTo>
                  <a:cubicBezTo>
                    <a:pt x="1883064" y="550616"/>
                    <a:pt x="1877853" y="553651"/>
                    <a:pt x="1872767" y="552310"/>
                  </a:cubicBezTo>
                  <a:cubicBezTo>
                    <a:pt x="1867681" y="550969"/>
                    <a:pt x="1864642" y="545758"/>
                    <a:pt x="1865985" y="540671"/>
                  </a:cubicBezTo>
                  <a:cubicBezTo>
                    <a:pt x="1866862" y="537355"/>
                    <a:pt x="1869452" y="534764"/>
                    <a:pt x="1872767" y="533890"/>
                  </a:cubicBezTo>
                  <a:lnTo>
                    <a:pt x="1872767" y="165844"/>
                  </a:lnTo>
                  <a:lnTo>
                    <a:pt x="1809426" y="102407"/>
                  </a:lnTo>
                  <a:cubicBezTo>
                    <a:pt x="1802311" y="107656"/>
                    <a:pt x="1792300" y="106145"/>
                    <a:pt x="1787052" y="99035"/>
                  </a:cubicBezTo>
                  <a:cubicBezTo>
                    <a:pt x="1781803" y="91923"/>
                    <a:pt x="1783308" y="81905"/>
                    <a:pt x="1790423" y="76657"/>
                  </a:cubicBezTo>
                  <a:cubicBezTo>
                    <a:pt x="1796786" y="71957"/>
                    <a:pt x="1805635" y="72619"/>
                    <a:pt x="1811236" y="78214"/>
                  </a:cubicBezTo>
                  <a:close/>
                  <a:moveTo>
                    <a:pt x="1807997" y="97359"/>
                  </a:moveTo>
                  <a:cubicBezTo>
                    <a:pt x="1812283" y="92959"/>
                    <a:pt x="1812283" y="85948"/>
                    <a:pt x="1807997" y="81548"/>
                  </a:cubicBezTo>
                  <a:cubicBezTo>
                    <a:pt x="1803663" y="77181"/>
                    <a:pt x="1796605" y="77159"/>
                    <a:pt x="1792233" y="81496"/>
                  </a:cubicBezTo>
                  <a:cubicBezTo>
                    <a:pt x="1792224" y="81513"/>
                    <a:pt x="1792205" y="81531"/>
                    <a:pt x="1792186" y="81548"/>
                  </a:cubicBezTo>
                  <a:cubicBezTo>
                    <a:pt x="1787823" y="85914"/>
                    <a:pt x="1787823" y="92993"/>
                    <a:pt x="1792186" y="97359"/>
                  </a:cubicBezTo>
                  <a:cubicBezTo>
                    <a:pt x="1796548" y="101725"/>
                    <a:pt x="1803635" y="101725"/>
                    <a:pt x="1807997" y="97359"/>
                  </a:cubicBezTo>
                  <a:close/>
                  <a:moveTo>
                    <a:pt x="1948491" y="51544"/>
                  </a:moveTo>
                  <a:cubicBezTo>
                    <a:pt x="1948262" y="59350"/>
                    <a:pt x="1942490" y="65879"/>
                    <a:pt x="1934775" y="67070"/>
                  </a:cubicBezTo>
                  <a:lnTo>
                    <a:pt x="1934775" y="513506"/>
                  </a:lnTo>
                  <a:cubicBezTo>
                    <a:pt x="1939166" y="514543"/>
                    <a:pt x="1942233" y="518519"/>
                    <a:pt x="1942109" y="523031"/>
                  </a:cubicBezTo>
                  <a:cubicBezTo>
                    <a:pt x="1941899" y="528287"/>
                    <a:pt x="1937461" y="532377"/>
                    <a:pt x="1932212" y="532166"/>
                  </a:cubicBezTo>
                  <a:cubicBezTo>
                    <a:pt x="1926955" y="531954"/>
                    <a:pt x="1922859" y="527522"/>
                    <a:pt x="1923078" y="522265"/>
                  </a:cubicBezTo>
                  <a:cubicBezTo>
                    <a:pt x="1923240" y="518179"/>
                    <a:pt x="1925993" y="514654"/>
                    <a:pt x="1929917" y="513506"/>
                  </a:cubicBezTo>
                  <a:lnTo>
                    <a:pt x="1929917" y="67070"/>
                  </a:lnTo>
                  <a:cubicBezTo>
                    <a:pt x="1921192" y="65649"/>
                    <a:pt x="1915277" y="57425"/>
                    <a:pt x="1916696" y="48702"/>
                  </a:cubicBezTo>
                  <a:cubicBezTo>
                    <a:pt x="1918116" y="39980"/>
                    <a:pt x="1926345" y="34061"/>
                    <a:pt x="1935061" y="35483"/>
                  </a:cubicBezTo>
                  <a:cubicBezTo>
                    <a:pt x="1942909" y="36760"/>
                    <a:pt x="1948624" y="43599"/>
                    <a:pt x="1948491" y="51544"/>
                  </a:cubicBezTo>
                  <a:close/>
                  <a:moveTo>
                    <a:pt x="1932489" y="62688"/>
                  </a:moveTo>
                  <a:cubicBezTo>
                    <a:pt x="1938642" y="62688"/>
                    <a:pt x="1943633" y="57699"/>
                    <a:pt x="1943633" y="51544"/>
                  </a:cubicBezTo>
                  <a:cubicBezTo>
                    <a:pt x="1943633" y="45389"/>
                    <a:pt x="1938642" y="40400"/>
                    <a:pt x="1932489" y="40400"/>
                  </a:cubicBezTo>
                  <a:cubicBezTo>
                    <a:pt x="1926336" y="40400"/>
                    <a:pt x="1921345" y="45389"/>
                    <a:pt x="1921345" y="51544"/>
                  </a:cubicBezTo>
                  <a:cubicBezTo>
                    <a:pt x="1921345" y="57699"/>
                    <a:pt x="1926336" y="62688"/>
                    <a:pt x="1932489" y="62688"/>
                  </a:cubicBezTo>
                  <a:close/>
                  <a:moveTo>
                    <a:pt x="2262244" y="16206"/>
                  </a:moveTo>
                  <a:cubicBezTo>
                    <a:pt x="2262301" y="7317"/>
                    <a:pt x="2255148" y="60"/>
                    <a:pt x="2246252" y="0"/>
                  </a:cubicBezTo>
                  <a:cubicBezTo>
                    <a:pt x="2237365" y="-60"/>
                    <a:pt x="2230107" y="7099"/>
                    <a:pt x="2230050" y="15989"/>
                  </a:cubicBezTo>
                  <a:cubicBezTo>
                    <a:pt x="2229993" y="24001"/>
                    <a:pt x="2235841" y="30833"/>
                    <a:pt x="2243766" y="32018"/>
                  </a:cubicBezTo>
                  <a:lnTo>
                    <a:pt x="2243766" y="159653"/>
                  </a:lnTo>
                  <a:lnTo>
                    <a:pt x="2144325" y="259189"/>
                  </a:lnTo>
                  <a:cubicBezTo>
                    <a:pt x="2139782" y="256539"/>
                    <a:pt x="2133952" y="258074"/>
                    <a:pt x="2131295" y="262618"/>
                  </a:cubicBezTo>
                  <a:cubicBezTo>
                    <a:pt x="2128647" y="267162"/>
                    <a:pt x="2130180" y="272994"/>
                    <a:pt x="2134724" y="275644"/>
                  </a:cubicBezTo>
                  <a:cubicBezTo>
                    <a:pt x="2139267" y="278295"/>
                    <a:pt x="2145106" y="276760"/>
                    <a:pt x="2147754" y="272215"/>
                  </a:cubicBezTo>
                  <a:cubicBezTo>
                    <a:pt x="2149487" y="269250"/>
                    <a:pt x="2149487" y="265583"/>
                    <a:pt x="2147754" y="262618"/>
                  </a:cubicBezTo>
                  <a:lnTo>
                    <a:pt x="2249100" y="161272"/>
                  </a:lnTo>
                  <a:lnTo>
                    <a:pt x="2249100" y="31637"/>
                  </a:lnTo>
                  <a:cubicBezTo>
                    <a:pt x="2256929" y="30459"/>
                    <a:pt x="2262711" y="23739"/>
                    <a:pt x="2262721" y="15825"/>
                  </a:cubicBezTo>
                  <a:close/>
                  <a:moveTo>
                    <a:pt x="2246243" y="27350"/>
                  </a:moveTo>
                  <a:cubicBezTo>
                    <a:pt x="2240089" y="27350"/>
                    <a:pt x="2235098" y="22361"/>
                    <a:pt x="2235098" y="16206"/>
                  </a:cubicBezTo>
                  <a:cubicBezTo>
                    <a:pt x="2235098" y="10051"/>
                    <a:pt x="2240089" y="5062"/>
                    <a:pt x="2246243" y="5062"/>
                  </a:cubicBezTo>
                  <a:cubicBezTo>
                    <a:pt x="2252396" y="5062"/>
                    <a:pt x="2257387" y="10051"/>
                    <a:pt x="2257387" y="16206"/>
                  </a:cubicBezTo>
                  <a:cubicBezTo>
                    <a:pt x="2257387" y="22361"/>
                    <a:pt x="2252396" y="27350"/>
                    <a:pt x="2246243" y="27350"/>
                  </a:cubicBezTo>
                  <a:close/>
                  <a:moveTo>
                    <a:pt x="1290409" y="423590"/>
                  </a:moveTo>
                  <a:cubicBezTo>
                    <a:pt x="1290409" y="431472"/>
                    <a:pt x="1284675" y="438182"/>
                    <a:pt x="1276883" y="439402"/>
                  </a:cubicBezTo>
                  <a:lnTo>
                    <a:pt x="1276883" y="595707"/>
                  </a:lnTo>
                  <a:lnTo>
                    <a:pt x="1475956" y="794494"/>
                  </a:lnTo>
                  <a:cubicBezTo>
                    <a:pt x="1480566" y="791970"/>
                    <a:pt x="1486357" y="793656"/>
                    <a:pt x="1488881" y="798275"/>
                  </a:cubicBezTo>
                  <a:cubicBezTo>
                    <a:pt x="1491415" y="802885"/>
                    <a:pt x="1489719" y="808677"/>
                    <a:pt x="1485109" y="811201"/>
                  </a:cubicBezTo>
                  <a:cubicBezTo>
                    <a:pt x="1481509" y="813173"/>
                    <a:pt x="1477060" y="812620"/>
                    <a:pt x="1474051" y="809829"/>
                  </a:cubicBezTo>
                  <a:cubicBezTo>
                    <a:pt x="1470793" y="806724"/>
                    <a:pt x="1470155" y="801752"/>
                    <a:pt x="1472527" y="797923"/>
                  </a:cubicBezTo>
                  <a:lnTo>
                    <a:pt x="1271930" y="597327"/>
                  </a:lnTo>
                  <a:lnTo>
                    <a:pt x="1271930" y="439402"/>
                  </a:lnTo>
                  <a:cubicBezTo>
                    <a:pt x="1263196" y="438034"/>
                    <a:pt x="1257233" y="429847"/>
                    <a:pt x="1258595" y="421116"/>
                  </a:cubicBezTo>
                  <a:cubicBezTo>
                    <a:pt x="1259967" y="412385"/>
                    <a:pt x="1268149" y="406416"/>
                    <a:pt x="1276883" y="407784"/>
                  </a:cubicBezTo>
                  <a:cubicBezTo>
                    <a:pt x="1284665" y="409003"/>
                    <a:pt x="1290409" y="415709"/>
                    <a:pt x="1290409" y="423590"/>
                  </a:cubicBezTo>
                  <a:close/>
                  <a:moveTo>
                    <a:pt x="1274407" y="434735"/>
                  </a:moveTo>
                  <a:cubicBezTo>
                    <a:pt x="1280560" y="434735"/>
                    <a:pt x="1285551" y="429746"/>
                    <a:pt x="1285551" y="423590"/>
                  </a:cubicBezTo>
                  <a:cubicBezTo>
                    <a:pt x="1285551" y="417435"/>
                    <a:pt x="1280560" y="412446"/>
                    <a:pt x="1274407" y="412446"/>
                  </a:cubicBezTo>
                  <a:cubicBezTo>
                    <a:pt x="1268253" y="412446"/>
                    <a:pt x="1263262" y="417435"/>
                    <a:pt x="1263262" y="423590"/>
                  </a:cubicBezTo>
                  <a:cubicBezTo>
                    <a:pt x="1263310" y="429724"/>
                    <a:pt x="1268272" y="434683"/>
                    <a:pt x="1274407" y="434735"/>
                  </a:cubicBezTo>
                  <a:close/>
                  <a:moveTo>
                    <a:pt x="1418044" y="291860"/>
                  </a:moveTo>
                  <a:cubicBezTo>
                    <a:pt x="1411805" y="285600"/>
                    <a:pt x="1401670" y="285582"/>
                    <a:pt x="1395412" y="291821"/>
                  </a:cubicBezTo>
                  <a:cubicBezTo>
                    <a:pt x="1395403" y="291833"/>
                    <a:pt x="1395384" y="291846"/>
                    <a:pt x="1395374" y="291860"/>
                  </a:cubicBezTo>
                  <a:cubicBezTo>
                    <a:pt x="1389049" y="298028"/>
                    <a:pt x="1388916" y="308159"/>
                    <a:pt x="1395079" y="314488"/>
                  </a:cubicBezTo>
                  <a:cubicBezTo>
                    <a:pt x="1400727" y="320279"/>
                    <a:pt x="1409804" y="320950"/>
                    <a:pt x="1416234" y="316053"/>
                  </a:cubicBezTo>
                  <a:lnTo>
                    <a:pt x="1633594" y="533414"/>
                  </a:lnTo>
                  <a:lnTo>
                    <a:pt x="1633594" y="611138"/>
                  </a:lnTo>
                  <a:cubicBezTo>
                    <a:pt x="1628337" y="611795"/>
                    <a:pt x="1624603" y="616596"/>
                    <a:pt x="1625260" y="621853"/>
                  </a:cubicBezTo>
                  <a:cubicBezTo>
                    <a:pt x="1625917" y="627111"/>
                    <a:pt x="1630718" y="630845"/>
                    <a:pt x="1635976" y="630188"/>
                  </a:cubicBezTo>
                  <a:cubicBezTo>
                    <a:pt x="1641233" y="630874"/>
                    <a:pt x="1646053" y="627159"/>
                    <a:pt x="1646739" y="621901"/>
                  </a:cubicBezTo>
                  <a:cubicBezTo>
                    <a:pt x="1647425" y="616643"/>
                    <a:pt x="1643710" y="611824"/>
                    <a:pt x="1638452" y="611138"/>
                  </a:cubicBezTo>
                  <a:lnTo>
                    <a:pt x="1638452" y="531699"/>
                  </a:lnTo>
                  <a:lnTo>
                    <a:pt x="1419377" y="312624"/>
                  </a:lnTo>
                  <a:cubicBezTo>
                    <a:pt x="1424035" y="306250"/>
                    <a:pt x="1423349" y="297435"/>
                    <a:pt x="1417758" y="291860"/>
                  </a:cubicBezTo>
                  <a:close/>
                  <a:moveTo>
                    <a:pt x="1414615" y="310910"/>
                  </a:moveTo>
                  <a:cubicBezTo>
                    <a:pt x="1410271" y="315274"/>
                    <a:pt x="1403223" y="315294"/>
                    <a:pt x="1398851" y="310954"/>
                  </a:cubicBezTo>
                  <a:cubicBezTo>
                    <a:pt x="1394488" y="306614"/>
                    <a:pt x="1394469" y="299558"/>
                    <a:pt x="1398813" y="295193"/>
                  </a:cubicBezTo>
                  <a:cubicBezTo>
                    <a:pt x="1403147" y="290829"/>
                    <a:pt x="1410205" y="290809"/>
                    <a:pt x="1414567" y="295150"/>
                  </a:cubicBezTo>
                  <a:cubicBezTo>
                    <a:pt x="1414586" y="295164"/>
                    <a:pt x="1414596" y="295179"/>
                    <a:pt x="1414615" y="295193"/>
                  </a:cubicBezTo>
                  <a:cubicBezTo>
                    <a:pt x="1418958" y="299484"/>
                    <a:pt x="1418996" y="306479"/>
                    <a:pt x="1414710" y="310819"/>
                  </a:cubicBezTo>
                  <a:cubicBezTo>
                    <a:pt x="1414672" y="310850"/>
                    <a:pt x="1414643" y="310879"/>
                    <a:pt x="1414615" y="310910"/>
                  </a:cubicBezTo>
                  <a:close/>
                  <a:moveTo>
                    <a:pt x="1733131" y="691910"/>
                  </a:moveTo>
                  <a:cubicBezTo>
                    <a:pt x="1733169" y="683994"/>
                    <a:pt x="1738931" y="677260"/>
                    <a:pt x="1746751" y="676003"/>
                  </a:cubicBezTo>
                  <a:lnTo>
                    <a:pt x="1746751" y="389205"/>
                  </a:lnTo>
                  <a:lnTo>
                    <a:pt x="1567872" y="210326"/>
                  </a:lnTo>
                  <a:cubicBezTo>
                    <a:pt x="1564043" y="212696"/>
                    <a:pt x="1559071" y="212061"/>
                    <a:pt x="1555966" y="208802"/>
                  </a:cubicBezTo>
                  <a:cubicBezTo>
                    <a:pt x="1552365" y="204964"/>
                    <a:pt x="1552565" y="198937"/>
                    <a:pt x="1556394" y="195338"/>
                  </a:cubicBezTo>
                  <a:cubicBezTo>
                    <a:pt x="1560233" y="191741"/>
                    <a:pt x="1566262" y="191934"/>
                    <a:pt x="1569863" y="195771"/>
                  </a:cubicBezTo>
                  <a:cubicBezTo>
                    <a:pt x="1572663" y="198757"/>
                    <a:pt x="1573244" y="203197"/>
                    <a:pt x="1571301" y="206801"/>
                  </a:cubicBezTo>
                  <a:lnTo>
                    <a:pt x="1751609" y="387110"/>
                  </a:lnTo>
                  <a:lnTo>
                    <a:pt x="1751609" y="676384"/>
                  </a:lnTo>
                  <a:cubicBezTo>
                    <a:pt x="1760343" y="677756"/>
                    <a:pt x="1766306" y="685938"/>
                    <a:pt x="1764944" y="694672"/>
                  </a:cubicBezTo>
                  <a:cubicBezTo>
                    <a:pt x="1763572" y="703397"/>
                    <a:pt x="1755391" y="709369"/>
                    <a:pt x="1746656" y="708007"/>
                  </a:cubicBezTo>
                  <a:cubicBezTo>
                    <a:pt x="1738903" y="706788"/>
                    <a:pt x="1733178" y="700139"/>
                    <a:pt x="1733131" y="692291"/>
                  </a:cubicBezTo>
                  <a:close/>
                  <a:moveTo>
                    <a:pt x="1749133" y="680765"/>
                  </a:moveTo>
                  <a:cubicBezTo>
                    <a:pt x="1742979" y="680765"/>
                    <a:pt x="1737988" y="685757"/>
                    <a:pt x="1737988" y="691910"/>
                  </a:cubicBezTo>
                  <a:cubicBezTo>
                    <a:pt x="1737988" y="698063"/>
                    <a:pt x="1742979" y="703054"/>
                    <a:pt x="1749133" y="703054"/>
                  </a:cubicBezTo>
                  <a:cubicBezTo>
                    <a:pt x="1755286" y="703054"/>
                    <a:pt x="1760277" y="698063"/>
                    <a:pt x="1760277" y="691910"/>
                  </a:cubicBezTo>
                  <a:cubicBezTo>
                    <a:pt x="1760277" y="685757"/>
                    <a:pt x="1755286" y="680765"/>
                    <a:pt x="1749133" y="680765"/>
                  </a:cubicBezTo>
                  <a:close/>
                  <a:moveTo>
                    <a:pt x="865498" y="1233215"/>
                  </a:moveTo>
                  <a:cubicBezTo>
                    <a:pt x="857583" y="1233177"/>
                    <a:pt x="850849" y="1227415"/>
                    <a:pt x="849592" y="1219595"/>
                  </a:cubicBezTo>
                  <a:lnTo>
                    <a:pt x="288760" y="1219595"/>
                  </a:lnTo>
                  <a:cubicBezTo>
                    <a:pt x="287418" y="1224681"/>
                    <a:pt x="282207" y="1227720"/>
                    <a:pt x="277121" y="1226377"/>
                  </a:cubicBezTo>
                  <a:cubicBezTo>
                    <a:pt x="272034" y="1225034"/>
                    <a:pt x="268998" y="1219823"/>
                    <a:pt x="270339" y="1214737"/>
                  </a:cubicBezTo>
                  <a:cubicBezTo>
                    <a:pt x="271680" y="1209651"/>
                    <a:pt x="276891" y="1206612"/>
                    <a:pt x="281979" y="1207955"/>
                  </a:cubicBezTo>
                  <a:cubicBezTo>
                    <a:pt x="285294" y="1208832"/>
                    <a:pt x="287885" y="1211422"/>
                    <a:pt x="288760" y="1214737"/>
                  </a:cubicBezTo>
                  <a:lnTo>
                    <a:pt x="849592" y="1214737"/>
                  </a:lnTo>
                  <a:cubicBezTo>
                    <a:pt x="850963" y="1206003"/>
                    <a:pt x="859145" y="1200040"/>
                    <a:pt x="867880" y="1201402"/>
                  </a:cubicBezTo>
                  <a:cubicBezTo>
                    <a:pt x="876605" y="1202774"/>
                    <a:pt x="882577" y="1210956"/>
                    <a:pt x="881215" y="1219690"/>
                  </a:cubicBezTo>
                  <a:cubicBezTo>
                    <a:pt x="879995" y="1227443"/>
                    <a:pt x="873347" y="1233168"/>
                    <a:pt x="865498" y="1233215"/>
                  </a:cubicBezTo>
                  <a:close/>
                  <a:moveTo>
                    <a:pt x="854354" y="1217214"/>
                  </a:moveTo>
                  <a:cubicBezTo>
                    <a:pt x="854354" y="1223367"/>
                    <a:pt x="859345" y="1228358"/>
                    <a:pt x="865498" y="1228358"/>
                  </a:cubicBezTo>
                  <a:cubicBezTo>
                    <a:pt x="871651" y="1228358"/>
                    <a:pt x="876643" y="1223367"/>
                    <a:pt x="876643" y="1217214"/>
                  </a:cubicBezTo>
                  <a:cubicBezTo>
                    <a:pt x="876643" y="1211060"/>
                    <a:pt x="871651" y="1206069"/>
                    <a:pt x="865498" y="1206069"/>
                  </a:cubicBezTo>
                  <a:cubicBezTo>
                    <a:pt x="859345" y="1206069"/>
                    <a:pt x="854354" y="1211060"/>
                    <a:pt x="854354" y="1217214"/>
                  </a:cubicBezTo>
                  <a:close/>
                  <a:moveTo>
                    <a:pt x="1374800" y="1375519"/>
                  </a:moveTo>
                  <a:cubicBezTo>
                    <a:pt x="1382715" y="1375529"/>
                    <a:pt x="1389431" y="1381310"/>
                    <a:pt x="1390612" y="1389140"/>
                  </a:cubicBezTo>
                  <a:lnTo>
                    <a:pt x="1929155" y="1389140"/>
                  </a:lnTo>
                  <a:cubicBezTo>
                    <a:pt x="1929841" y="1383882"/>
                    <a:pt x="1934661" y="1380167"/>
                    <a:pt x="1939918" y="1380853"/>
                  </a:cubicBezTo>
                  <a:cubicBezTo>
                    <a:pt x="1945176" y="1381539"/>
                    <a:pt x="1948891" y="1386358"/>
                    <a:pt x="1948205" y="1391616"/>
                  </a:cubicBezTo>
                  <a:cubicBezTo>
                    <a:pt x="1948205" y="1396874"/>
                    <a:pt x="1943938" y="1401141"/>
                    <a:pt x="1938680" y="1401141"/>
                  </a:cubicBezTo>
                  <a:cubicBezTo>
                    <a:pt x="1934165" y="1401265"/>
                    <a:pt x="1930193" y="1398198"/>
                    <a:pt x="1929155" y="1393807"/>
                  </a:cubicBezTo>
                  <a:lnTo>
                    <a:pt x="1390612" y="1393807"/>
                  </a:lnTo>
                  <a:cubicBezTo>
                    <a:pt x="1389240" y="1402541"/>
                    <a:pt x="1381058" y="1408504"/>
                    <a:pt x="1372324" y="1407142"/>
                  </a:cubicBezTo>
                  <a:cubicBezTo>
                    <a:pt x="1363599" y="1405770"/>
                    <a:pt x="1357626" y="1397588"/>
                    <a:pt x="1358989" y="1388854"/>
                  </a:cubicBezTo>
                  <a:cubicBezTo>
                    <a:pt x="1360217" y="1381072"/>
                    <a:pt x="1366923" y="1375328"/>
                    <a:pt x="1374800" y="1375328"/>
                  </a:cubicBezTo>
                  <a:close/>
                  <a:moveTo>
                    <a:pt x="1385944" y="1391616"/>
                  </a:moveTo>
                  <a:cubicBezTo>
                    <a:pt x="1385944" y="1385463"/>
                    <a:pt x="1380953" y="1380472"/>
                    <a:pt x="1374800" y="1380472"/>
                  </a:cubicBezTo>
                  <a:cubicBezTo>
                    <a:pt x="1368647" y="1380472"/>
                    <a:pt x="1363656" y="1385463"/>
                    <a:pt x="1363656" y="1391616"/>
                  </a:cubicBezTo>
                  <a:cubicBezTo>
                    <a:pt x="1363656" y="1397769"/>
                    <a:pt x="1368647" y="1402761"/>
                    <a:pt x="1374800" y="1402761"/>
                  </a:cubicBezTo>
                  <a:cubicBezTo>
                    <a:pt x="1380953" y="1402761"/>
                    <a:pt x="1385944" y="1397769"/>
                    <a:pt x="1385944" y="1391616"/>
                  </a:cubicBezTo>
                  <a:close/>
                  <a:moveTo>
                    <a:pt x="917410" y="1573830"/>
                  </a:moveTo>
                  <a:cubicBezTo>
                    <a:pt x="923010" y="1568276"/>
                    <a:pt x="931821" y="1567629"/>
                    <a:pt x="938174" y="1572306"/>
                  </a:cubicBezTo>
                  <a:lnTo>
                    <a:pt x="1223924" y="1286556"/>
                  </a:lnTo>
                  <a:cubicBezTo>
                    <a:pt x="1221552" y="1282726"/>
                    <a:pt x="1222191" y="1277754"/>
                    <a:pt x="1225448" y="1274649"/>
                  </a:cubicBezTo>
                  <a:cubicBezTo>
                    <a:pt x="1229306" y="1271068"/>
                    <a:pt x="1235335" y="1271296"/>
                    <a:pt x="1238907" y="1275154"/>
                  </a:cubicBezTo>
                  <a:cubicBezTo>
                    <a:pt x="1242488" y="1279002"/>
                    <a:pt x="1242260" y="1285032"/>
                    <a:pt x="1238412" y="1288613"/>
                  </a:cubicBezTo>
                  <a:cubicBezTo>
                    <a:pt x="1235402" y="1291404"/>
                    <a:pt x="1230954" y="1291956"/>
                    <a:pt x="1227353" y="1289985"/>
                  </a:cubicBezTo>
                  <a:lnTo>
                    <a:pt x="941603" y="1575735"/>
                  </a:lnTo>
                  <a:cubicBezTo>
                    <a:pt x="946794" y="1582888"/>
                    <a:pt x="945194" y="1592899"/>
                    <a:pt x="938041" y="1598080"/>
                  </a:cubicBezTo>
                  <a:cubicBezTo>
                    <a:pt x="930887" y="1603271"/>
                    <a:pt x="920877" y="1601671"/>
                    <a:pt x="915695" y="1594518"/>
                  </a:cubicBezTo>
                  <a:cubicBezTo>
                    <a:pt x="911085" y="1588155"/>
                    <a:pt x="911771" y="1579392"/>
                    <a:pt x="917314" y="1573830"/>
                  </a:cubicBezTo>
                  <a:close/>
                  <a:moveTo>
                    <a:pt x="936460" y="1577354"/>
                  </a:moveTo>
                  <a:cubicBezTo>
                    <a:pt x="932116" y="1572991"/>
                    <a:pt x="925068" y="1572972"/>
                    <a:pt x="920696" y="1577306"/>
                  </a:cubicBezTo>
                  <a:cubicBezTo>
                    <a:pt x="916333" y="1581650"/>
                    <a:pt x="916314" y="1588708"/>
                    <a:pt x="920658" y="1593070"/>
                  </a:cubicBezTo>
                  <a:cubicBezTo>
                    <a:pt x="924991" y="1597433"/>
                    <a:pt x="932050" y="1597452"/>
                    <a:pt x="936412" y="1593118"/>
                  </a:cubicBezTo>
                  <a:cubicBezTo>
                    <a:pt x="936431" y="1593099"/>
                    <a:pt x="936441" y="1593089"/>
                    <a:pt x="936460" y="1593070"/>
                  </a:cubicBezTo>
                  <a:cubicBezTo>
                    <a:pt x="940784" y="1588727"/>
                    <a:pt x="940784" y="1581697"/>
                    <a:pt x="936460" y="1577354"/>
                  </a:cubicBezTo>
                  <a:close/>
                  <a:moveTo>
                    <a:pt x="717385" y="1333228"/>
                  </a:moveTo>
                  <a:cubicBezTo>
                    <a:pt x="722947" y="1338848"/>
                    <a:pt x="723633" y="1347668"/>
                    <a:pt x="719004" y="1354088"/>
                  </a:cubicBezTo>
                  <a:lnTo>
                    <a:pt x="895216" y="1530300"/>
                  </a:lnTo>
                  <a:cubicBezTo>
                    <a:pt x="899045" y="1527929"/>
                    <a:pt x="904017" y="1528567"/>
                    <a:pt x="907123" y="1531824"/>
                  </a:cubicBezTo>
                  <a:cubicBezTo>
                    <a:pt x="910933" y="1535444"/>
                    <a:pt x="911094" y="1541473"/>
                    <a:pt x="907465" y="1545293"/>
                  </a:cubicBezTo>
                  <a:cubicBezTo>
                    <a:pt x="907351" y="1545407"/>
                    <a:pt x="907237" y="1545521"/>
                    <a:pt x="907123" y="1545636"/>
                  </a:cubicBezTo>
                  <a:cubicBezTo>
                    <a:pt x="903836" y="1549874"/>
                    <a:pt x="897740" y="1550636"/>
                    <a:pt x="893502" y="1547350"/>
                  </a:cubicBezTo>
                  <a:cubicBezTo>
                    <a:pt x="889263" y="1544064"/>
                    <a:pt x="888501" y="1537968"/>
                    <a:pt x="891787" y="1533729"/>
                  </a:cubicBezTo>
                  <a:lnTo>
                    <a:pt x="715575" y="1357422"/>
                  </a:lnTo>
                  <a:cubicBezTo>
                    <a:pt x="708545" y="1362784"/>
                    <a:pt x="698506" y="1361432"/>
                    <a:pt x="693143" y="1354412"/>
                  </a:cubicBezTo>
                  <a:cubicBezTo>
                    <a:pt x="688200" y="1347925"/>
                    <a:pt x="688914" y="1338762"/>
                    <a:pt x="694810" y="1333133"/>
                  </a:cubicBezTo>
                  <a:cubicBezTo>
                    <a:pt x="701106" y="1326961"/>
                    <a:pt x="711184" y="1326961"/>
                    <a:pt x="717480" y="1333133"/>
                  </a:cubicBezTo>
                  <a:close/>
                  <a:moveTo>
                    <a:pt x="713956" y="1352278"/>
                  </a:moveTo>
                  <a:cubicBezTo>
                    <a:pt x="718289" y="1347916"/>
                    <a:pt x="718270" y="1340857"/>
                    <a:pt x="713908" y="1336514"/>
                  </a:cubicBezTo>
                  <a:cubicBezTo>
                    <a:pt x="709536" y="1332180"/>
                    <a:pt x="702478" y="1332199"/>
                    <a:pt x="698144" y="1336571"/>
                  </a:cubicBezTo>
                  <a:cubicBezTo>
                    <a:pt x="693829" y="1340915"/>
                    <a:pt x="693829" y="1347935"/>
                    <a:pt x="698144" y="1352278"/>
                  </a:cubicBezTo>
                  <a:cubicBezTo>
                    <a:pt x="702545" y="1356564"/>
                    <a:pt x="709555" y="1356564"/>
                    <a:pt x="713956" y="1352278"/>
                  </a:cubicBezTo>
                  <a:close/>
                  <a:moveTo>
                    <a:pt x="798728" y="1326751"/>
                  </a:moveTo>
                  <a:cubicBezTo>
                    <a:pt x="803729" y="1326741"/>
                    <a:pt x="808434" y="1324417"/>
                    <a:pt x="811492" y="1320465"/>
                  </a:cubicBezTo>
                  <a:cubicBezTo>
                    <a:pt x="812796" y="1320255"/>
                    <a:pt x="814063" y="1319798"/>
                    <a:pt x="815206" y="1319131"/>
                  </a:cubicBezTo>
                  <a:lnTo>
                    <a:pt x="942365" y="1446290"/>
                  </a:lnTo>
                  <a:cubicBezTo>
                    <a:pt x="937317" y="1453605"/>
                    <a:pt x="939146" y="1463635"/>
                    <a:pt x="946461" y="1468683"/>
                  </a:cubicBezTo>
                  <a:cubicBezTo>
                    <a:pt x="952709" y="1472998"/>
                    <a:pt x="961129" y="1472360"/>
                    <a:pt x="966654" y="1467149"/>
                  </a:cubicBezTo>
                  <a:cubicBezTo>
                    <a:pt x="972836" y="1460825"/>
                    <a:pt x="972836" y="1450709"/>
                    <a:pt x="966654" y="1444385"/>
                  </a:cubicBezTo>
                  <a:cubicBezTo>
                    <a:pt x="961025" y="1438813"/>
                    <a:pt x="952176" y="1438165"/>
                    <a:pt x="945794" y="1442861"/>
                  </a:cubicBezTo>
                  <a:lnTo>
                    <a:pt x="818635" y="1315702"/>
                  </a:lnTo>
                  <a:cubicBezTo>
                    <a:pt x="821026" y="1311892"/>
                    <a:pt x="820436" y="1306929"/>
                    <a:pt x="817207" y="1303796"/>
                  </a:cubicBezTo>
                  <a:cubicBezTo>
                    <a:pt x="815635" y="1302300"/>
                    <a:pt x="813635" y="1301338"/>
                    <a:pt x="811492" y="1301033"/>
                  </a:cubicBezTo>
                  <a:cubicBezTo>
                    <a:pt x="806024" y="1294023"/>
                    <a:pt x="795909" y="1292766"/>
                    <a:pt x="788898" y="1298233"/>
                  </a:cubicBezTo>
                  <a:cubicBezTo>
                    <a:pt x="785717" y="1300710"/>
                    <a:pt x="783583" y="1304291"/>
                    <a:pt x="782917" y="1308273"/>
                  </a:cubicBezTo>
                  <a:lnTo>
                    <a:pt x="693667" y="1308273"/>
                  </a:lnTo>
                  <a:cubicBezTo>
                    <a:pt x="692982" y="1303015"/>
                    <a:pt x="688162" y="1299300"/>
                    <a:pt x="682904" y="1299986"/>
                  </a:cubicBezTo>
                  <a:cubicBezTo>
                    <a:pt x="677646" y="1300672"/>
                    <a:pt x="673932" y="1305491"/>
                    <a:pt x="674617" y="1310749"/>
                  </a:cubicBezTo>
                  <a:cubicBezTo>
                    <a:pt x="673932" y="1316007"/>
                    <a:pt x="677646" y="1320826"/>
                    <a:pt x="682904" y="1321512"/>
                  </a:cubicBezTo>
                  <a:cubicBezTo>
                    <a:pt x="688162" y="1322198"/>
                    <a:pt x="692982" y="1318483"/>
                    <a:pt x="693667" y="1313226"/>
                  </a:cubicBezTo>
                  <a:lnTo>
                    <a:pt x="782917" y="1313226"/>
                  </a:lnTo>
                  <a:cubicBezTo>
                    <a:pt x="784212" y="1321007"/>
                    <a:pt x="790937" y="1326722"/>
                    <a:pt x="798823" y="1326751"/>
                  </a:cubicBezTo>
                  <a:close/>
                  <a:moveTo>
                    <a:pt x="787584" y="1310749"/>
                  </a:moveTo>
                  <a:cubicBezTo>
                    <a:pt x="787603" y="1304596"/>
                    <a:pt x="792613" y="1299624"/>
                    <a:pt x="798766" y="1299643"/>
                  </a:cubicBezTo>
                  <a:cubicBezTo>
                    <a:pt x="801281" y="1299652"/>
                    <a:pt x="803719" y="1300510"/>
                    <a:pt x="805681" y="1302081"/>
                  </a:cubicBezTo>
                  <a:cubicBezTo>
                    <a:pt x="804843" y="1302548"/>
                    <a:pt x="804072" y="1303120"/>
                    <a:pt x="803395" y="1303796"/>
                  </a:cubicBezTo>
                  <a:cubicBezTo>
                    <a:pt x="799585" y="1307415"/>
                    <a:pt x="799423" y="1313445"/>
                    <a:pt x="803052" y="1317264"/>
                  </a:cubicBezTo>
                  <a:cubicBezTo>
                    <a:pt x="803157" y="1317378"/>
                    <a:pt x="803281" y="1317493"/>
                    <a:pt x="803395" y="1317607"/>
                  </a:cubicBezTo>
                  <a:cubicBezTo>
                    <a:pt x="804043" y="1318340"/>
                    <a:pt x="804824" y="1318950"/>
                    <a:pt x="805681" y="1319417"/>
                  </a:cubicBezTo>
                  <a:cubicBezTo>
                    <a:pt x="800871" y="1323255"/>
                    <a:pt x="793861" y="1322474"/>
                    <a:pt x="790022" y="1317664"/>
                  </a:cubicBezTo>
                  <a:cubicBezTo>
                    <a:pt x="788451" y="1315702"/>
                    <a:pt x="787593" y="1313264"/>
                    <a:pt x="787584" y="1310749"/>
                  </a:cubicBezTo>
                  <a:close/>
                  <a:moveTo>
                    <a:pt x="947413" y="1447909"/>
                  </a:moveTo>
                  <a:cubicBezTo>
                    <a:pt x="943051" y="1452252"/>
                    <a:pt x="943032" y="1459301"/>
                    <a:pt x="947366" y="1463673"/>
                  </a:cubicBezTo>
                  <a:cubicBezTo>
                    <a:pt x="951709" y="1468035"/>
                    <a:pt x="958767" y="1468054"/>
                    <a:pt x="963130" y="1463711"/>
                  </a:cubicBezTo>
                  <a:cubicBezTo>
                    <a:pt x="967492" y="1459377"/>
                    <a:pt x="967511" y="1452319"/>
                    <a:pt x="963177" y="1447957"/>
                  </a:cubicBezTo>
                  <a:cubicBezTo>
                    <a:pt x="963158" y="1447938"/>
                    <a:pt x="963149" y="1447928"/>
                    <a:pt x="963130" y="1447909"/>
                  </a:cubicBezTo>
                  <a:cubicBezTo>
                    <a:pt x="958843" y="1443566"/>
                    <a:pt x="951842" y="1443528"/>
                    <a:pt x="947509" y="1447814"/>
                  </a:cubicBezTo>
                  <a:cubicBezTo>
                    <a:pt x="947470" y="1447852"/>
                    <a:pt x="947442" y="1447880"/>
                    <a:pt x="947413" y="1447909"/>
                  </a:cubicBezTo>
                  <a:close/>
                  <a:moveTo>
                    <a:pt x="729291" y="1957878"/>
                  </a:moveTo>
                  <a:cubicBezTo>
                    <a:pt x="729319" y="1949991"/>
                    <a:pt x="735034" y="1943266"/>
                    <a:pt x="742816" y="1941971"/>
                  </a:cubicBezTo>
                  <a:lnTo>
                    <a:pt x="742816" y="1720991"/>
                  </a:lnTo>
                  <a:cubicBezTo>
                    <a:pt x="737739" y="1719619"/>
                    <a:pt x="734730" y="1714399"/>
                    <a:pt x="736092" y="1709313"/>
                  </a:cubicBezTo>
                  <a:cubicBezTo>
                    <a:pt x="737463" y="1704236"/>
                    <a:pt x="742692" y="1701226"/>
                    <a:pt x="747769" y="1702598"/>
                  </a:cubicBezTo>
                  <a:cubicBezTo>
                    <a:pt x="752846" y="1703960"/>
                    <a:pt x="755856" y="1709189"/>
                    <a:pt x="754494" y="1714266"/>
                  </a:cubicBezTo>
                  <a:cubicBezTo>
                    <a:pt x="753608" y="1717552"/>
                    <a:pt x="751046" y="1720105"/>
                    <a:pt x="747769" y="1720991"/>
                  </a:cubicBezTo>
                  <a:lnTo>
                    <a:pt x="747769" y="1941971"/>
                  </a:lnTo>
                  <a:cubicBezTo>
                    <a:pt x="756504" y="1943342"/>
                    <a:pt x="762466" y="1951524"/>
                    <a:pt x="761104" y="1960259"/>
                  </a:cubicBezTo>
                  <a:cubicBezTo>
                    <a:pt x="759733" y="1968984"/>
                    <a:pt x="751551" y="1974956"/>
                    <a:pt x="742816" y="1973594"/>
                  </a:cubicBezTo>
                  <a:cubicBezTo>
                    <a:pt x="735063" y="1972375"/>
                    <a:pt x="729339" y="1965726"/>
                    <a:pt x="729291" y="1957878"/>
                  </a:cubicBezTo>
                  <a:close/>
                  <a:moveTo>
                    <a:pt x="745293" y="1946733"/>
                  </a:moveTo>
                  <a:cubicBezTo>
                    <a:pt x="739140" y="1946733"/>
                    <a:pt x="734149" y="1951724"/>
                    <a:pt x="734149" y="1957878"/>
                  </a:cubicBezTo>
                  <a:cubicBezTo>
                    <a:pt x="734149" y="1964031"/>
                    <a:pt x="739140" y="1969022"/>
                    <a:pt x="745293" y="1969022"/>
                  </a:cubicBezTo>
                  <a:cubicBezTo>
                    <a:pt x="751446" y="1969022"/>
                    <a:pt x="756437" y="1964031"/>
                    <a:pt x="756437" y="1957878"/>
                  </a:cubicBezTo>
                  <a:cubicBezTo>
                    <a:pt x="756437" y="1951724"/>
                    <a:pt x="751446" y="1946733"/>
                    <a:pt x="745293" y="1946733"/>
                  </a:cubicBezTo>
                  <a:close/>
                  <a:moveTo>
                    <a:pt x="388772" y="1561352"/>
                  </a:moveTo>
                  <a:cubicBezTo>
                    <a:pt x="394325" y="1566953"/>
                    <a:pt x="394973" y="1575763"/>
                    <a:pt x="390296" y="1582116"/>
                  </a:cubicBezTo>
                  <a:lnTo>
                    <a:pt x="582892" y="1774712"/>
                  </a:lnTo>
                  <a:lnTo>
                    <a:pt x="582892" y="1965212"/>
                  </a:lnTo>
                  <a:cubicBezTo>
                    <a:pt x="587978" y="1966555"/>
                    <a:pt x="591016" y="1971765"/>
                    <a:pt x="589673" y="1976851"/>
                  </a:cubicBezTo>
                  <a:cubicBezTo>
                    <a:pt x="588330" y="1981938"/>
                    <a:pt x="583120" y="1984976"/>
                    <a:pt x="578034" y="1983633"/>
                  </a:cubicBezTo>
                  <a:cubicBezTo>
                    <a:pt x="572947" y="1982290"/>
                    <a:pt x="569909" y="1977080"/>
                    <a:pt x="571252" y="1971994"/>
                  </a:cubicBezTo>
                  <a:cubicBezTo>
                    <a:pt x="572128" y="1968679"/>
                    <a:pt x="574719" y="1966088"/>
                    <a:pt x="578034" y="1965212"/>
                  </a:cubicBezTo>
                  <a:lnTo>
                    <a:pt x="578034" y="1776807"/>
                  </a:lnTo>
                  <a:lnTo>
                    <a:pt x="386867" y="1585736"/>
                  </a:lnTo>
                  <a:cubicBezTo>
                    <a:pt x="379714" y="1590927"/>
                    <a:pt x="369703" y="1589327"/>
                    <a:pt x="364521" y="1582173"/>
                  </a:cubicBezTo>
                  <a:cubicBezTo>
                    <a:pt x="359330" y="1575020"/>
                    <a:pt x="360930" y="1565009"/>
                    <a:pt x="368084" y="1559828"/>
                  </a:cubicBezTo>
                  <a:cubicBezTo>
                    <a:pt x="374446" y="1555218"/>
                    <a:pt x="383209" y="1555904"/>
                    <a:pt x="388772" y="1561447"/>
                  </a:cubicBezTo>
                  <a:close/>
                  <a:moveTo>
                    <a:pt x="385248" y="1580402"/>
                  </a:moveTo>
                  <a:cubicBezTo>
                    <a:pt x="389610" y="1576058"/>
                    <a:pt x="389629" y="1569010"/>
                    <a:pt x="385295" y="1564638"/>
                  </a:cubicBezTo>
                  <a:cubicBezTo>
                    <a:pt x="380952" y="1560275"/>
                    <a:pt x="373894" y="1560256"/>
                    <a:pt x="369532" y="1564600"/>
                  </a:cubicBezTo>
                  <a:cubicBezTo>
                    <a:pt x="365169" y="1568934"/>
                    <a:pt x="365150" y="1575992"/>
                    <a:pt x="369484" y="1580354"/>
                  </a:cubicBezTo>
                  <a:cubicBezTo>
                    <a:pt x="369503" y="1580373"/>
                    <a:pt x="369512" y="1580383"/>
                    <a:pt x="369532" y="1580402"/>
                  </a:cubicBezTo>
                  <a:cubicBezTo>
                    <a:pt x="373875" y="1584726"/>
                    <a:pt x="380904" y="1584726"/>
                    <a:pt x="385248" y="1580402"/>
                  </a:cubicBezTo>
                  <a:close/>
                  <a:moveTo>
                    <a:pt x="195700" y="1315321"/>
                  </a:moveTo>
                  <a:cubicBezTo>
                    <a:pt x="189414" y="1308958"/>
                    <a:pt x="179158" y="1308892"/>
                    <a:pt x="172793" y="1315178"/>
                  </a:cubicBezTo>
                  <a:cubicBezTo>
                    <a:pt x="166427" y="1321465"/>
                    <a:pt x="166363" y="1331723"/>
                    <a:pt x="172650" y="1338086"/>
                  </a:cubicBezTo>
                  <a:cubicBezTo>
                    <a:pt x="178250" y="1343639"/>
                    <a:pt x="187063" y="1344286"/>
                    <a:pt x="193414" y="1339610"/>
                  </a:cubicBezTo>
                  <a:lnTo>
                    <a:pt x="400107" y="1546302"/>
                  </a:lnTo>
                  <a:cubicBezTo>
                    <a:pt x="397735" y="1550131"/>
                    <a:pt x="398373" y="1555103"/>
                    <a:pt x="401631" y="1558208"/>
                  </a:cubicBezTo>
                  <a:cubicBezTo>
                    <a:pt x="405441" y="1562019"/>
                    <a:pt x="411632" y="1562019"/>
                    <a:pt x="415442" y="1558208"/>
                  </a:cubicBezTo>
                  <a:cubicBezTo>
                    <a:pt x="419252" y="1554399"/>
                    <a:pt x="419252" y="1548207"/>
                    <a:pt x="415442" y="1544397"/>
                  </a:cubicBezTo>
                  <a:cubicBezTo>
                    <a:pt x="412337" y="1541140"/>
                    <a:pt x="407365" y="1540502"/>
                    <a:pt x="403536" y="1542873"/>
                  </a:cubicBezTo>
                  <a:lnTo>
                    <a:pt x="196843" y="1336181"/>
                  </a:lnTo>
                  <a:cubicBezTo>
                    <a:pt x="201537" y="1329799"/>
                    <a:pt x="200890" y="1320950"/>
                    <a:pt x="195319" y="1315321"/>
                  </a:cubicBezTo>
                  <a:close/>
                  <a:moveTo>
                    <a:pt x="192176" y="1334371"/>
                  </a:moveTo>
                  <a:cubicBezTo>
                    <a:pt x="187836" y="1338733"/>
                    <a:pt x="180780" y="1338753"/>
                    <a:pt x="176416" y="1334419"/>
                  </a:cubicBezTo>
                  <a:cubicBezTo>
                    <a:pt x="172052" y="1330075"/>
                    <a:pt x="172032" y="1323017"/>
                    <a:pt x="176372" y="1318655"/>
                  </a:cubicBezTo>
                  <a:cubicBezTo>
                    <a:pt x="180712" y="1314292"/>
                    <a:pt x="187768" y="1314273"/>
                    <a:pt x="192132" y="1318607"/>
                  </a:cubicBezTo>
                  <a:cubicBezTo>
                    <a:pt x="192146" y="1318626"/>
                    <a:pt x="192162" y="1318636"/>
                    <a:pt x="192176" y="1318655"/>
                  </a:cubicBezTo>
                  <a:cubicBezTo>
                    <a:pt x="196516" y="1322941"/>
                    <a:pt x="196557" y="1329942"/>
                    <a:pt x="192267" y="1334276"/>
                  </a:cubicBezTo>
                  <a:cubicBezTo>
                    <a:pt x="192237" y="1334314"/>
                    <a:pt x="192207" y="1334342"/>
                    <a:pt x="192176" y="1334371"/>
                  </a:cubicBezTo>
                  <a:close/>
                  <a:moveTo>
                    <a:pt x="201225" y="1880344"/>
                  </a:moveTo>
                  <a:cubicBezTo>
                    <a:pt x="201226" y="1888231"/>
                    <a:pt x="195487" y="1894936"/>
                    <a:pt x="187699" y="1896156"/>
                  </a:cubicBezTo>
                  <a:lnTo>
                    <a:pt x="187699" y="1945971"/>
                  </a:lnTo>
                  <a:lnTo>
                    <a:pt x="58350" y="2075130"/>
                  </a:lnTo>
                  <a:cubicBezTo>
                    <a:pt x="60966" y="2079693"/>
                    <a:pt x="59389" y="2085513"/>
                    <a:pt x="54826" y="2088132"/>
                  </a:cubicBezTo>
                  <a:cubicBezTo>
                    <a:pt x="50262" y="2090751"/>
                    <a:pt x="44441" y="2089170"/>
                    <a:pt x="41824" y="2084608"/>
                  </a:cubicBezTo>
                  <a:cubicBezTo>
                    <a:pt x="39207" y="2080045"/>
                    <a:pt x="40786" y="2074226"/>
                    <a:pt x="45348" y="2071606"/>
                  </a:cubicBezTo>
                  <a:cubicBezTo>
                    <a:pt x="48284" y="2069920"/>
                    <a:pt x="51891" y="2069920"/>
                    <a:pt x="54826" y="2071606"/>
                  </a:cubicBezTo>
                  <a:lnTo>
                    <a:pt x="182842" y="1943590"/>
                  </a:lnTo>
                  <a:lnTo>
                    <a:pt x="182842" y="1895965"/>
                  </a:lnTo>
                  <a:cubicBezTo>
                    <a:pt x="174102" y="1894651"/>
                    <a:pt x="168084" y="1886497"/>
                    <a:pt x="169401" y="1877763"/>
                  </a:cubicBezTo>
                  <a:cubicBezTo>
                    <a:pt x="170716" y="1869019"/>
                    <a:pt x="178868" y="1862999"/>
                    <a:pt x="187607" y="1864313"/>
                  </a:cubicBezTo>
                  <a:cubicBezTo>
                    <a:pt x="195512" y="1865504"/>
                    <a:pt x="201326" y="1872353"/>
                    <a:pt x="201225" y="1880344"/>
                  </a:cubicBezTo>
                  <a:close/>
                  <a:moveTo>
                    <a:pt x="185223" y="1891488"/>
                  </a:moveTo>
                  <a:cubicBezTo>
                    <a:pt x="191377" y="1891593"/>
                    <a:pt x="196451" y="1886688"/>
                    <a:pt x="196556" y="1880535"/>
                  </a:cubicBezTo>
                  <a:cubicBezTo>
                    <a:pt x="196661" y="1874381"/>
                    <a:pt x="191758" y="1869305"/>
                    <a:pt x="185604" y="1869200"/>
                  </a:cubicBezTo>
                  <a:cubicBezTo>
                    <a:pt x="179450" y="1869095"/>
                    <a:pt x="174376" y="1874000"/>
                    <a:pt x="174271" y="1880153"/>
                  </a:cubicBezTo>
                  <a:cubicBezTo>
                    <a:pt x="174270" y="1880220"/>
                    <a:pt x="174269" y="1880277"/>
                    <a:pt x="174269" y="1880344"/>
                  </a:cubicBezTo>
                  <a:cubicBezTo>
                    <a:pt x="174320" y="1886478"/>
                    <a:pt x="179280" y="1891441"/>
                    <a:pt x="185413" y="1891488"/>
                  </a:cubicBezTo>
                  <a:close/>
                  <a:moveTo>
                    <a:pt x="23298" y="1706608"/>
                  </a:moveTo>
                  <a:cubicBezTo>
                    <a:pt x="31191" y="1706494"/>
                    <a:pt x="37985" y="1712161"/>
                    <a:pt x="39300" y="1719943"/>
                  </a:cubicBezTo>
                  <a:lnTo>
                    <a:pt x="192176" y="1719943"/>
                  </a:lnTo>
                  <a:cubicBezTo>
                    <a:pt x="193212" y="1715552"/>
                    <a:pt x="197189" y="1712485"/>
                    <a:pt x="201701" y="1712609"/>
                  </a:cubicBezTo>
                  <a:cubicBezTo>
                    <a:pt x="207093" y="1712609"/>
                    <a:pt x="211464" y="1716981"/>
                    <a:pt x="211464" y="1722372"/>
                  </a:cubicBezTo>
                  <a:cubicBezTo>
                    <a:pt x="211464" y="1727763"/>
                    <a:pt x="207093" y="1732135"/>
                    <a:pt x="201701" y="1732135"/>
                  </a:cubicBezTo>
                  <a:cubicBezTo>
                    <a:pt x="197189" y="1732259"/>
                    <a:pt x="193212" y="1729192"/>
                    <a:pt x="192176" y="1724801"/>
                  </a:cubicBezTo>
                  <a:lnTo>
                    <a:pt x="39300" y="1724801"/>
                  </a:lnTo>
                  <a:cubicBezTo>
                    <a:pt x="37932" y="1733535"/>
                    <a:pt x="29745" y="1739498"/>
                    <a:pt x="21014" y="1738136"/>
                  </a:cubicBezTo>
                  <a:cubicBezTo>
                    <a:pt x="12283" y="1736764"/>
                    <a:pt x="6314" y="1728582"/>
                    <a:pt x="7682" y="1719848"/>
                  </a:cubicBezTo>
                  <a:cubicBezTo>
                    <a:pt x="8901" y="1712066"/>
                    <a:pt x="15607" y="1706322"/>
                    <a:pt x="23488" y="1706322"/>
                  </a:cubicBezTo>
                  <a:close/>
                  <a:moveTo>
                    <a:pt x="34442" y="1722705"/>
                  </a:moveTo>
                  <a:cubicBezTo>
                    <a:pt x="34442" y="1716552"/>
                    <a:pt x="29453" y="1711561"/>
                    <a:pt x="23298" y="1711561"/>
                  </a:cubicBezTo>
                  <a:cubicBezTo>
                    <a:pt x="17143" y="1711561"/>
                    <a:pt x="12154" y="1716552"/>
                    <a:pt x="12154" y="1722705"/>
                  </a:cubicBezTo>
                  <a:cubicBezTo>
                    <a:pt x="12154" y="1728858"/>
                    <a:pt x="17143" y="1733849"/>
                    <a:pt x="23298" y="1733849"/>
                  </a:cubicBezTo>
                  <a:cubicBezTo>
                    <a:pt x="29453" y="1733849"/>
                    <a:pt x="34442" y="1728858"/>
                    <a:pt x="34442" y="1722705"/>
                  </a:cubicBezTo>
                  <a:close/>
                  <a:moveTo>
                    <a:pt x="4629" y="1853674"/>
                  </a:moveTo>
                  <a:cubicBezTo>
                    <a:pt x="-1588" y="1859951"/>
                    <a:pt x="-1536" y="1870086"/>
                    <a:pt x="4745" y="1876305"/>
                  </a:cubicBezTo>
                  <a:cubicBezTo>
                    <a:pt x="11026" y="1882525"/>
                    <a:pt x="21157" y="1882468"/>
                    <a:pt x="27374" y="1876191"/>
                  </a:cubicBezTo>
                  <a:cubicBezTo>
                    <a:pt x="32904" y="1870600"/>
                    <a:pt x="33558" y="1861827"/>
                    <a:pt x="28918" y="1855484"/>
                  </a:cubicBezTo>
                  <a:lnTo>
                    <a:pt x="101689" y="1782713"/>
                  </a:lnTo>
                  <a:cubicBezTo>
                    <a:pt x="105519" y="1785084"/>
                    <a:pt x="110486" y="1784446"/>
                    <a:pt x="113595" y="1781189"/>
                  </a:cubicBezTo>
                  <a:cubicBezTo>
                    <a:pt x="117173" y="1777331"/>
                    <a:pt x="116949" y="1771302"/>
                    <a:pt x="113094" y="1767730"/>
                  </a:cubicBezTo>
                  <a:cubicBezTo>
                    <a:pt x="109238" y="1764148"/>
                    <a:pt x="103212" y="1764377"/>
                    <a:pt x="99633" y="1768225"/>
                  </a:cubicBezTo>
                  <a:cubicBezTo>
                    <a:pt x="96843" y="1771235"/>
                    <a:pt x="96290" y="1775683"/>
                    <a:pt x="98260" y="1779284"/>
                  </a:cubicBezTo>
                  <a:lnTo>
                    <a:pt x="25489" y="1851769"/>
                  </a:lnTo>
                  <a:cubicBezTo>
                    <a:pt x="19096" y="1847054"/>
                    <a:pt x="10217" y="1847749"/>
                    <a:pt x="4629" y="1853388"/>
                  </a:cubicBezTo>
                  <a:close/>
                  <a:moveTo>
                    <a:pt x="23679" y="1857103"/>
                  </a:moveTo>
                  <a:cubicBezTo>
                    <a:pt x="28043" y="1861446"/>
                    <a:pt x="28063" y="1868495"/>
                    <a:pt x="23723" y="1872867"/>
                  </a:cubicBezTo>
                  <a:cubicBezTo>
                    <a:pt x="19383" y="1877229"/>
                    <a:pt x="12327" y="1877248"/>
                    <a:pt x="7963" y="1872905"/>
                  </a:cubicBezTo>
                  <a:cubicBezTo>
                    <a:pt x="3598" y="1868571"/>
                    <a:pt x="3578" y="1861513"/>
                    <a:pt x="7919" y="1857151"/>
                  </a:cubicBezTo>
                  <a:cubicBezTo>
                    <a:pt x="7933" y="1857132"/>
                    <a:pt x="7948" y="1857122"/>
                    <a:pt x="7963" y="1857103"/>
                  </a:cubicBezTo>
                  <a:cubicBezTo>
                    <a:pt x="12253" y="1852760"/>
                    <a:pt x="19248" y="1852722"/>
                    <a:pt x="23588" y="1857008"/>
                  </a:cubicBezTo>
                  <a:cubicBezTo>
                    <a:pt x="23619" y="1857046"/>
                    <a:pt x="23648" y="1857075"/>
                    <a:pt x="23679" y="1857103"/>
                  </a:cubicBezTo>
                  <a:close/>
                  <a:moveTo>
                    <a:pt x="59683" y="1594594"/>
                  </a:moveTo>
                  <a:cubicBezTo>
                    <a:pt x="53387" y="1588422"/>
                    <a:pt x="43310" y="1588422"/>
                    <a:pt x="37014" y="1594594"/>
                  </a:cubicBezTo>
                  <a:cubicBezTo>
                    <a:pt x="30625" y="1600700"/>
                    <a:pt x="30396" y="1610834"/>
                    <a:pt x="36502" y="1617216"/>
                  </a:cubicBezTo>
                  <a:cubicBezTo>
                    <a:pt x="42135" y="1623112"/>
                    <a:pt x="51297" y="1623826"/>
                    <a:pt x="57778" y="1618883"/>
                  </a:cubicBezTo>
                  <a:lnTo>
                    <a:pt x="138836" y="1699369"/>
                  </a:lnTo>
                  <a:lnTo>
                    <a:pt x="203416" y="1699369"/>
                  </a:lnTo>
                  <a:cubicBezTo>
                    <a:pt x="204452" y="1703760"/>
                    <a:pt x="208429" y="1706827"/>
                    <a:pt x="212941" y="1706703"/>
                  </a:cubicBezTo>
                  <a:cubicBezTo>
                    <a:pt x="218359" y="1706703"/>
                    <a:pt x="222751" y="1702312"/>
                    <a:pt x="222751" y="1696893"/>
                  </a:cubicBezTo>
                  <a:cubicBezTo>
                    <a:pt x="222751" y="1691473"/>
                    <a:pt x="218359" y="1687082"/>
                    <a:pt x="212941" y="1687082"/>
                  </a:cubicBezTo>
                  <a:cubicBezTo>
                    <a:pt x="208429" y="1686958"/>
                    <a:pt x="204452" y="1690025"/>
                    <a:pt x="203416" y="1694416"/>
                  </a:cubicBezTo>
                  <a:lnTo>
                    <a:pt x="140836" y="1694416"/>
                  </a:lnTo>
                  <a:lnTo>
                    <a:pt x="61207" y="1614882"/>
                  </a:lnTo>
                  <a:cubicBezTo>
                    <a:pt x="65901" y="1608501"/>
                    <a:pt x="65254" y="1599652"/>
                    <a:pt x="59683" y="1594023"/>
                  </a:cubicBezTo>
                  <a:close/>
                  <a:moveTo>
                    <a:pt x="56254" y="1613644"/>
                  </a:moveTo>
                  <a:cubicBezTo>
                    <a:pt x="51917" y="1618006"/>
                    <a:pt x="44860" y="1618035"/>
                    <a:pt x="40494" y="1613692"/>
                  </a:cubicBezTo>
                  <a:cubicBezTo>
                    <a:pt x="40477" y="1613682"/>
                    <a:pt x="40460" y="1613663"/>
                    <a:pt x="40443" y="1613644"/>
                  </a:cubicBezTo>
                  <a:cubicBezTo>
                    <a:pt x="36103" y="1609358"/>
                    <a:pt x="36062" y="1602357"/>
                    <a:pt x="40352" y="1598023"/>
                  </a:cubicBezTo>
                  <a:cubicBezTo>
                    <a:pt x="40382" y="1597985"/>
                    <a:pt x="40412" y="1597956"/>
                    <a:pt x="40443" y="1597928"/>
                  </a:cubicBezTo>
                  <a:cubicBezTo>
                    <a:pt x="44782" y="1593565"/>
                    <a:pt x="51840" y="1593537"/>
                    <a:pt x="56207" y="1597880"/>
                  </a:cubicBezTo>
                  <a:cubicBezTo>
                    <a:pt x="60573" y="1602223"/>
                    <a:pt x="60594" y="1609282"/>
                    <a:pt x="56254" y="1613644"/>
                  </a:cubicBezTo>
                  <a:close/>
                  <a:moveTo>
                    <a:pt x="101212" y="1478865"/>
                  </a:moveTo>
                  <a:cubicBezTo>
                    <a:pt x="106769" y="1484466"/>
                    <a:pt x="107416" y="1493277"/>
                    <a:pt x="102736" y="1499630"/>
                  </a:cubicBezTo>
                  <a:lnTo>
                    <a:pt x="246469" y="1643172"/>
                  </a:lnTo>
                  <a:lnTo>
                    <a:pt x="246469" y="1751661"/>
                  </a:lnTo>
                  <a:cubicBezTo>
                    <a:pt x="251555" y="1753004"/>
                    <a:pt x="254591" y="1758214"/>
                    <a:pt x="253249" y="1763301"/>
                  </a:cubicBezTo>
                  <a:cubicBezTo>
                    <a:pt x="251908" y="1768387"/>
                    <a:pt x="246697" y="1771426"/>
                    <a:pt x="241611" y="1770083"/>
                  </a:cubicBezTo>
                  <a:cubicBezTo>
                    <a:pt x="236524" y="1768740"/>
                    <a:pt x="233488" y="1763529"/>
                    <a:pt x="234830" y="1758443"/>
                  </a:cubicBezTo>
                  <a:cubicBezTo>
                    <a:pt x="235704" y="1755128"/>
                    <a:pt x="238294" y="1752538"/>
                    <a:pt x="241611" y="1751661"/>
                  </a:cubicBezTo>
                  <a:lnTo>
                    <a:pt x="241611" y="1645172"/>
                  </a:lnTo>
                  <a:lnTo>
                    <a:pt x="99307" y="1502964"/>
                  </a:lnTo>
                  <a:cubicBezTo>
                    <a:pt x="92152" y="1508155"/>
                    <a:pt x="82147" y="1506554"/>
                    <a:pt x="76960" y="1499401"/>
                  </a:cubicBezTo>
                  <a:cubicBezTo>
                    <a:pt x="71772" y="1492248"/>
                    <a:pt x="73368" y="1482237"/>
                    <a:pt x="80523" y="1477056"/>
                  </a:cubicBezTo>
                  <a:cubicBezTo>
                    <a:pt x="86883" y="1472445"/>
                    <a:pt x="95649" y="1473131"/>
                    <a:pt x="101212" y="1478675"/>
                  </a:cubicBezTo>
                  <a:close/>
                  <a:moveTo>
                    <a:pt x="97783" y="1497915"/>
                  </a:moveTo>
                  <a:cubicBezTo>
                    <a:pt x="102150" y="1493553"/>
                    <a:pt x="102150" y="1486466"/>
                    <a:pt x="97783" y="1482104"/>
                  </a:cubicBezTo>
                  <a:cubicBezTo>
                    <a:pt x="93417" y="1477741"/>
                    <a:pt x="86338" y="1477741"/>
                    <a:pt x="81972" y="1482104"/>
                  </a:cubicBezTo>
                  <a:cubicBezTo>
                    <a:pt x="77606" y="1486438"/>
                    <a:pt x="77583" y="1493496"/>
                    <a:pt x="81920" y="1497868"/>
                  </a:cubicBezTo>
                  <a:cubicBezTo>
                    <a:pt x="81938" y="1497877"/>
                    <a:pt x="81955" y="1497896"/>
                    <a:pt x="81972" y="1497915"/>
                  </a:cubicBezTo>
                  <a:cubicBezTo>
                    <a:pt x="86372" y="1502202"/>
                    <a:pt x="93383" y="1502202"/>
                    <a:pt x="97783" y="1497915"/>
                  </a:cubicBezTo>
                  <a:close/>
                  <a:moveTo>
                    <a:pt x="149694" y="2078178"/>
                  </a:moveTo>
                  <a:cubicBezTo>
                    <a:pt x="143478" y="2084455"/>
                    <a:pt x="143529" y="2094590"/>
                    <a:pt x="149811" y="2100810"/>
                  </a:cubicBezTo>
                  <a:cubicBezTo>
                    <a:pt x="156091" y="2107030"/>
                    <a:pt x="166223" y="2106972"/>
                    <a:pt x="172440" y="2100695"/>
                  </a:cubicBezTo>
                  <a:cubicBezTo>
                    <a:pt x="177970" y="2095104"/>
                    <a:pt x="178623" y="2086332"/>
                    <a:pt x="173983" y="2079988"/>
                  </a:cubicBezTo>
                  <a:lnTo>
                    <a:pt x="310762" y="1943209"/>
                  </a:lnTo>
                  <a:lnTo>
                    <a:pt x="310762" y="1700417"/>
                  </a:lnTo>
                  <a:cubicBezTo>
                    <a:pt x="315849" y="1699074"/>
                    <a:pt x="318885" y="1693864"/>
                    <a:pt x="317543" y="1688777"/>
                  </a:cubicBezTo>
                  <a:cubicBezTo>
                    <a:pt x="316202" y="1683691"/>
                    <a:pt x="310991" y="1680652"/>
                    <a:pt x="305905" y="1681995"/>
                  </a:cubicBezTo>
                  <a:cubicBezTo>
                    <a:pt x="300818" y="1683338"/>
                    <a:pt x="297782" y="1688549"/>
                    <a:pt x="299124" y="1693635"/>
                  </a:cubicBezTo>
                  <a:cubicBezTo>
                    <a:pt x="299998" y="1696950"/>
                    <a:pt x="302588" y="1699541"/>
                    <a:pt x="305905" y="1700417"/>
                  </a:cubicBezTo>
                  <a:lnTo>
                    <a:pt x="305905" y="1941209"/>
                  </a:lnTo>
                  <a:lnTo>
                    <a:pt x="170554" y="2076559"/>
                  </a:lnTo>
                  <a:cubicBezTo>
                    <a:pt x="164151" y="2071892"/>
                    <a:pt x="155301" y="2072578"/>
                    <a:pt x="149694" y="2078178"/>
                  </a:cubicBezTo>
                  <a:close/>
                  <a:moveTo>
                    <a:pt x="168744" y="2081607"/>
                  </a:moveTo>
                  <a:cubicBezTo>
                    <a:pt x="164405" y="2077245"/>
                    <a:pt x="157349" y="2077226"/>
                    <a:pt x="152984" y="2081560"/>
                  </a:cubicBezTo>
                  <a:cubicBezTo>
                    <a:pt x="148620" y="2085903"/>
                    <a:pt x="148600" y="2092961"/>
                    <a:pt x="152940" y="2097324"/>
                  </a:cubicBezTo>
                  <a:cubicBezTo>
                    <a:pt x="157280" y="2101686"/>
                    <a:pt x="164336" y="2101705"/>
                    <a:pt x="168701" y="2097371"/>
                  </a:cubicBezTo>
                  <a:cubicBezTo>
                    <a:pt x="168715" y="2097352"/>
                    <a:pt x="168730" y="2097343"/>
                    <a:pt x="168744" y="2097324"/>
                  </a:cubicBezTo>
                  <a:cubicBezTo>
                    <a:pt x="173084" y="2093037"/>
                    <a:pt x="173125" y="2086036"/>
                    <a:pt x="168835" y="2081703"/>
                  </a:cubicBezTo>
                  <a:cubicBezTo>
                    <a:pt x="168805" y="2081664"/>
                    <a:pt x="168775" y="2081636"/>
                    <a:pt x="168744" y="2081607"/>
                  </a:cubicBezTo>
                  <a:close/>
                  <a:moveTo>
                    <a:pt x="51016" y="2118469"/>
                  </a:moveTo>
                  <a:cubicBezTo>
                    <a:pt x="44756" y="2124708"/>
                    <a:pt x="44738" y="2134843"/>
                    <a:pt x="50976" y="2141101"/>
                  </a:cubicBezTo>
                  <a:cubicBezTo>
                    <a:pt x="50989" y="2141110"/>
                    <a:pt x="51002" y="2141129"/>
                    <a:pt x="51016" y="2141139"/>
                  </a:cubicBezTo>
                  <a:cubicBezTo>
                    <a:pt x="57184" y="2147463"/>
                    <a:pt x="67315" y="2147597"/>
                    <a:pt x="73644" y="2141434"/>
                  </a:cubicBezTo>
                  <a:cubicBezTo>
                    <a:pt x="79434" y="2135785"/>
                    <a:pt x="80106" y="2126708"/>
                    <a:pt x="75209" y="2120279"/>
                  </a:cubicBezTo>
                  <a:lnTo>
                    <a:pt x="229800" y="1966069"/>
                  </a:lnTo>
                  <a:lnTo>
                    <a:pt x="229800" y="1872248"/>
                  </a:lnTo>
                  <a:cubicBezTo>
                    <a:pt x="235060" y="1871562"/>
                    <a:pt x="238770" y="1866742"/>
                    <a:pt x="238087" y="1861485"/>
                  </a:cubicBezTo>
                  <a:cubicBezTo>
                    <a:pt x="237403" y="1856227"/>
                    <a:pt x="232584" y="1852512"/>
                    <a:pt x="227323" y="1853198"/>
                  </a:cubicBezTo>
                  <a:cubicBezTo>
                    <a:pt x="222063" y="1853198"/>
                    <a:pt x="217798" y="1857465"/>
                    <a:pt x="217798" y="1862723"/>
                  </a:cubicBezTo>
                  <a:cubicBezTo>
                    <a:pt x="217677" y="1867238"/>
                    <a:pt x="220740" y="1871210"/>
                    <a:pt x="225133" y="1872248"/>
                  </a:cubicBezTo>
                  <a:lnTo>
                    <a:pt x="225133" y="1963974"/>
                  </a:lnTo>
                  <a:lnTo>
                    <a:pt x="72733" y="2116374"/>
                  </a:lnTo>
                  <a:cubicBezTo>
                    <a:pt x="66358" y="2111716"/>
                    <a:pt x="57543" y="2112402"/>
                    <a:pt x="51968" y="2117993"/>
                  </a:cubicBezTo>
                  <a:close/>
                  <a:moveTo>
                    <a:pt x="70066" y="2121898"/>
                  </a:moveTo>
                  <a:cubicBezTo>
                    <a:pt x="74430" y="2126242"/>
                    <a:pt x="74450" y="2133290"/>
                    <a:pt x="70109" y="2137662"/>
                  </a:cubicBezTo>
                  <a:cubicBezTo>
                    <a:pt x="65770" y="2142024"/>
                    <a:pt x="58714" y="2142044"/>
                    <a:pt x="54349" y="2137700"/>
                  </a:cubicBezTo>
                  <a:cubicBezTo>
                    <a:pt x="49985" y="2133366"/>
                    <a:pt x="49965" y="2126308"/>
                    <a:pt x="54305" y="2121946"/>
                  </a:cubicBezTo>
                  <a:cubicBezTo>
                    <a:pt x="54320" y="2121927"/>
                    <a:pt x="54335" y="2121917"/>
                    <a:pt x="54349" y="2121898"/>
                  </a:cubicBezTo>
                  <a:cubicBezTo>
                    <a:pt x="58639" y="2117555"/>
                    <a:pt x="65635" y="2117517"/>
                    <a:pt x="69975" y="2121803"/>
                  </a:cubicBezTo>
                  <a:cubicBezTo>
                    <a:pt x="70006" y="2121841"/>
                    <a:pt x="70035" y="2121869"/>
                    <a:pt x="70066" y="2121898"/>
                  </a:cubicBezTo>
                  <a:close/>
                  <a:moveTo>
                    <a:pt x="874261" y="2607673"/>
                  </a:moveTo>
                  <a:cubicBezTo>
                    <a:pt x="879833" y="2602082"/>
                    <a:pt x="888654" y="2601396"/>
                    <a:pt x="895026" y="2606054"/>
                  </a:cubicBezTo>
                  <a:lnTo>
                    <a:pt x="1070667" y="2430508"/>
                  </a:lnTo>
                  <a:lnTo>
                    <a:pt x="1070667" y="1930445"/>
                  </a:lnTo>
                  <a:cubicBezTo>
                    <a:pt x="1065409" y="1929788"/>
                    <a:pt x="1061675" y="1924988"/>
                    <a:pt x="1062332" y="1919730"/>
                  </a:cubicBezTo>
                  <a:cubicBezTo>
                    <a:pt x="1062990" y="1914472"/>
                    <a:pt x="1067790" y="1910738"/>
                    <a:pt x="1073048" y="1911395"/>
                  </a:cubicBezTo>
                  <a:cubicBezTo>
                    <a:pt x="1078306" y="1910710"/>
                    <a:pt x="1083126" y="1914424"/>
                    <a:pt x="1083811" y="1919682"/>
                  </a:cubicBezTo>
                  <a:cubicBezTo>
                    <a:pt x="1084497" y="1924940"/>
                    <a:pt x="1080782" y="1929760"/>
                    <a:pt x="1075525" y="1930445"/>
                  </a:cubicBezTo>
                  <a:lnTo>
                    <a:pt x="1075525" y="2432032"/>
                  </a:lnTo>
                  <a:lnTo>
                    <a:pt x="898550" y="2609007"/>
                  </a:lnTo>
                  <a:cubicBezTo>
                    <a:pt x="903798" y="2616122"/>
                    <a:pt x="902284" y="2626133"/>
                    <a:pt x="895178" y="2631381"/>
                  </a:cubicBezTo>
                  <a:cubicBezTo>
                    <a:pt x="888063" y="2636629"/>
                    <a:pt x="878052" y="2635124"/>
                    <a:pt x="872804" y="2628009"/>
                  </a:cubicBezTo>
                  <a:cubicBezTo>
                    <a:pt x="868099" y="2621646"/>
                    <a:pt x="868765" y="2612798"/>
                    <a:pt x="874357" y="2607197"/>
                  </a:cubicBezTo>
                  <a:close/>
                  <a:moveTo>
                    <a:pt x="893311" y="2611102"/>
                  </a:moveTo>
                  <a:cubicBezTo>
                    <a:pt x="888949" y="2606768"/>
                    <a:pt x="881891" y="2606787"/>
                    <a:pt x="877547" y="2611150"/>
                  </a:cubicBezTo>
                  <a:cubicBezTo>
                    <a:pt x="873214" y="2615522"/>
                    <a:pt x="873233" y="2622580"/>
                    <a:pt x="877605" y="2626914"/>
                  </a:cubicBezTo>
                  <a:cubicBezTo>
                    <a:pt x="881948" y="2631228"/>
                    <a:pt x="888968" y="2631228"/>
                    <a:pt x="893311" y="2626914"/>
                  </a:cubicBezTo>
                  <a:cubicBezTo>
                    <a:pt x="897645" y="2622532"/>
                    <a:pt x="897645" y="2615484"/>
                    <a:pt x="893311" y="2611102"/>
                  </a:cubicBezTo>
                  <a:close/>
                  <a:moveTo>
                    <a:pt x="715575" y="1891298"/>
                  </a:moveTo>
                  <a:cubicBezTo>
                    <a:pt x="715518" y="1882459"/>
                    <a:pt x="708317" y="1875343"/>
                    <a:pt x="699478" y="1875391"/>
                  </a:cubicBezTo>
                  <a:cubicBezTo>
                    <a:pt x="690638" y="1875448"/>
                    <a:pt x="683514" y="1882659"/>
                    <a:pt x="683571" y="1891488"/>
                  </a:cubicBezTo>
                  <a:cubicBezTo>
                    <a:pt x="683618" y="1899337"/>
                    <a:pt x="689343" y="1905995"/>
                    <a:pt x="697096" y="1907205"/>
                  </a:cubicBezTo>
                  <a:lnTo>
                    <a:pt x="697096" y="2239627"/>
                  </a:lnTo>
                  <a:lnTo>
                    <a:pt x="751103" y="2332972"/>
                  </a:lnTo>
                  <a:lnTo>
                    <a:pt x="751103" y="2698065"/>
                  </a:lnTo>
                  <a:cubicBezTo>
                    <a:pt x="746055" y="2699542"/>
                    <a:pt x="743159" y="2704838"/>
                    <a:pt x="744636" y="2709886"/>
                  </a:cubicBezTo>
                  <a:cubicBezTo>
                    <a:pt x="746112" y="2714934"/>
                    <a:pt x="751408" y="2717830"/>
                    <a:pt x="756456" y="2716353"/>
                  </a:cubicBezTo>
                  <a:cubicBezTo>
                    <a:pt x="760380" y="2715201"/>
                    <a:pt x="763133" y="2711676"/>
                    <a:pt x="763295" y="2707590"/>
                  </a:cubicBezTo>
                  <a:cubicBezTo>
                    <a:pt x="763419" y="2703076"/>
                    <a:pt x="760352" y="2699104"/>
                    <a:pt x="755961" y="2698065"/>
                  </a:cubicBezTo>
                  <a:lnTo>
                    <a:pt x="755961" y="2331639"/>
                  </a:lnTo>
                  <a:lnTo>
                    <a:pt x="702049" y="2238293"/>
                  </a:lnTo>
                  <a:lnTo>
                    <a:pt x="702049" y="1907205"/>
                  </a:lnTo>
                  <a:cubicBezTo>
                    <a:pt x="709831" y="1905909"/>
                    <a:pt x="715546" y="1899184"/>
                    <a:pt x="715575" y="1891298"/>
                  </a:cubicBezTo>
                  <a:close/>
                  <a:moveTo>
                    <a:pt x="699573" y="1902442"/>
                  </a:moveTo>
                  <a:cubicBezTo>
                    <a:pt x="693420" y="1902442"/>
                    <a:pt x="688428" y="1897451"/>
                    <a:pt x="688428" y="1891298"/>
                  </a:cubicBezTo>
                  <a:cubicBezTo>
                    <a:pt x="688428" y="1885145"/>
                    <a:pt x="693420" y="1880153"/>
                    <a:pt x="699573" y="1880153"/>
                  </a:cubicBezTo>
                  <a:cubicBezTo>
                    <a:pt x="705726" y="1880153"/>
                    <a:pt x="710717" y="1885145"/>
                    <a:pt x="710717" y="1891298"/>
                  </a:cubicBezTo>
                  <a:cubicBezTo>
                    <a:pt x="710717" y="1897451"/>
                    <a:pt x="705726" y="1902442"/>
                    <a:pt x="699573" y="1902442"/>
                  </a:cubicBezTo>
                  <a:close/>
                  <a:moveTo>
                    <a:pt x="435921" y="2239532"/>
                  </a:moveTo>
                  <a:cubicBezTo>
                    <a:pt x="435835" y="2247418"/>
                    <a:pt x="430082" y="2254096"/>
                    <a:pt x="422300" y="2255343"/>
                  </a:cubicBezTo>
                  <a:lnTo>
                    <a:pt x="422300" y="2404219"/>
                  </a:lnTo>
                  <a:lnTo>
                    <a:pt x="327050" y="2499469"/>
                  </a:lnTo>
                  <a:cubicBezTo>
                    <a:pt x="329667" y="2504032"/>
                    <a:pt x="328089" y="2509851"/>
                    <a:pt x="323526" y="2512471"/>
                  </a:cubicBezTo>
                  <a:cubicBezTo>
                    <a:pt x="318962" y="2515090"/>
                    <a:pt x="313142" y="2513509"/>
                    <a:pt x="310524" y="2508946"/>
                  </a:cubicBezTo>
                  <a:cubicBezTo>
                    <a:pt x="307908" y="2504384"/>
                    <a:pt x="309486" y="2498564"/>
                    <a:pt x="314048" y="2495945"/>
                  </a:cubicBezTo>
                  <a:cubicBezTo>
                    <a:pt x="316984" y="2494259"/>
                    <a:pt x="320591" y="2494259"/>
                    <a:pt x="323526" y="2495945"/>
                  </a:cubicBezTo>
                  <a:lnTo>
                    <a:pt x="417252" y="2402314"/>
                  </a:lnTo>
                  <a:lnTo>
                    <a:pt x="417252" y="2255629"/>
                  </a:lnTo>
                  <a:cubicBezTo>
                    <a:pt x="408517" y="2254258"/>
                    <a:pt x="402555" y="2246076"/>
                    <a:pt x="403917" y="2237341"/>
                  </a:cubicBezTo>
                  <a:cubicBezTo>
                    <a:pt x="405288" y="2228616"/>
                    <a:pt x="413470" y="2222644"/>
                    <a:pt x="422205" y="2224006"/>
                  </a:cubicBezTo>
                  <a:cubicBezTo>
                    <a:pt x="429987" y="2225235"/>
                    <a:pt x="435730" y="2231940"/>
                    <a:pt x="435730" y="2239817"/>
                  </a:cubicBezTo>
                  <a:close/>
                  <a:moveTo>
                    <a:pt x="420300" y="2250676"/>
                  </a:moveTo>
                  <a:cubicBezTo>
                    <a:pt x="426453" y="2250676"/>
                    <a:pt x="431444" y="2245685"/>
                    <a:pt x="431444" y="2239532"/>
                  </a:cubicBezTo>
                  <a:cubicBezTo>
                    <a:pt x="431444" y="2233379"/>
                    <a:pt x="426453" y="2228388"/>
                    <a:pt x="420300" y="2228388"/>
                  </a:cubicBezTo>
                  <a:cubicBezTo>
                    <a:pt x="414147" y="2228388"/>
                    <a:pt x="409156" y="2233379"/>
                    <a:pt x="409156" y="2239532"/>
                  </a:cubicBezTo>
                  <a:cubicBezTo>
                    <a:pt x="409156" y="2245685"/>
                    <a:pt x="414147" y="2250676"/>
                    <a:pt x="420300" y="2250676"/>
                  </a:cubicBezTo>
                  <a:close/>
                  <a:moveTo>
                    <a:pt x="281616" y="2474418"/>
                  </a:moveTo>
                  <a:cubicBezTo>
                    <a:pt x="275346" y="2480648"/>
                    <a:pt x="275313" y="2490782"/>
                    <a:pt x="281541" y="2497050"/>
                  </a:cubicBezTo>
                  <a:cubicBezTo>
                    <a:pt x="287770" y="2503317"/>
                    <a:pt x="297902" y="2503355"/>
                    <a:pt x="304172" y="2497126"/>
                  </a:cubicBezTo>
                  <a:cubicBezTo>
                    <a:pt x="309783" y="2491544"/>
                    <a:pt x="310479" y="2482705"/>
                    <a:pt x="305809" y="2476323"/>
                  </a:cubicBezTo>
                  <a:lnTo>
                    <a:pt x="366484" y="2415744"/>
                  </a:lnTo>
                  <a:lnTo>
                    <a:pt x="366484" y="2314779"/>
                  </a:lnTo>
                  <a:cubicBezTo>
                    <a:pt x="370875" y="2313741"/>
                    <a:pt x="373942" y="2309769"/>
                    <a:pt x="373818" y="2305254"/>
                  </a:cubicBezTo>
                  <a:cubicBezTo>
                    <a:pt x="373818" y="2299834"/>
                    <a:pt x="369427" y="2295443"/>
                    <a:pt x="364007" y="2295443"/>
                  </a:cubicBezTo>
                  <a:cubicBezTo>
                    <a:pt x="358587" y="2295443"/>
                    <a:pt x="354196" y="2299834"/>
                    <a:pt x="354196" y="2305254"/>
                  </a:cubicBezTo>
                  <a:cubicBezTo>
                    <a:pt x="354072" y="2309769"/>
                    <a:pt x="357140" y="2313741"/>
                    <a:pt x="361531" y="2314779"/>
                  </a:cubicBezTo>
                  <a:lnTo>
                    <a:pt x="361531" y="2413744"/>
                  </a:lnTo>
                  <a:lnTo>
                    <a:pt x="302380" y="2472990"/>
                  </a:lnTo>
                  <a:cubicBezTo>
                    <a:pt x="296029" y="2468313"/>
                    <a:pt x="287216" y="2468960"/>
                    <a:pt x="281616" y="2474514"/>
                  </a:cubicBezTo>
                  <a:close/>
                  <a:moveTo>
                    <a:pt x="300666" y="2477942"/>
                  </a:moveTo>
                  <a:cubicBezTo>
                    <a:pt x="305030" y="2482286"/>
                    <a:pt x="305050" y="2489335"/>
                    <a:pt x="300710" y="2493706"/>
                  </a:cubicBezTo>
                  <a:cubicBezTo>
                    <a:pt x="296370" y="2498069"/>
                    <a:pt x="289314" y="2498088"/>
                    <a:pt x="284950" y="2493744"/>
                  </a:cubicBezTo>
                  <a:cubicBezTo>
                    <a:pt x="280585" y="2489411"/>
                    <a:pt x="280565" y="2482353"/>
                    <a:pt x="284906" y="2477990"/>
                  </a:cubicBezTo>
                  <a:cubicBezTo>
                    <a:pt x="284920" y="2477971"/>
                    <a:pt x="284935" y="2477962"/>
                    <a:pt x="284950" y="2477942"/>
                  </a:cubicBezTo>
                  <a:cubicBezTo>
                    <a:pt x="289240" y="2473599"/>
                    <a:pt x="296235" y="2473561"/>
                    <a:pt x="300575" y="2477847"/>
                  </a:cubicBezTo>
                  <a:cubicBezTo>
                    <a:pt x="300606" y="2477886"/>
                    <a:pt x="300635" y="2477914"/>
                    <a:pt x="300666" y="2477942"/>
                  </a:cubicBezTo>
                  <a:close/>
                  <a:moveTo>
                    <a:pt x="501929" y="1996740"/>
                  </a:moveTo>
                  <a:cubicBezTo>
                    <a:pt x="508149" y="1990463"/>
                    <a:pt x="508101" y="1980328"/>
                    <a:pt x="501834" y="1974108"/>
                  </a:cubicBezTo>
                  <a:cubicBezTo>
                    <a:pt x="495557" y="1967888"/>
                    <a:pt x="485422" y="1967936"/>
                    <a:pt x="479202" y="1974213"/>
                  </a:cubicBezTo>
                  <a:cubicBezTo>
                    <a:pt x="473754" y="1979699"/>
                    <a:pt x="473021" y="1988300"/>
                    <a:pt x="477450" y="1994644"/>
                  </a:cubicBezTo>
                  <a:lnTo>
                    <a:pt x="325050" y="2147044"/>
                  </a:lnTo>
                  <a:lnTo>
                    <a:pt x="325050" y="2213719"/>
                  </a:lnTo>
                  <a:lnTo>
                    <a:pt x="190366" y="2348879"/>
                  </a:lnTo>
                  <a:cubicBezTo>
                    <a:pt x="186536" y="2346507"/>
                    <a:pt x="181569" y="2347145"/>
                    <a:pt x="178460" y="2350403"/>
                  </a:cubicBezTo>
                  <a:cubicBezTo>
                    <a:pt x="174646" y="2354022"/>
                    <a:pt x="174492" y="2360052"/>
                    <a:pt x="178114" y="2363871"/>
                  </a:cubicBezTo>
                  <a:cubicBezTo>
                    <a:pt x="178227" y="2363985"/>
                    <a:pt x="178342" y="2364100"/>
                    <a:pt x="178460" y="2364214"/>
                  </a:cubicBezTo>
                  <a:cubicBezTo>
                    <a:pt x="182357" y="2367919"/>
                    <a:pt x="188470" y="2367919"/>
                    <a:pt x="192367" y="2364214"/>
                  </a:cubicBezTo>
                  <a:cubicBezTo>
                    <a:pt x="195595" y="2361080"/>
                    <a:pt x="196191" y="2356118"/>
                    <a:pt x="193795" y="2352308"/>
                  </a:cubicBezTo>
                  <a:lnTo>
                    <a:pt x="330384" y="2215719"/>
                  </a:lnTo>
                  <a:lnTo>
                    <a:pt x="330384" y="2149044"/>
                  </a:lnTo>
                  <a:lnTo>
                    <a:pt x="481260" y="1998168"/>
                  </a:lnTo>
                  <a:cubicBezTo>
                    <a:pt x="487613" y="2002845"/>
                    <a:pt x="496424" y="2002197"/>
                    <a:pt x="502024" y="1996644"/>
                  </a:cubicBezTo>
                  <a:close/>
                  <a:moveTo>
                    <a:pt x="482879" y="1993311"/>
                  </a:moveTo>
                  <a:cubicBezTo>
                    <a:pt x="487241" y="1997654"/>
                    <a:pt x="494299" y="1997625"/>
                    <a:pt x="498643" y="1993263"/>
                  </a:cubicBezTo>
                  <a:cubicBezTo>
                    <a:pt x="502986" y="1988900"/>
                    <a:pt x="502958" y="1981842"/>
                    <a:pt x="498595" y="1977499"/>
                  </a:cubicBezTo>
                  <a:cubicBezTo>
                    <a:pt x="494309" y="1973156"/>
                    <a:pt x="487308" y="1973118"/>
                    <a:pt x="482974" y="1977404"/>
                  </a:cubicBezTo>
                  <a:cubicBezTo>
                    <a:pt x="482936" y="1977442"/>
                    <a:pt x="482908" y="1977471"/>
                    <a:pt x="482879" y="1977499"/>
                  </a:cubicBezTo>
                  <a:cubicBezTo>
                    <a:pt x="478517" y="1981833"/>
                    <a:pt x="478488" y="1988891"/>
                    <a:pt x="482831" y="1993263"/>
                  </a:cubicBezTo>
                  <a:cubicBezTo>
                    <a:pt x="482841" y="1993272"/>
                    <a:pt x="482860" y="1993291"/>
                    <a:pt x="482879" y="1993311"/>
                  </a:cubicBezTo>
                  <a:close/>
                  <a:moveTo>
                    <a:pt x="139979" y="2303064"/>
                  </a:moveTo>
                  <a:cubicBezTo>
                    <a:pt x="133762" y="2309341"/>
                    <a:pt x="133814" y="2319475"/>
                    <a:pt x="140095" y="2325695"/>
                  </a:cubicBezTo>
                  <a:cubicBezTo>
                    <a:pt x="146376" y="2331915"/>
                    <a:pt x="156508" y="2331858"/>
                    <a:pt x="162725" y="2325581"/>
                  </a:cubicBezTo>
                  <a:cubicBezTo>
                    <a:pt x="168254" y="2319990"/>
                    <a:pt x="168907" y="2311217"/>
                    <a:pt x="164268" y="2304873"/>
                  </a:cubicBezTo>
                  <a:lnTo>
                    <a:pt x="275329" y="2193812"/>
                  </a:lnTo>
                  <a:lnTo>
                    <a:pt x="275329" y="2098562"/>
                  </a:lnTo>
                  <a:lnTo>
                    <a:pt x="464020" y="1909872"/>
                  </a:lnTo>
                  <a:cubicBezTo>
                    <a:pt x="468649" y="1912367"/>
                    <a:pt x="474430" y="1910633"/>
                    <a:pt x="476926" y="1905995"/>
                  </a:cubicBezTo>
                  <a:cubicBezTo>
                    <a:pt x="479412" y="1901366"/>
                    <a:pt x="477678" y="1895594"/>
                    <a:pt x="473049" y="1893098"/>
                  </a:cubicBezTo>
                  <a:cubicBezTo>
                    <a:pt x="469449" y="1891155"/>
                    <a:pt x="465001" y="1891736"/>
                    <a:pt x="462019" y="1894536"/>
                  </a:cubicBezTo>
                  <a:cubicBezTo>
                    <a:pt x="458762" y="1897641"/>
                    <a:pt x="458124" y="1902613"/>
                    <a:pt x="460495" y="1906443"/>
                  </a:cubicBezTo>
                  <a:lnTo>
                    <a:pt x="269995" y="2096942"/>
                  </a:lnTo>
                  <a:lnTo>
                    <a:pt x="269995" y="2192192"/>
                  </a:lnTo>
                  <a:lnTo>
                    <a:pt x="160363" y="2301444"/>
                  </a:lnTo>
                  <a:cubicBezTo>
                    <a:pt x="153959" y="2296777"/>
                    <a:pt x="145109" y="2297463"/>
                    <a:pt x="139503" y="2303064"/>
                  </a:cubicBezTo>
                  <a:close/>
                  <a:moveTo>
                    <a:pt x="159029" y="2306492"/>
                  </a:moveTo>
                  <a:cubicBezTo>
                    <a:pt x="163367" y="2310855"/>
                    <a:pt x="163344" y="2317913"/>
                    <a:pt x="158978" y="2322256"/>
                  </a:cubicBezTo>
                  <a:cubicBezTo>
                    <a:pt x="154611" y="2326590"/>
                    <a:pt x="147555" y="2326571"/>
                    <a:pt x="143218" y="2322199"/>
                  </a:cubicBezTo>
                  <a:cubicBezTo>
                    <a:pt x="138900" y="2317856"/>
                    <a:pt x="138900" y="2310836"/>
                    <a:pt x="143218" y="2306492"/>
                  </a:cubicBezTo>
                  <a:cubicBezTo>
                    <a:pt x="147618" y="2302206"/>
                    <a:pt x="154629" y="2302206"/>
                    <a:pt x="159029" y="2306492"/>
                  </a:cubicBezTo>
                  <a:close/>
                  <a:moveTo>
                    <a:pt x="3929977" y="2256486"/>
                  </a:moveTo>
                  <a:cubicBezTo>
                    <a:pt x="3921090" y="2256429"/>
                    <a:pt x="3913832" y="2263582"/>
                    <a:pt x="3913775" y="2272479"/>
                  </a:cubicBezTo>
                  <a:cubicBezTo>
                    <a:pt x="3913708" y="2281366"/>
                    <a:pt x="3920871" y="2288624"/>
                    <a:pt x="3929757" y="2288681"/>
                  </a:cubicBezTo>
                  <a:cubicBezTo>
                    <a:pt x="3937768" y="2288738"/>
                    <a:pt x="3944607" y="2282890"/>
                    <a:pt x="3945788" y="2274965"/>
                  </a:cubicBezTo>
                  <a:lnTo>
                    <a:pt x="4226776" y="2274965"/>
                  </a:lnTo>
                  <a:lnTo>
                    <a:pt x="4430992" y="2070844"/>
                  </a:lnTo>
                  <a:cubicBezTo>
                    <a:pt x="4435583" y="2073416"/>
                    <a:pt x="4441384" y="2071777"/>
                    <a:pt x="4443956" y="2067186"/>
                  </a:cubicBezTo>
                  <a:cubicBezTo>
                    <a:pt x="4446527" y="2062595"/>
                    <a:pt x="4444889" y="2056795"/>
                    <a:pt x="4440298" y="2054223"/>
                  </a:cubicBezTo>
                  <a:cubicBezTo>
                    <a:pt x="4435716" y="2051651"/>
                    <a:pt x="4429906" y="2053290"/>
                    <a:pt x="4427334" y="2057881"/>
                  </a:cubicBezTo>
                  <a:cubicBezTo>
                    <a:pt x="4425667" y="2060852"/>
                    <a:pt x="4425725" y="2064491"/>
                    <a:pt x="4427468" y="2067415"/>
                  </a:cubicBezTo>
                  <a:lnTo>
                    <a:pt x="4224490" y="2270488"/>
                  </a:lnTo>
                  <a:lnTo>
                    <a:pt x="3945502" y="2270488"/>
                  </a:lnTo>
                  <a:cubicBezTo>
                    <a:pt x="3944321" y="2262659"/>
                    <a:pt x="3937606" y="2256877"/>
                    <a:pt x="3929691" y="2256867"/>
                  </a:cubicBezTo>
                  <a:close/>
                  <a:moveTo>
                    <a:pt x="3941121" y="2272488"/>
                  </a:moveTo>
                  <a:cubicBezTo>
                    <a:pt x="3941121" y="2278642"/>
                    <a:pt x="3936130" y="2283633"/>
                    <a:pt x="3929977" y="2283633"/>
                  </a:cubicBezTo>
                  <a:cubicBezTo>
                    <a:pt x="3923824" y="2283633"/>
                    <a:pt x="3918832" y="2278642"/>
                    <a:pt x="3918832" y="2272488"/>
                  </a:cubicBezTo>
                  <a:cubicBezTo>
                    <a:pt x="3918832" y="2266335"/>
                    <a:pt x="3923824" y="2261344"/>
                    <a:pt x="3929977" y="2261344"/>
                  </a:cubicBezTo>
                  <a:cubicBezTo>
                    <a:pt x="3936130" y="2261344"/>
                    <a:pt x="3941121" y="2266335"/>
                    <a:pt x="3941121" y="2272488"/>
                  </a:cubicBezTo>
                  <a:close/>
                  <a:moveTo>
                    <a:pt x="3315614" y="2198860"/>
                  </a:moveTo>
                  <a:cubicBezTo>
                    <a:pt x="3323501" y="2198860"/>
                    <a:pt x="3330207" y="2204594"/>
                    <a:pt x="3331426" y="2212385"/>
                  </a:cubicBezTo>
                  <a:lnTo>
                    <a:pt x="4129335" y="2212385"/>
                  </a:lnTo>
                  <a:cubicBezTo>
                    <a:pt x="4130707" y="2207309"/>
                    <a:pt x="4135926" y="2204299"/>
                    <a:pt x="4141013" y="2205661"/>
                  </a:cubicBezTo>
                  <a:cubicBezTo>
                    <a:pt x="4146089" y="2207033"/>
                    <a:pt x="4149099" y="2212262"/>
                    <a:pt x="4147728" y="2217339"/>
                  </a:cubicBezTo>
                  <a:cubicBezTo>
                    <a:pt x="4146365" y="2222415"/>
                    <a:pt x="4141136" y="2225425"/>
                    <a:pt x="4136059" y="2224063"/>
                  </a:cubicBezTo>
                  <a:cubicBezTo>
                    <a:pt x="4132773" y="2223178"/>
                    <a:pt x="4130221" y="2220615"/>
                    <a:pt x="4129335" y="2217339"/>
                  </a:cubicBezTo>
                  <a:lnTo>
                    <a:pt x="3331140" y="2217339"/>
                  </a:lnTo>
                  <a:cubicBezTo>
                    <a:pt x="3329768" y="2226073"/>
                    <a:pt x="3321586" y="2232036"/>
                    <a:pt x="3312852" y="2230674"/>
                  </a:cubicBezTo>
                  <a:cubicBezTo>
                    <a:pt x="3304127" y="2229302"/>
                    <a:pt x="3298155" y="2221120"/>
                    <a:pt x="3299517" y="2212385"/>
                  </a:cubicBezTo>
                  <a:cubicBezTo>
                    <a:pt x="3300746" y="2204604"/>
                    <a:pt x="3307451" y="2198860"/>
                    <a:pt x="3315328" y="2198860"/>
                  </a:cubicBezTo>
                  <a:close/>
                  <a:moveTo>
                    <a:pt x="3326759" y="2214862"/>
                  </a:moveTo>
                  <a:cubicBezTo>
                    <a:pt x="3326759" y="2208709"/>
                    <a:pt x="3321767" y="2203718"/>
                    <a:pt x="3315614" y="2203718"/>
                  </a:cubicBezTo>
                  <a:cubicBezTo>
                    <a:pt x="3309461" y="2203718"/>
                    <a:pt x="3304470" y="2208709"/>
                    <a:pt x="3304470" y="2214862"/>
                  </a:cubicBezTo>
                  <a:cubicBezTo>
                    <a:pt x="3304470" y="2221015"/>
                    <a:pt x="3309461" y="2226006"/>
                    <a:pt x="3315614" y="2226006"/>
                  </a:cubicBezTo>
                  <a:cubicBezTo>
                    <a:pt x="3321748" y="2225959"/>
                    <a:pt x="3326711" y="2220996"/>
                    <a:pt x="3326759" y="2214862"/>
                  </a:cubicBezTo>
                  <a:close/>
                  <a:moveTo>
                    <a:pt x="4439850" y="1644981"/>
                  </a:moveTo>
                  <a:cubicBezTo>
                    <a:pt x="4448737" y="1645038"/>
                    <a:pt x="4455995" y="1637885"/>
                    <a:pt x="4456052" y="1628989"/>
                  </a:cubicBezTo>
                  <a:cubicBezTo>
                    <a:pt x="4456119" y="1620102"/>
                    <a:pt x="4448956" y="1612844"/>
                    <a:pt x="4440069" y="1612787"/>
                  </a:cubicBezTo>
                  <a:cubicBezTo>
                    <a:pt x="4432059" y="1612730"/>
                    <a:pt x="4425220" y="1618578"/>
                    <a:pt x="4424039" y="1626503"/>
                  </a:cubicBezTo>
                  <a:lnTo>
                    <a:pt x="4374127" y="1626503"/>
                  </a:lnTo>
                  <a:lnTo>
                    <a:pt x="4095331" y="1905204"/>
                  </a:lnTo>
                  <a:lnTo>
                    <a:pt x="3841870" y="1905204"/>
                  </a:lnTo>
                  <a:cubicBezTo>
                    <a:pt x="3840499" y="1900127"/>
                    <a:pt x="3835279" y="1897118"/>
                    <a:pt x="3830193" y="1898480"/>
                  </a:cubicBezTo>
                  <a:cubicBezTo>
                    <a:pt x="3825116" y="1899851"/>
                    <a:pt x="3822106" y="1905080"/>
                    <a:pt x="3823478" y="1910157"/>
                  </a:cubicBezTo>
                  <a:cubicBezTo>
                    <a:pt x="3824840" y="1915234"/>
                    <a:pt x="3830069" y="1918244"/>
                    <a:pt x="3835146" y="1916882"/>
                  </a:cubicBezTo>
                  <a:cubicBezTo>
                    <a:pt x="3838432" y="1915996"/>
                    <a:pt x="3840985" y="1913434"/>
                    <a:pt x="3841870" y="1910157"/>
                  </a:cubicBezTo>
                  <a:lnTo>
                    <a:pt x="4097426" y="1910157"/>
                  </a:lnTo>
                  <a:lnTo>
                    <a:pt x="4376223" y="1631361"/>
                  </a:lnTo>
                  <a:lnTo>
                    <a:pt x="4423848" y="1631361"/>
                  </a:lnTo>
                  <a:cubicBezTo>
                    <a:pt x="4425029" y="1639190"/>
                    <a:pt x="4431744" y="1644972"/>
                    <a:pt x="4439659" y="1644981"/>
                  </a:cubicBezTo>
                  <a:close/>
                  <a:moveTo>
                    <a:pt x="4428706" y="1628884"/>
                  </a:moveTo>
                  <a:cubicBezTo>
                    <a:pt x="4428706" y="1622731"/>
                    <a:pt x="4433697" y="1617740"/>
                    <a:pt x="4439850" y="1617740"/>
                  </a:cubicBezTo>
                  <a:cubicBezTo>
                    <a:pt x="4446003" y="1617740"/>
                    <a:pt x="4450994" y="1622731"/>
                    <a:pt x="4450994" y="1628884"/>
                  </a:cubicBezTo>
                  <a:cubicBezTo>
                    <a:pt x="4450994" y="1635037"/>
                    <a:pt x="4446003" y="1640028"/>
                    <a:pt x="4439850" y="1640028"/>
                  </a:cubicBezTo>
                  <a:cubicBezTo>
                    <a:pt x="4433716" y="1639981"/>
                    <a:pt x="4428754" y="1635018"/>
                    <a:pt x="4428706" y="1628884"/>
                  </a:cubicBezTo>
                  <a:close/>
                  <a:moveTo>
                    <a:pt x="1431188" y="1730135"/>
                  </a:moveTo>
                  <a:lnTo>
                    <a:pt x="1426330" y="1730135"/>
                  </a:lnTo>
                  <a:lnTo>
                    <a:pt x="1426330" y="1565257"/>
                  </a:lnTo>
                  <a:cubicBezTo>
                    <a:pt x="1439094" y="1563885"/>
                    <a:pt x="1448333" y="1552436"/>
                    <a:pt x="1446961" y="1539673"/>
                  </a:cubicBezTo>
                  <a:cubicBezTo>
                    <a:pt x="1445599" y="1526909"/>
                    <a:pt x="1434141" y="1517670"/>
                    <a:pt x="1421377" y="1519042"/>
                  </a:cubicBezTo>
                  <a:cubicBezTo>
                    <a:pt x="1408614" y="1520404"/>
                    <a:pt x="1399375" y="1531862"/>
                    <a:pt x="1400746" y="1544626"/>
                  </a:cubicBezTo>
                  <a:cubicBezTo>
                    <a:pt x="1401908" y="1555503"/>
                    <a:pt x="1410500" y="1564095"/>
                    <a:pt x="1421377" y="1565257"/>
                  </a:cubicBezTo>
                  <a:lnTo>
                    <a:pt x="1421377" y="1730135"/>
                  </a:lnTo>
                  <a:lnTo>
                    <a:pt x="1416520" y="1730135"/>
                  </a:lnTo>
                  <a:lnTo>
                    <a:pt x="1416520" y="2368310"/>
                  </a:lnTo>
                  <a:lnTo>
                    <a:pt x="1421377" y="2368310"/>
                  </a:lnTo>
                  <a:lnTo>
                    <a:pt x="1421377" y="2450034"/>
                  </a:lnTo>
                  <a:lnTo>
                    <a:pt x="1164202" y="2707209"/>
                  </a:lnTo>
                  <a:cubicBezTo>
                    <a:pt x="1157716" y="2702618"/>
                    <a:pt x="1148743" y="2704152"/>
                    <a:pt x="1144152" y="2710638"/>
                  </a:cubicBezTo>
                  <a:cubicBezTo>
                    <a:pt x="1139561" y="2717125"/>
                    <a:pt x="1141095" y="2726097"/>
                    <a:pt x="1147581" y="2730688"/>
                  </a:cubicBezTo>
                  <a:cubicBezTo>
                    <a:pt x="1154068" y="2735279"/>
                    <a:pt x="1163040" y="2733746"/>
                    <a:pt x="1167631" y="2727260"/>
                  </a:cubicBezTo>
                  <a:cubicBezTo>
                    <a:pt x="1171156" y="2722278"/>
                    <a:pt x="1171156" y="2715620"/>
                    <a:pt x="1167631" y="2710638"/>
                  </a:cubicBezTo>
                  <a:lnTo>
                    <a:pt x="1426426" y="2451844"/>
                  </a:lnTo>
                  <a:lnTo>
                    <a:pt x="1426426" y="2368119"/>
                  </a:lnTo>
                  <a:lnTo>
                    <a:pt x="1431283" y="2368119"/>
                  </a:lnTo>
                  <a:lnTo>
                    <a:pt x="1431283" y="1729944"/>
                  </a:lnTo>
                  <a:close/>
                  <a:moveTo>
                    <a:pt x="3470967" y="2441081"/>
                  </a:moveTo>
                  <a:lnTo>
                    <a:pt x="4138384" y="2441081"/>
                  </a:lnTo>
                  <a:lnTo>
                    <a:pt x="4138384" y="2447939"/>
                  </a:lnTo>
                  <a:lnTo>
                    <a:pt x="4217060" y="2447939"/>
                  </a:lnTo>
                  <a:cubicBezTo>
                    <a:pt x="4218689" y="2437547"/>
                    <a:pt x="4228443" y="2430441"/>
                    <a:pt x="4238834" y="2432070"/>
                  </a:cubicBezTo>
                  <a:cubicBezTo>
                    <a:pt x="4249226" y="2433699"/>
                    <a:pt x="4256332" y="2443452"/>
                    <a:pt x="4254703" y="2453844"/>
                  </a:cubicBezTo>
                  <a:cubicBezTo>
                    <a:pt x="4253065" y="2464236"/>
                    <a:pt x="4243321" y="2471342"/>
                    <a:pt x="4232929" y="2469713"/>
                  </a:cubicBezTo>
                  <a:cubicBezTo>
                    <a:pt x="4224756" y="2468427"/>
                    <a:pt x="4218346" y="2462017"/>
                    <a:pt x="4217060" y="2453844"/>
                  </a:cubicBezTo>
                  <a:lnTo>
                    <a:pt x="4138384" y="2453844"/>
                  </a:lnTo>
                  <a:lnTo>
                    <a:pt x="4138384" y="2460607"/>
                  </a:lnTo>
                  <a:lnTo>
                    <a:pt x="3471062" y="2460607"/>
                  </a:lnTo>
                  <a:lnTo>
                    <a:pt x="3471062" y="2453844"/>
                  </a:lnTo>
                  <a:lnTo>
                    <a:pt x="3344475" y="2453844"/>
                  </a:lnTo>
                  <a:cubicBezTo>
                    <a:pt x="3342846" y="2463274"/>
                    <a:pt x="3333874" y="2469608"/>
                    <a:pt x="3324444" y="2467970"/>
                  </a:cubicBezTo>
                  <a:cubicBezTo>
                    <a:pt x="3315005" y="2466341"/>
                    <a:pt x="3308680" y="2457368"/>
                    <a:pt x="3310309" y="2447939"/>
                  </a:cubicBezTo>
                  <a:cubicBezTo>
                    <a:pt x="3311938" y="2438509"/>
                    <a:pt x="3320910" y="2432175"/>
                    <a:pt x="3330349" y="2433813"/>
                  </a:cubicBezTo>
                  <a:cubicBezTo>
                    <a:pt x="3337569" y="2435061"/>
                    <a:pt x="3343227" y="2440719"/>
                    <a:pt x="3344475" y="2447939"/>
                  </a:cubicBezTo>
                  <a:lnTo>
                    <a:pt x="3471538" y="2447939"/>
                  </a:lnTo>
                  <a:lnTo>
                    <a:pt x="3471538" y="2441081"/>
                  </a:lnTo>
                  <a:close/>
                  <a:moveTo>
                    <a:pt x="3202171" y="1792143"/>
                  </a:moveTo>
                  <a:lnTo>
                    <a:pt x="3202171" y="2590433"/>
                  </a:lnTo>
                  <a:lnTo>
                    <a:pt x="3194837" y="2590433"/>
                  </a:lnTo>
                  <a:lnTo>
                    <a:pt x="3194837" y="2703876"/>
                  </a:lnTo>
                  <a:cubicBezTo>
                    <a:pt x="3202724" y="2705219"/>
                    <a:pt x="3208020" y="2712696"/>
                    <a:pt x="3206677" y="2720573"/>
                  </a:cubicBezTo>
                  <a:cubicBezTo>
                    <a:pt x="3205343" y="2728459"/>
                    <a:pt x="3197866" y="2733765"/>
                    <a:pt x="3189979" y="2732422"/>
                  </a:cubicBezTo>
                  <a:cubicBezTo>
                    <a:pt x="3182093" y="2731079"/>
                    <a:pt x="3176797" y="2723602"/>
                    <a:pt x="3178140" y="2715715"/>
                  </a:cubicBezTo>
                  <a:cubicBezTo>
                    <a:pt x="3179168" y="2709657"/>
                    <a:pt x="3183912" y="2704904"/>
                    <a:pt x="3189979" y="2703876"/>
                  </a:cubicBezTo>
                  <a:lnTo>
                    <a:pt x="3189979" y="2590433"/>
                  </a:lnTo>
                  <a:lnTo>
                    <a:pt x="3182550" y="2590433"/>
                  </a:lnTo>
                  <a:lnTo>
                    <a:pt x="3182550" y="1792143"/>
                  </a:lnTo>
                  <a:lnTo>
                    <a:pt x="3189884" y="1792143"/>
                  </a:lnTo>
                  <a:lnTo>
                    <a:pt x="3189884" y="1459339"/>
                  </a:lnTo>
                  <a:lnTo>
                    <a:pt x="2837459" y="1106914"/>
                  </a:lnTo>
                  <a:cubicBezTo>
                    <a:pt x="2831039" y="1111543"/>
                    <a:pt x="2822219" y="1110857"/>
                    <a:pt x="2816599" y="1105295"/>
                  </a:cubicBezTo>
                  <a:cubicBezTo>
                    <a:pt x="2810360" y="1099037"/>
                    <a:pt x="2810380" y="1088902"/>
                    <a:pt x="2816638" y="1082663"/>
                  </a:cubicBezTo>
                  <a:cubicBezTo>
                    <a:pt x="2822895" y="1076424"/>
                    <a:pt x="2833030" y="1076444"/>
                    <a:pt x="2839269" y="1082701"/>
                  </a:cubicBezTo>
                  <a:cubicBezTo>
                    <a:pt x="2844812" y="1088264"/>
                    <a:pt x="2845498" y="1097027"/>
                    <a:pt x="2840888" y="1103390"/>
                  </a:cubicBezTo>
                  <a:lnTo>
                    <a:pt x="3194932" y="1457529"/>
                  </a:lnTo>
                  <a:lnTo>
                    <a:pt x="3194932" y="1792333"/>
                  </a:lnTo>
                  <a:close/>
                  <a:moveTo>
                    <a:pt x="1726558" y="1930636"/>
                  </a:moveTo>
                  <a:lnTo>
                    <a:pt x="1726558" y="2388884"/>
                  </a:lnTo>
                  <a:lnTo>
                    <a:pt x="1721605" y="2388884"/>
                  </a:lnTo>
                  <a:lnTo>
                    <a:pt x="1721605" y="2542617"/>
                  </a:lnTo>
                  <a:cubicBezTo>
                    <a:pt x="1729492" y="2543960"/>
                    <a:pt x="1734788" y="2551437"/>
                    <a:pt x="1733445" y="2559315"/>
                  </a:cubicBezTo>
                  <a:cubicBezTo>
                    <a:pt x="1732111" y="2567201"/>
                    <a:pt x="1724634" y="2572507"/>
                    <a:pt x="1716748" y="2571164"/>
                  </a:cubicBezTo>
                  <a:cubicBezTo>
                    <a:pt x="1708861" y="2569821"/>
                    <a:pt x="1703565" y="2562344"/>
                    <a:pt x="1704908" y="2554457"/>
                  </a:cubicBezTo>
                  <a:cubicBezTo>
                    <a:pt x="1705937" y="2548399"/>
                    <a:pt x="1710680" y="2543646"/>
                    <a:pt x="1716748" y="2542617"/>
                  </a:cubicBezTo>
                  <a:lnTo>
                    <a:pt x="1716748" y="2388884"/>
                  </a:lnTo>
                  <a:lnTo>
                    <a:pt x="1711890" y="2388884"/>
                  </a:lnTo>
                  <a:lnTo>
                    <a:pt x="1711890" y="1930636"/>
                  </a:lnTo>
                  <a:lnTo>
                    <a:pt x="1716748" y="1930636"/>
                  </a:lnTo>
                  <a:lnTo>
                    <a:pt x="1716748" y="1825861"/>
                  </a:lnTo>
                  <a:cubicBezTo>
                    <a:pt x="1703984" y="1824518"/>
                    <a:pt x="1694726" y="1813088"/>
                    <a:pt x="1696059" y="1800315"/>
                  </a:cubicBezTo>
                  <a:cubicBezTo>
                    <a:pt x="1697402" y="1787551"/>
                    <a:pt x="1708842" y="1778293"/>
                    <a:pt x="1721605" y="1779636"/>
                  </a:cubicBezTo>
                  <a:cubicBezTo>
                    <a:pt x="1734369" y="1780979"/>
                    <a:pt x="1743627" y="1792409"/>
                    <a:pt x="1742294" y="1805173"/>
                  </a:cubicBezTo>
                  <a:cubicBezTo>
                    <a:pt x="1741141" y="1816088"/>
                    <a:pt x="1732521" y="1824718"/>
                    <a:pt x="1721605" y="1825861"/>
                  </a:cubicBezTo>
                  <a:lnTo>
                    <a:pt x="1721605" y="1930636"/>
                  </a:lnTo>
                  <a:close/>
                  <a:moveTo>
                    <a:pt x="4374509" y="2045793"/>
                  </a:moveTo>
                  <a:lnTo>
                    <a:pt x="4398130" y="2022171"/>
                  </a:lnTo>
                  <a:lnTo>
                    <a:pt x="4403369" y="2027315"/>
                  </a:lnTo>
                  <a:lnTo>
                    <a:pt x="4442041" y="1988643"/>
                  </a:lnTo>
                  <a:cubicBezTo>
                    <a:pt x="4436678" y="1981614"/>
                    <a:pt x="4438031" y="1971574"/>
                    <a:pt x="4445051" y="1966212"/>
                  </a:cubicBezTo>
                  <a:cubicBezTo>
                    <a:pt x="4451537" y="1961268"/>
                    <a:pt x="4460700" y="1961983"/>
                    <a:pt x="4466330" y="1967879"/>
                  </a:cubicBezTo>
                  <a:cubicBezTo>
                    <a:pt x="4472664" y="1974051"/>
                    <a:pt x="4472788" y="1984176"/>
                    <a:pt x="4466625" y="1990510"/>
                  </a:cubicBezTo>
                  <a:cubicBezTo>
                    <a:pt x="4460977" y="1996301"/>
                    <a:pt x="4451899" y="1996968"/>
                    <a:pt x="4445470" y="1992072"/>
                  </a:cubicBezTo>
                  <a:lnTo>
                    <a:pt x="4406799" y="2030839"/>
                  </a:lnTo>
                  <a:lnTo>
                    <a:pt x="4411942" y="2035982"/>
                  </a:lnTo>
                  <a:lnTo>
                    <a:pt x="4388320" y="2059605"/>
                  </a:lnTo>
                  <a:lnTo>
                    <a:pt x="4383176" y="2054366"/>
                  </a:lnTo>
                  <a:lnTo>
                    <a:pt x="4322883" y="2114754"/>
                  </a:lnTo>
                  <a:lnTo>
                    <a:pt x="3377336" y="2114754"/>
                  </a:lnTo>
                  <a:cubicBezTo>
                    <a:pt x="3375965" y="2122574"/>
                    <a:pt x="3368516" y="2127813"/>
                    <a:pt x="3360696" y="2126442"/>
                  </a:cubicBezTo>
                  <a:cubicBezTo>
                    <a:pt x="3352867" y="2125079"/>
                    <a:pt x="3347637" y="2117621"/>
                    <a:pt x="3348999" y="2109801"/>
                  </a:cubicBezTo>
                  <a:cubicBezTo>
                    <a:pt x="3350371" y="2101972"/>
                    <a:pt x="3357819" y="2096742"/>
                    <a:pt x="3365649" y="2098114"/>
                  </a:cubicBezTo>
                  <a:cubicBezTo>
                    <a:pt x="3371621" y="2099152"/>
                    <a:pt x="3376288" y="2103829"/>
                    <a:pt x="3377336" y="2109801"/>
                  </a:cubicBezTo>
                  <a:lnTo>
                    <a:pt x="4321074" y="2109801"/>
                  </a:lnTo>
                  <a:lnTo>
                    <a:pt x="4379938" y="2050937"/>
                  </a:lnTo>
                  <a:lnTo>
                    <a:pt x="4374699" y="2045793"/>
                  </a:lnTo>
                  <a:close/>
                  <a:moveTo>
                    <a:pt x="1881911" y="1071195"/>
                  </a:moveTo>
                  <a:lnTo>
                    <a:pt x="1881911" y="1078530"/>
                  </a:lnTo>
                  <a:lnTo>
                    <a:pt x="1720843" y="1078530"/>
                  </a:lnTo>
                  <a:cubicBezTo>
                    <a:pt x="1719500" y="1069738"/>
                    <a:pt x="1711290" y="1063709"/>
                    <a:pt x="1702498" y="1065042"/>
                  </a:cubicBezTo>
                  <a:cubicBezTo>
                    <a:pt x="1693716" y="1066385"/>
                    <a:pt x="1687677" y="1074596"/>
                    <a:pt x="1689020" y="1083387"/>
                  </a:cubicBezTo>
                  <a:cubicBezTo>
                    <a:pt x="1690363" y="1092179"/>
                    <a:pt x="1698574" y="1098208"/>
                    <a:pt x="1707356" y="1096875"/>
                  </a:cubicBezTo>
                  <a:cubicBezTo>
                    <a:pt x="1714319" y="1095808"/>
                    <a:pt x="1719776" y="1090350"/>
                    <a:pt x="1720843" y="1083387"/>
                  </a:cubicBezTo>
                  <a:lnTo>
                    <a:pt x="1881911" y="1083387"/>
                  </a:lnTo>
                  <a:lnTo>
                    <a:pt x="1881911" y="1090722"/>
                  </a:lnTo>
                  <a:lnTo>
                    <a:pt x="2352446" y="1090722"/>
                  </a:lnTo>
                  <a:lnTo>
                    <a:pt x="2352446" y="1083387"/>
                  </a:lnTo>
                  <a:lnTo>
                    <a:pt x="2599048" y="1083387"/>
                  </a:lnTo>
                  <a:lnTo>
                    <a:pt x="2850794" y="831642"/>
                  </a:lnTo>
                  <a:cubicBezTo>
                    <a:pt x="2857271" y="836052"/>
                    <a:pt x="2866101" y="834375"/>
                    <a:pt x="2870511" y="827898"/>
                  </a:cubicBezTo>
                  <a:cubicBezTo>
                    <a:pt x="2874921" y="821412"/>
                    <a:pt x="2873245" y="812582"/>
                    <a:pt x="2866767" y="808172"/>
                  </a:cubicBezTo>
                  <a:cubicBezTo>
                    <a:pt x="2860281" y="803762"/>
                    <a:pt x="2851461" y="805448"/>
                    <a:pt x="2847051" y="811925"/>
                  </a:cubicBezTo>
                  <a:cubicBezTo>
                    <a:pt x="2843689" y="816859"/>
                    <a:pt x="2843774" y="823374"/>
                    <a:pt x="2847270" y="828212"/>
                  </a:cubicBezTo>
                  <a:lnTo>
                    <a:pt x="2597048" y="1078530"/>
                  </a:lnTo>
                  <a:lnTo>
                    <a:pt x="2352446" y="1078530"/>
                  </a:lnTo>
                  <a:lnTo>
                    <a:pt x="2352446" y="1071195"/>
                  </a:lnTo>
                  <a:close/>
                  <a:moveTo>
                    <a:pt x="1111720" y="1057479"/>
                  </a:moveTo>
                  <a:lnTo>
                    <a:pt x="1440618" y="1057479"/>
                  </a:lnTo>
                  <a:lnTo>
                    <a:pt x="1440618" y="1064814"/>
                  </a:lnTo>
                  <a:lnTo>
                    <a:pt x="1553775" y="1064814"/>
                  </a:lnTo>
                  <a:cubicBezTo>
                    <a:pt x="1555146" y="1056994"/>
                    <a:pt x="1562595" y="1051755"/>
                    <a:pt x="1570415" y="1053126"/>
                  </a:cubicBezTo>
                  <a:cubicBezTo>
                    <a:pt x="1578245" y="1054488"/>
                    <a:pt x="1583474" y="1061946"/>
                    <a:pt x="1582112" y="1069766"/>
                  </a:cubicBezTo>
                  <a:cubicBezTo>
                    <a:pt x="1580740" y="1077586"/>
                    <a:pt x="1573292" y="1082825"/>
                    <a:pt x="1565462" y="1081454"/>
                  </a:cubicBezTo>
                  <a:cubicBezTo>
                    <a:pt x="1559499" y="1080416"/>
                    <a:pt x="1554823" y="1075739"/>
                    <a:pt x="1553775" y="1069766"/>
                  </a:cubicBezTo>
                  <a:lnTo>
                    <a:pt x="1440618" y="1069766"/>
                  </a:lnTo>
                  <a:lnTo>
                    <a:pt x="1440618" y="1077101"/>
                  </a:lnTo>
                  <a:lnTo>
                    <a:pt x="1111720" y="1077101"/>
                  </a:lnTo>
                  <a:lnTo>
                    <a:pt x="1111720" y="1069766"/>
                  </a:lnTo>
                  <a:lnTo>
                    <a:pt x="942174" y="1069766"/>
                  </a:lnTo>
                  <a:lnTo>
                    <a:pt x="866737" y="994519"/>
                  </a:lnTo>
                  <a:cubicBezTo>
                    <a:pt x="856802" y="1002558"/>
                    <a:pt x="842229" y="1001025"/>
                    <a:pt x="834180" y="991090"/>
                  </a:cubicBezTo>
                  <a:cubicBezTo>
                    <a:pt x="826141" y="981155"/>
                    <a:pt x="827675" y="966582"/>
                    <a:pt x="837609" y="958534"/>
                  </a:cubicBezTo>
                  <a:cubicBezTo>
                    <a:pt x="847553" y="950494"/>
                    <a:pt x="862126" y="952028"/>
                    <a:pt x="870166" y="961963"/>
                  </a:cubicBezTo>
                  <a:cubicBezTo>
                    <a:pt x="877043" y="970459"/>
                    <a:pt x="877043" y="982603"/>
                    <a:pt x="870166" y="991090"/>
                  </a:cubicBezTo>
                  <a:lnTo>
                    <a:pt x="944270" y="1065099"/>
                  </a:lnTo>
                  <a:lnTo>
                    <a:pt x="1111720" y="1065099"/>
                  </a:lnTo>
                  <a:lnTo>
                    <a:pt x="1111720" y="1057765"/>
                  </a:lnTo>
                  <a:close/>
                  <a:moveTo>
                    <a:pt x="1281931" y="2284585"/>
                  </a:moveTo>
                  <a:lnTo>
                    <a:pt x="1287646" y="2284585"/>
                  </a:lnTo>
                  <a:lnTo>
                    <a:pt x="1287646" y="2511947"/>
                  </a:lnTo>
                  <a:lnTo>
                    <a:pt x="1093241" y="2706352"/>
                  </a:lnTo>
                  <a:cubicBezTo>
                    <a:pt x="1086755" y="2701771"/>
                    <a:pt x="1077782" y="2703314"/>
                    <a:pt x="1073191" y="2709800"/>
                  </a:cubicBezTo>
                  <a:cubicBezTo>
                    <a:pt x="1069162" y="2715515"/>
                    <a:pt x="1069819" y="2723307"/>
                    <a:pt x="1074763" y="2728259"/>
                  </a:cubicBezTo>
                  <a:cubicBezTo>
                    <a:pt x="1080382" y="2733870"/>
                    <a:pt x="1089488" y="2733860"/>
                    <a:pt x="1095098" y="2728241"/>
                  </a:cubicBezTo>
                  <a:cubicBezTo>
                    <a:pt x="1100042" y="2723287"/>
                    <a:pt x="1100709" y="2715496"/>
                    <a:pt x="1096670" y="2709781"/>
                  </a:cubicBezTo>
                  <a:lnTo>
                    <a:pt x="1292599" y="2513947"/>
                  </a:lnTo>
                  <a:lnTo>
                    <a:pt x="1292599" y="2284585"/>
                  </a:lnTo>
                  <a:lnTo>
                    <a:pt x="1301458" y="2284585"/>
                  </a:lnTo>
                  <a:lnTo>
                    <a:pt x="1301458" y="1911015"/>
                  </a:lnTo>
                  <a:lnTo>
                    <a:pt x="1292599" y="1911015"/>
                  </a:lnTo>
                  <a:lnTo>
                    <a:pt x="1292599" y="1723658"/>
                  </a:lnTo>
                  <a:cubicBezTo>
                    <a:pt x="1301334" y="1722286"/>
                    <a:pt x="1307296" y="1714104"/>
                    <a:pt x="1305934" y="1705370"/>
                  </a:cubicBezTo>
                  <a:cubicBezTo>
                    <a:pt x="1304563" y="1696645"/>
                    <a:pt x="1296381" y="1690673"/>
                    <a:pt x="1287646" y="1692035"/>
                  </a:cubicBezTo>
                  <a:cubicBezTo>
                    <a:pt x="1278912" y="1693406"/>
                    <a:pt x="1272949" y="1701598"/>
                    <a:pt x="1274311" y="1710323"/>
                  </a:cubicBezTo>
                  <a:cubicBezTo>
                    <a:pt x="1275388" y="1717190"/>
                    <a:pt x="1280779" y="1722581"/>
                    <a:pt x="1287646" y="1723658"/>
                  </a:cubicBezTo>
                  <a:lnTo>
                    <a:pt x="1287646" y="1911015"/>
                  </a:lnTo>
                  <a:lnTo>
                    <a:pt x="1281931" y="1911015"/>
                  </a:lnTo>
                  <a:lnTo>
                    <a:pt x="1281931" y="2284585"/>
                  </a:lnTo>
                  <a:close/>
                  <a:moveTo>
                    <a:pt x="3035389" y="2027886"/>
                  </a:moveTo>
                  <a:lnTo>
                    <a:pt x="3028054" y="2027886"/>
                  </a:lnTo>
                  <a:lnTo>
                    <a:pt x="3028054" y="1733373"/>
                  </a:lnTo>
                  <a:lnTo>
                    <a:pt x="2817076" y="1522395"/>
                  </a:lnTo>
                  <a:cubicBezTo>
                    <a:pt x="2824857" y="1512450"/>
                    <a:pt x="2823105" y="1498087"/>
                    <a:pt x="2813161" y="1490305"/>
                  </a:cubicBezTo>
                  <a:cubicBezTo>
                    <a:pt x="2803217" y="1482523"/>
                    <a:pt x="2788843" y="1484275"/>
                    <a:pt x="2781071" y="1494220"/>
                  </a:cubicBezTo>
                  <a:cubicBezTo>
                    <a:pt x="2773289" y="1504164"/>
                    <a:pt x="2775042" y="1518527"/>
                    <a:pt x="2784986" y="1526309"/>
                  </a:cubicBezTo>
                  <a:cubicBezTo>
                    <a:pt x="2793444" y="1532929"/>
                    <a:pt x="2805369" y="1532767"/>
                    <a:pt x="2813647" y="1525919"/>
                  </a:cubicBezTo>
                  <a:lnTo>
                    <a:pt x="3023197" y="1735469"/>
                  </a:lnTo>
                  <a:lnTo>
                    <a:pt x="3023197" y="2027982"/>
                  </a:lnTo>
                  <a:lnTo>
                    <a:pt x="3015862" y="2027982"/>
                  </a:lnTo>
                  <a:lnTo>
                    <a:pt x="3015862" y="2359833"/>
                  </a:lnTo>
                  <a:lnTo>
                    <a:pt x="3023197" y="2359833"/>
                  </a:lnTo>
                  <a:lnTo>
                    <a:pt x="3023197" y="2576336"/>
                  </a:lnTo>
                  <a:cubicBezTo>
                    <a:pt x="3015310" y="2577679"/>
                    <a:pt x="3010014" y="2585156"/>
                    <a:pt x="3011357" y="2593033"/>
                  </a:cubicBezTo>
                  <a:cubicBezTo>
                    <a:pt x="3012691" y="2600920"/>
                    <a:pt x="3020168" y="2606225"/>
                    <a:pt x="3028054" y="2604882"/>
                  </a:cubicBezTo>
                  <a:cubicBezTo>
                    <a:pt x="3035941" y="2603539"/>
                    <a:pt x="3041237" y="2596062"/>
                    <a:pt x="3039894" y="2588175"/>
                  </a:cubicBezTo>
                  <a:cubicBezTo>
                    <a:pt x="3038865" y="2582118"/>
                    <a:pt x="3034122" y="2577365"/>
                    <a:pt x="3028054" y="2576336"/>
                  </a:cubicBezTo>
                  <a:lnTo>
                    <a:pt x="3028054" y="2359737"/>
                  </a:lnTo>
                  <a:lnTo>
                    <a:pt x="3035389" y="2359737"/>
                  </a:lnTo>
                  <a:lnTo>
                    <a:pt x="3035389" y="2027886"/>
                  </a:lnTo>
                  <a:close/>
                  <a:moveTo>
                    <a:pt x="1973922" y="1629456"/>
                  </a:moveTo>
                  <a:lnTo>
                    <a:pt x="1973922" y="1636790"/>
                  </a:lnTo>
                  <a:lnTo>
                    <a:pt x="1757038" y="1636790"/>
                  </a:lnTo>
                  <a:cubicBezTo>
                    <a:pt x="1755667" y="1628055"/>
                    <a:pt x="1747485" y="1622093"/>
                    <a:pt x="1738750" y="1623455"/>
                  </a:cubicBezTo>
                  <a:cubicBezTo>
                    <a:pt x="1730025" y="1624826"/>
                    <a:pt x="1724053" y="1633008"/>
                    <a:pt x="1725415" y="1641743"/>
                  </a:cubicBezTo>
                  <a:cubicBezTo>
                    <a:pt x="1726787" y="1650477"/>
                    <a:pt x="1734978" y="1656440"/>
                    <a:pt x="1743703" y="1655078"/>
                  </a:cubicBezTo>
                  <a:cubicBezTo>
                    <a:pt x="1750571" y="1654001"/>
                    <a:pt x="1755962" y="1648610"/>
                    <a:pt x="1757038" y="1641743"/>
                  </a:cubicBezTo>
                  <a:lnTo>
                    <a:pt x="1973922" y="1641743"/>
                  </a:lnTo>
                  <a:lnTo>
                    <a:pt x="1973922" y="1649077"/>
                  </a:lnTo>
                  <a:lnTo>
                    <a:pt x="2293391" y="1649077"/>
                  </a:lnTo>
                  <a:lnTo>
                    <a:pt x="2293391" y="1642219"/>
                  </a:lnTo>
                  <a:lnTo>
                    <a:pt x="2374735" y="1642219"/>
                  </a:lnTo>
                  <a:lnTo>
                    <a:pt x="2633148" y="1900632"/>
                  </a:lnTo>
                  <a:lnTo>
                    <a:pt x="2826791" y="1900632"/>
                  </a:lnTo>
                  <a:cubicBezTo>
                    <a:pt x="2828134" y="1908519"/>
                    <a:pt x="2835611" y="1913815"/>
                    <a:pt x="2843489" y="1912472"/>
                  </a:cubicBezTo>
                  <a:cubicBezTo>
                    <a:pt x="2851375" y="1911138"/>
                    <a:pt x="2856681" y="1903661"/>
                    <a:pt x="2855338" y="1895774"/>
                  </a:cubicBezTo>
                  <a:cubicBezTo>
                    <a:pt x="2853995" y="1887888"/>
                    <a:pt x="2846518" y="1882592"/>
                    <a:pt x="2838631" y="1883935"/>
                  </a:cubicBezTo>
                  <a:cubicBezTo>
                    <a:pt x="2832573" y="1884964"/>
                    <a:pt x="2827820" y="1889707"/>
                    <a:pt x="2826791" y="1895774"/>
                  </a:cubicBezTo>
                  <a:lnTo>
                    <a:pt x="2635243" y="1895774"/>
                  </a:lnTo>
                  <a:lnTo>
                    <a:pt x="2376735" y="1636790"/>
                  </a:lnTo>
                  <a:lnTo>
                    <a:pt x="2293391" y="1636790"/>
                  </a:lnTo>
                  <a:lnTo>
                    <a:pt x="2293391" y="1629456"/>
                  </a:lnTo>
                  <a:close/>
                  <a:moveTo>
                    <a:pt x="652995" y="2086656"/>
                  </a:moveTo>
                  <a:lnTo>
                    <a:pt x="648138" y="2086656"/>
                  </a:lnTo>
                  <a:lnTo>
                    <a:pt x="648138" y="1673175"/>
                  </a:lnTo>
                  <a:lnTo>
                    <a:pt x="331051" y="1356469"/>
                  </a:lnTo>
                  <a:cubicBezTo>
                    <a:pt x="339131" y="1346496"/>
                    <a:pt x="337595" y="1331856"/>
                    <a:pt x="327622" y="1323779"/>
                  </a:cubicBezTo>
                  <a:cubicBezTo>
                    <a:pt x="317648" y="1315702"/>
                    <a:pt x="303013" y="1317236"/>
                    <a:pt x="294933" y="1327208"/>
                  </a:cubicBezTo>
                  <a:cubicBezTo>
                    <a:pt x="286854" y="1337181"/>
                    <a:pt x="288389" y="1351821"/>
                    <a:pt x="298362" y="1359898"/>
                  </a:cubicBezTo>
                  <a:cubicBezTo>
                    <a:pt x="306891" y="1366804"/>
                    <a:pt x="319092" y="1366804"/>
                    <a:pt x="327622" y="1359898"/>
                  </a:cubicBezTo>
                  <a:lnTo>
                    <a:pt x="643185" y="1675557"/>
                  </a:lnTo>
                  <a:lnTo>
                    <a:pt x="643185" y="2087132"/>
                  </a:lnTo>
                  <a:lnTo>
                    <a:pt x="638327" y="2087132"/>
                  </a:lnTo>
                  <a:lnTo>
                    <a:pt x="638327" y="2533854"/>
                  </a:lnTo>
                  <a:lnTo>
                    <a:pt x="643185" y="2533854"/>
                  </a:lnTo>
                  <a:lnTo>
                    <a:pt x="643185" y="2669205"/>
                  </a:lnTo>
                  <a:cubicBezTo>
                    <a:pt x="635365" y="2670576"/>
                    <a:pt x="630126" y="2678025"/>
                    <a:pt x="631498" y="2685845"/>
                  </a:cubicBezTo>
                  <a:cubicBezTo>
                    <a:pt x="632860" y="2693674"/>
                    <a:pt x="640308" y="2698903"/>
                    <a:pt x="648138" y="2697542"/>
                  </a:cubicBezTo>
                  <a:cubicBezTo>
                    <a:pt x="655958" y="2696170"/>
                    <a:pt x="661197" y="2688721"/>
                    <a:pt x="659825" y="2680892"/>
                  </a:cubicBezTo>
                  <a:cubicBezTo>
                    <a:pt x="658787" y="2674929"/>
                    <a:pt x="654110" y="2670252"/>
                    <a:pt x="648138" y="2669205"/>
                  </a:cubicBezTo>
                  <a:lnTo>
                    <a:pt x="648138" y="2533473"/>
                  </a:lnTo>
                  <a:lnTo>
                    <a:pt x="652995" y="2533473"/>
                  </a:lnTo>
                  <a:lnTo>
                    <a:pt x="652995" y="2086751"/>
                  </a:lnTo>
                  <a:close/>
                  <a:moveTo>
                    <a:pt x="1576444" y="1777569"/>
                  </a:moveTo>
                  <a:lnTo>
                    <a:pt x="1576444" y="2172476"/>
                  </a:lnTo>
                  <a:lnTo>
                    <a:pt x="1569586" y="2172476"/>
                  </a:lnTo>
                  <a:lnTo>
                    <a:pt x="1569586" y="2490897"/>
                  </a:lnTo>
                  <a:lnTo>
                    <a:pt x="1555108" y="2505375"/>
                  </a:lnTo>
                  <a:lnTo>
                    <a:pt x="1556442" y="2506803"/>
                  </a:lnTo>
                  <a:lnTo>
                    <a:pt x="1404042" y="2659203"/>
                  </a:lnTo>
                  <a:lnTo>
                    <a:pt x="1402708" y="2657775"/>
                  </a:lnTo>
                  <a:lnTo>
                    <a:pt x="1350797" y="2709686"/>
                  </a:lnTo>
                  <a:cubicBezTo>
                    <a:pt x="1357103" y="2718106"/>
                    <a:pt x="1355379" y="2730050"/>
                    <a:pt x="1346959" y="2736356"/>
                  </a:cubicBezTo>
                  <a:cubicBezTo>
                    <a:pt x="1338538" y="2742652"/>
                    <a:pt x="1326594" y="2740937"/>
                    <a:pt x="1320298" y="2732517"/>
                  </a:cubicBezTo>
                  <a:cubicBezTo>
                    <a:pt x="1313993" y="2724088"/>
                    <a:pt x="1315707" y="2712153"/>
                    <a:pt x="1324127" y="2705847"/>
                  </a:cubicBezTo>
                  <a:cubicBezTo>
                    <a:pt x="1330766" y="2700885"/>
                    <a:pt x="1339853" y="2700780"/>
                    <a:pt x="1346606" y="2705590"/>
                  </a:cubicBezTo>
                  <a:lnTo>
                    <a:pt x="1398517" y="2653679"/>
                  </a:lnTo>
                  <a:lnTo>
                    <a:pt x="1397184" y="2652250"/>
                  </a:lnTo>
                  <a:lnTo>
                    <a:pt x="1549584" y="2499850"/>
                  </a:lnTo>
                  <a:lnTo>
                    <a:pt x="1550917" y="2501279"/>
                  </a:lnTo>
                  <a:lnTo>
                    <a:pt x="1563776" y="2488420"/>
                  </a:lnTo>
                  <a:lnTo>
                    <a:pt x="1563776" y="2172571"/>
                  </a:lnTo>
                  <a:lnTo>
                    <a:pt x="1556918" y="2172571"/>
                  </a:lnTo>
                  <a:lnTo>
                    <a:pt x="1556918" y="1777665"/>
                  </a:lnTo>
                  <a:lnTo>
                    <a:pt x="1563776" y="1777665"/>
                  </a:lnTo>
                  <a:lnTo>
                    <a:pt x="1563776" y="1599452"/>
                  </a:lnTo>
                  <a:cubicBezTo>
                    <a:pt x="1554337" y="1597852"/>
                    <a:pt x="1547984" y="1588898"/>
                    <a:pt x="1549593" y="1579459"/>
                  </a:cubicBezTo>
                  <a:cubicBezTo>
                    <a:pt x="1551194" y="1570020"/>
                    <a:pt x="1560147" y="1563666"/>
                    <a:pt x="1569586" y="1565267"/>
                  </a:cubicBezTo>
                  <a:cubicBezTo>
                    <a:pt x="1579026" y="1566876"/>
                    <a:pt x="1585379" y="1575830"/>
                    <a:pt x="1583769" y="1585269"/>
                  </a:cubicBezTo>
                  <a:cubicBezTo>
                    <a:pt x="1582540" y="1592527"/>
                    <a:pt x="1576844" y="1598214"/>
                    <a:pt x="1569586" y="1599452"/>
                  </a:cubicBezTo>
                  <a:lnTo>
                    <a:pt x="1569586" y="1777665"/>
                  </a:lnTo>
                  <a:close/>
                  <a:moveTo>
                    <a:pt x="390391" y="2582337"/>
                  </a:moveTo>
                  <a:cubicBezTo>
                    <a:pt x="399250" y="2591557"/>
                    <a:pt x="413899" y="2591843"/>
                    <a:pt x="423119" y="2582984"/>
                  </a:cubicBezTo>
                  <a:cubicBezTo>
                    <a:pt x="431911" y="2574536"/>
                    <a:pt x="432635" y="2560705"/>
                    <a:pt x="424777" y="2551380"/>
                  </a:cubicBezTo>
                  <a:lnTo>
                    <a:pt x="473354" y="2502803"/>
                  </a:lnTo>
                  <a:lnTo>
                    <a:pt x="473354" y="2119517"/>
                  </a:lnTo>
                  <a:cubicBezTo>
                    <a:pt x="481174" y="2118145"/>
                    <a:pt x="486413" y="2110697"/>
                    <a:pt x="485041" y="2102877"/>
                  </a:cubicBezTo>
                  <a:cubicBezTo>
                    <a:pt x="483679" y="2095047"/>
                    <a:pt x="476221" y="2089818"/>
                    <a:pt x="468401" y="2091180"/>
                  </a:cubicBezTo>
                  <a:cubicBezTo>
                    <a:pt x="460581" y="2092551"/>
                    <a:pt x="455342" y="2100000"/>
                    <a:pt x="456714" y="2107830"/>
                  </a:cubicBezTo>
                  <a:cubicBezTo>
                    <a:pt x="457752" y="2113792"/>
                    <a:pt x="462429" y="2118469"/>
                    <a:pt x="468401" y="2119517"/>
                  </a:cubicBezTo>
                  <a:lnTo>
                    <a:pt x="468401" y="2500517"/>
                  </a:lnTo>
                  <a:lnTo>
                    <a:pt x="421348" y="2547666"/>
                  </a:lnTo>
                  <a:cubicBezTo>
                    <a:pt x="411575" y="2539427"/>
                    <a:pt x="396973" y="2540674"/>
                    <a:pt x="388734" y="2550447"/>
                  </a:cubicBezTo>
                  <a:cubicBezTo>
                    <a:pt x="380866" y="2559772"/>
                    <a:pt x="381600" y="2573602"/>
                    <a:pt x="390391" y="2582051"/>
                  </a:cubicBezTo>
                  <a:close/>
                  <a:moveTo>
                    <a:pt x="393820" y="2553000"/>
                  </a:moveTo>
                  <a:cubicBezTo>
                    <a:pt x="400974" y="2545865"/>
                    <a:pt x="412556" y="2545894"/>
                    <a:pt x="419681" y="2553047"/>
                  </a:cubicBezTo>
                  <a:cubicBezTo>
                    <a:pt x="426815" y="2560201"/>
                    <a:pt x="426796" y="2571773"/>
                    <a:pt x="419643" y="2578908"/>
                  </a:cubicBezTo>
                  <a:cubicBezTo>
                    <a:pt x="412499" y="2586023"/>
                    <a:pt x="400955" y="2586023"/>
                    <a:pt x="393820" y="2578908"/>
                  </a:cubicBezTo>
                  <a:cubicBezTo>
                    <a:pt x="386705" y="2571735"/>
                    <a:pt x="386705" y="2560172"/>
                    <a:pt x="393820" y="2553000"/>
                  </a:cubicBezTo>
                  <a:close/>
                  <a:moveTo>
                    <a:pt x="2052694" y="819926"/>
                  </a:moveTo>
                  <a:cubicBezTo>
                    <a:pt x="2052437" y="807096"/>
                    <a:pt x="2041836" y="796894"/>
                    <a:pt x="2028996" y="797151"/>
                  </a:cubicBezTo>
                  <a:cubicBezTo>
                    <a:pt x="2017471" y="797371"/>
                    <a:pt x="2007860" y="806010"/>
                    <a:pt x="2006403" y="817449"/>
                  </a:cubicBezTo>
                  <a:lnTo>
                    <a:pt x="1752562" y="817449"/>
                  </a:lnTo>
                  <a:lnTo>
                    <a:pt x="1452334" y="517316"/>
                  </a:lnTo>
                  <a:cubicBezTo>
                    <a:pt x="1456639" y="511473"/>
                    <a:pt x="1455991" y="503351"/>
                    <a:pt x="1450810" y="498266"/>
                  </a:cubicBezTo>
                  <a:cubicBezTo>
                    <a:pt x="1445171" y="492670"/>
                    <a:pt x="1436065" y="492702"/>
                    <a:pt x="1430474" y="498339"/>
                  </a:cubicBezTo>
                  <a:cubicBezTo>
                    <a:pt x="1424873" y="503976"/>
                    <a:pt x="1424902" y="513083"/>
                    <a:pt x="1430540" y="518679"/>
                  </a:cubicBezTo>
                  <a:cubicBezTo>
                    <a:pt x="1435474" y="523577"/>
                    <a:pt x="1443199" y="524246"/>
                    <a:pt x="1448905" y="520269"/>
                  </a:cubicBezTo>
                  <a:lnTo>
                    <a:pt x="1750466" y="821831"/>
                  </a:lnTo>
                  <a:lnTo>
                    <a:pt x="2006403" y="821831"/>
                  </a:lnTo>
                  <a:cubicBezTo>
                    <a:pt x="2008013" y="834566"/>
                    <a:pt x="2019643" y="843576"/>
                    <a:pt x="2032378" y="841967"/>
                  </a:cubicBezTo>
                  <a:cubicBezTo>
                    <a:pt x="2043789" y="840519"/>
                    <a:pt x="2052428" y="830946"/>
                    <a:pt x="2052694" y="819450"/>
                  </a:cubicBezTo>
                  <a:close/>
                  <a:moveTo>
                    <a:pt x="2029453" y="838214"/>
                  </a:moveTo>
                  <a:cubicBezTo>
                    <a:pt x="2019300" y="838271"/>
                    <a:pt x="2011032" y="830079"/>
                    <a:pt x="2010975" y="819926"/>
                  </a:cubicBezTo>
                  <a:cubicBezTo>
                    <a:pt x="2010927" y="809772"/>
                    <a:pt x="2019109" y="801504"/>
                    <a:pt x="2029263" y="801447"/>
                  </a:cubicBezTo>
                  <a:cubicBezTo>
                    <a:pt x="2039416" y="801400"/>
                    <a:pt x="2047694" y="809582"/>
                    <a:pt x="2047741" y="819735"/>
                  </a:cubicBezTo>
                  <a:cubicBezTo>
                    <a:pt x="2047741" y="819802"/>
                    <a:pt x="2047741" y="819859"/>
                    <a:pt x="2047741" y="819926"/>
                  </a:cubicBezTo>
                  <a:cubicBezTo>
                    <a:pt x="2047694" y="830003"/>
                    <a:pt x="2039531" y="838166"/>
                    <a:pt x="2029453" y="838214"/>
                  </a:cubicBezTo>
                  <a:close/>
                  <a:moveTo>
                    <a:pt x="2414168" y="1781189"/>
                  </a:moveTo>
                  <a:cubicBezTo>
                    <a:pt x="2405319" y="1790485"/>
                    <a:pt x="2405691" y="1805201"/>
                    <a:pt x="2414987" y="1814050"/>
                  </a:cubicBezTo>
                  <a:cubicBezTo>
                    <a:pt x="2423265" y="1821927"/>
                    <a:pt x="2436047" y="1822613"/>
                    <a:pt x="2445124" y="1815669"/>
                  </a:cubicBezTo>
                  <a:lnTo>
                    <a:pt x="2650198" y="2020647"/>
                  </a:lnTo>
                  <a:lnTo>
                    <a:pt x="2800883" y="2020647"/>
                  </a:lnTo>
                  <a:cubicBezTo>
                    <a:pt x="2802121" y="2027572"/>
                    <a:pt x="2808132" y="2032620"/>
                    <a:pt x="2815171" y="2032649"/>
                  </a:cubicBezTo>
                  <a:cubicBezTo>
                    <a:pt x="2823162" y="2032649"/>
                    <a:pt x="2829649" y="2026162"/>
                    <a:pt x="2829639" y="2018161"/>
                  </a:cubicBezTo>
                  <a:cubicBezTo>
                    <a:pt x="2829639" y="2010170"/>
                    <a:pt x="2823153" y="2003693"/>
                    <a:pt x="2815161" y="2003693"/>
                  </a:cubicBezTo>
                  <a:cubicBezTo>
                    <a:pt x="2808084" y="2003693"/>
                    <a:pt x="2802045" y="2008808"/>
                    <a:pt x="2800883" y="2015790"/>
                  </a:cubicBezTo>
                  <a:lnTo>
                    <a:pt x="2652198" y="2015790"/>
                  </a:lnTo>
                  <a:lnTo>
                    <a:pt x="2449125" y="1812050"/>
                  </a:lnTo>
                  <a:cubicBezTo>
                    <a:pt x="2456926" y="1801858"/>
                    <a:pt x="2454973" y="1787266"/>
                    <a:pt x="2444782" y="1779474"/>
                  </a:cubicBezTo>
                  <a:cubicBezTo>
                    <a:pt x="2435704" y="1772531"/>
                    <a:pt x="2422922" y="1773216"/>
                    <a:pt x="2414644" y="1781094"/>
                  </a:cubicBezTo>
                  <a:close/>
                  <a:moveTo>
                    <a:pt x="2443505" y="1784618"/>
                  </a:moveTo>
                  <a:cubicBezTo>
                    <a:pt x="2450639" y="1791771"/>
                    <a:pt x="2450611" y="1803354"/>
                    <a:pt x="2443458" y="1810478"/>
                  </a:cubicBezTo>
                  <a:cubicBezTo>
                    <a:pt x="2436304" y="1817612"/>
                    <a:pt x="2424731" y="1817593"/>
                    <a:pt x="2417597" y="1810440"/>
                  </a:cubicBezTo>
                  <a:cubicBezTo>
                    <a:pt x="2410482" y="1803296"/>
                    <a:pt x="2410482" y="1791752"/>
                    <a:pt x="2417597" y="1784618"/>
                  </a:cubicBezTo>
                  <a:cubicBezTo>
                    <a:pt x="2424769" y="1777503"/>
                    <a:pt x="2436333" y="1777503"/>
                    <a:pt x="2443505" y="1784618"/>
                  </a:cubicBezTo>
                  <a:close/>
                  <a:moveTo>
                    <a:pt x="3409626" y="1640028"/>
                  </a:moveTo>
                  <a:cubicBezTo>
                    <a:pt x="3422456" y="1639771"/>
                    <a:pt x="3432657" y="1629170"/>
                    <a:pt x="3432400" y="1616330"/>
                  </a:cubicBezTo>
                  <a:cubicBezTo>
                    <a:pt x="3432181" y="1604805"/>
                    <a:pt x="3423542" y="1595194"/>
                    <a:pt x="3412102" y="1593737"/>
                  </a:cubicBezTo>
                  <a:lnTo>
                    <a:pt x="3412102" y="1076815"/>
                  </a:lnTo>
                  <a:lnTo>
                    <a:pt x="3529260" y="959562"/>
                  </a:lnTo>
                  <a:cubicBezTo>
                    <a:pt x="3536166" y="963487"/>
                    <a:pt x="3544948" y="961077"/>
                    <a:pt x="3548872" y="954171"/>
                  </a:cubicBezTo>
                  <a:cubicBezTo>
                    <a:pt x="3552806" y="947265"/>
                    <a:pt x="3550386" y="938483"/>
                    <a:pt x="3543481" y="934559"/>
                  </a:cubicBezTo>
                  <a:cubicBezTo>
                    <a:pt x="3536575" y="930635"/>
                    <a:pt x="3527803" y="933045"/>
                    <a:pt x="3523869" y="939950"/>
                  </a:cubicBezTo>
                  <a:cubicBezTo>
                    <a:pt x="3520868" y="945227"/>
                    <a:pt x="3521507" y="951809"/>
                    <a:pt x="3525450" y="956419"/>
                  </a:cubicBezTo>
                  <a:lnTo>
                    <a:pt x="3406768" y="1075101"/>
                  </a:lnTo>
                  <a:lnTo>
                    <a:pt x="3406768" y="1593641"/>
                  </a:lnTo>
                  <a:cubicBezTo>
                    <a:pt x="3394034" y="1595261"/>
                    <a:pt x="3385023" y="1606900"/>
                    <a:pt x="3386652" y="1619635"/>
                  </a:cubicBezTo>
                  <a:cubicBezTo>
                    <a:pt x="3388099" y="1631065"/>
                    <a:pt x="3397720" y="1639704"/>
                    <a:pt x="3409245" y="1639933"/>
                  </a:cubicBezTo>
                  <a:close/>
                  <a:moveTo>
                    <a:pt x="3391338" y="1616787"/>
                  </a:moveTo>
                  <a:cubicBezTo>
                    <a:pt x="3391338" y="1606691"/>
                    <a:pt x="3399529" y="1598499"/>
                    <a:pt x="3409626" y="1598499"/>
                  </a:cubicBezTo>
                  <a:cubicBezTo>
                    <a:pt x="3419722" y="1598499"/>
                    <a:pt x="3427914" y="1606691"/>
                    <a:pt x="3427914" y="1616787"/>
                  </a:cubicBezTo>
                  <a:cubicBezTo>
                    <a:pt x="3427914" y="1626884"/>
                    <a:pt x="3419722" y="1635075"/>
                    <a:pt x="3409626" y="1635075"/>
                  </a:cubicBezTo>
                  <a:cubicBezTo>
                    <a:pt x="3399529" y="1635075"/>
                    <a:pt x="3391338" y="1626884"/>
                    <a:pt x="3391338" y="1616787"/>
                  </a:cubicBezTo>
                  <a:close/>
                  <a:moveTo>
                    <a:pt x="908170" y="2469751"/>
                  </a:moveTo>
                  <a:cubicBezTo>
                    <a:pt x="921000" y="2469494"/>
                    <a:pt x="931202" y="2458892"/>
                    <a:pt x="930945" y="2446053"/>
                  </a:cubicBezTo>
                  <a:cubicBezTo>
                    <a:pt x="930725" y="2434528"/>
                    <a:pt x="922077" y="2424917"/>
                    <a:pt x="910647" y="2423459"/>
                  </a:cubicBezTo>
                  <a:lnTo>
                    <a:pt x="910647" y="1651173"/>
                  </a:lnTo>
                  <a:lnTo>
                    <a:pt x="593941" y="1334561"/>
                  </a:lnTo>
                  <a:cubicBezTo>
                    <a:pt x="598532" y="1328075"/>
                    <a:pt x="596998" y="1319102"/>
                    <a:pt x="590512" y="1314511"/>
                  </a:cubicBezTo>
                  <a:cubicBezTo>
                    <a:pt x="584025" y="1309920"/>
                    <a:pt x="575052" y="1311454"/>
                    <a:pt x="570461" y="1317940"/>
                  </a:cubicBezTo>
                  <a:cubicBezTo>
                    <a:pt x="565870" y="1324427"/>
                    <a:pt x="567404" y="1333399"/>
                    <a:pt x="573890" y="1337990"/>
                  </a:cubicBezTo>
                  <a:cubicBezTo>
                    <a:pt x="578872" y="1341515"/>
                    <a:pt x="585530" y="1341515"/>
                    <a:pt x="590512" y="1337990"/>
                  </a:cubicBezTo>
                  <a:lnTo>
                    <a:pt x="906075" y="1653173"/>
                  </a:lnTo>
                  <a:lnTo>
                    <a:pt x="906075" y="2423269"/>
                  </a:lnTo>
                  <a:cubicBezTo>
                    <a:pt x="893340" y="2424888"/>
                    <a:pt x="884329" y="2436528"/>
                    <a:pt x="885958" y="2449263"/>
                  </a:cubicBezTo>
                  <a:cubicBezTo>
                    <a:pt x="887406" y="2460693"/>
                    <a:pt x="897026" y="2469332"/>
                    <a:pt x="908551" y="2469560"/>
                  </a:cubicBezTo>
                  <a:close/>
                  <a:moveTo>
                    <a:pt x="889882" y="2446510"/>
                  </a:moveTo>
                  <a:cubicBezTo>
                    <a:pt x="889882" y="2456607"/>
                    <a:pt x="898074" y="2464798"/>
                    <a:pt x="908170" y="2464798"/>
                  </a:cubicBezTo>
                  <a:cubicBezTo>
                    <a:pt x="918267" y="2464798"/>
                    <a:pt x="926458" y="2456607"/>
                    <a:pt x="926458" y="2446510"/>
                  </a:cubicBezTo>
                  <a:cubicBezTo>
                    <a:pt x="926458" y="2436414"/>
                    <a:pt x="918267" y="2428222"/>
                    <a:pt x="908170" y="2428222"/>
                  </a:cubicBezTo>
                  <a:cubicBezTo>
                    <a:pt x="898074" y="2428222"/>
                    <a:pt x="889882" y="2436414"/>
                    <a:pt x="889882" y="2446510"/>
                  </a:cubicBezTo>
                  <a:close/>
                  <a:moveTo>
                    <a:pt x="3233032" y="1335038"/>
                  </a:moveTo>
                  <a:cubicBezTo>
                    <a:pt x="3242053" y="1325903"/>
                    <a:pt x="3241948" y="1311187"/>
                    <a:pt x="3232813" y="1302167"/>
                  </a:cubicBezTo>
                  <a:cubicBezTo>
                    <a:pt x="3224431" y="1293899"/>
                    <a:pt x="3211182" y="1293204"/>
                    <a:pt x="3201981" y="1300557"/>
                  </a:cubicBezTo>
                  <a:lnTo>
                    <a:pt x="2924613" y="1023094"/>
                  </a:lnTo>
                  <a:lnTo>
                    <a:pt x="3339046" y="608566"/>
                  </a:lnTo>
                  <a:cubicBezTo>
                    <a:pt x="3345532" y="613157"/>
                    <a:pt x="3354505" y="611624"/>
                    <a:pt x="3359096" y="605137"/>
                  </a:cubicBezTo>
                  <a:cubicBezTo>
                    <a:pt x="3363687" y="598650"/>
                    <a:pt x="3362153" y="589678"/>
                    <a:pt x="3355667" y="585087"/>
                  </a:cubicBezTo>
                  <a:cubicBezTo>
                    <a:pt x="3349180" y="580496"/>
                    <a:pt x="3340208" y="582029"/>
                    <a:pt x="3335617" y="588516"/>
                  </a:cubicBezTo>
                  <a:cubicBezTo>
                    <a:pt x="3332093" y="593497"/>
                    <a:pt x="3332093" y="600155"/>
                    <a:pt x="3335617" y="605137"/>
                  </a:cubicBezTo>
                  <a:lnTo>
                    <a:pt x="2917660" y="1023094"/>
                  </a:lnTo>
                  <a:lnTo>
                    <a:pt x="3198647" y="1304082"/>
                  </a:lnTo>
                  <a:cubicBezTo>
                    <a:pt x="3190846" y="1314273"/>
                    <a:pt x="3192799" y="1328866"/>
                    <a:pt x="3202991" y="1336657"/>
                  </a:cubicBezTo>
                  <a:cubicBezTo>
                    <a:pt x="3212068" y="1343601"/>
                    <a:pt x="3224851" y="1342915"/>
                    <a:pt x="3233128" y="1335038"/>
                  </a:cubicBezTo>
                  <a:close/>
                  <a:moveTo>
                    <a:pt x="3203600" y="1331609"/>
                  </a:moveTo>
                  <a:cubicBezTo>
                    <a:pt x="3210753" y="1338743"/>
                    <a:pt x="3222336" y="1338714"/>
                    <a:pt x="3229460" y="1331561"/>
                  </a:cubicBezTo>
                  <a:cubicBezTo>
                    <a:pt x="3236595" y="1324408"/>
                    <a:pt x="3236576" y="1312835"/>
                    <a:pt x="3229422" y="1305701"/>
                  </a:cubicBezTo>
                  <a:cubicBezTo>
                    <a:pt x="3222279" y="1298586"/>
                    <a:pt x="3210735" y="1298586"/>
                    <a:pt x="3203600" y="1305701"/>
                  </a:cubicBezTo>
                  <a:cubicBezTo>
                    <a:pt x="3196485" y="1312873"/>
                    <a:pt x="3196485" y="1324436"/>
                    <a:pt x="3203600" y="1331609"/>
                  </a:cubicBezTo>
                  <a:close/>
                  <a:moveTo>
                    <a:pt x="1726273" y="891840"/>
                  </a:moveTo>
                  <a:cubicBezTo>
                    <a:pt x="1726530" y="904670"/>
                    <a:pt x="1737131" y="914871"/>
                    <a:pt x="1749971" y="914614"/>
                  </a:cubicBezTo>
                  <a:cubicBezTo>
                    <a:pt x="1761496" y="914395"/>
                    <a:pt x="1771107" y="905746"/>
                    <a:pt x="1772564" y="894316"/>
                  </a:cubicBezTo>
                  <a:lnTo>
                    <a:pt x="2367877" y="894316"/>
                  </a:lnTo>
                  <a:lnTo>
                    <a:pt x="2698394" y="563798"/>
                  </a:lnTo>
                  <a:cubicBezTo>
                    <a:pt x="2704919" y="568428"/>
                    <a:pt x="2713949" y="566894"/>
                    <a:pt x="2718578" y="560369"/>
                  </a:cubicBezTo>
                  <a:cubicBezTo>
                    <a:pt x="2723207" y="553849"/>
                    <a:pt x="2721673" y="544811"/>
                    <a:pt x="2715148" y="540184"/>
                  </a:cubicBezTo>
                  <a:cubicBezTo>
                    <a:pt x="2708633" y="535556"/>
                    <a:pt x="2699594" y="537091"/>
                    <a:pt x="2694965" y="543613"/>
                  </a:cubicBezTo>
                  <a:cubicBezTo>
                    <a:pt x="2691403" y="548631"/>
                    <a:pt x="2691403" y="555352"/>
                    <a:pt x="2694965" y="560369"/>
                  </a:cubicBezTo>
                  <a:lnTo>
                    <a:pt x="2365876" y="889744"/>
                  </a:lnTo>
                  <a:lnTo>
                    <a:pt x="1772850" y="889744"/>
                  </a:lnTo>
                  <a:cubicBezTo>
                    <a:pt x="1771240" y="877009"/>
                    <a:pt x="1759610" y="867998"/>
                    <a:pt x="1746875" y="869608"/>
                  </a:cubicBezTo>
                  <a:cubicBezTo>
                    <a:pt x="1735464" y="871056"/>
                    <a:pt x="1726825" y="880629"/>
                    <a:pt x="1726558" y="892125"/>
                  </a:cubicBezTo>
                  <a:close/>
                  <a:moveTo>
                    <a:pt x="1749514" y="873552"/>
                  </a:moveTo>
                  <a:cubicBezTo>
                    <a:pt x="1759667" y="873494"/>
                    <a:pt x="1767935" y="881686"/>
                    <a:pt x="1767992" y="891840"/>
                  </a:cubicBezTo>
                  <a:cubicBezTo>
                    <a:pt x="1768040" y="901993"/>
                    <a:pt x="1759858" y="910261"/>
                    <a:pt x="1749704" y="910318"/>
                  </a:cubicBezTo>
                  <a:cubicBezTo>
                    <a:pt x="1739550" y="910366"/>
                    <a:pt x="1731283" y="902184"/>
                    <a:pt x="1731226" y="892030"/>
                  </a:cubicBezTo>
                  <a:cubicBezTo>
                    <a:pt x="1731226" y="891963"/>
                    <a:pt x="1731226" y="891906"/>
                    <a:pt x="1731226" y="891840"/>
                  </a:cubicBezTo>
                  <a:cubicBezTo>
                    <a:pt x="1731226" y="881743"/>
                    <a:pt x="1739417" y="873552"/>
                    <a:pt x="1749514" y="873552"/>
                  </a:cubicBezTo>
                  <a:close/>
                  <a:moveTo>
                    <a:pt x="2225192" y="549702"/>
                  </a:moveTo>
                  <a:cubicBezTo>
                    <a:pt x="2216172" y="540566"/>
                    <a:pt x="2216277" y="525851"/>
                    <a:pt x="2225411" y="516835"/>
                  </a:cubicBezTo>
                  <a:cubicBezTo>
                    <a:pt x="2233793" y="508560"/>
                    <a:pt x="2247042" y="507867"/>
                    <a:pt x="2256244" y="515221"/>
                  </a:cubicBezTo>
                  <a:lnTo>
                    <a:pt x="2464651" y="306719"/>
                  </a:lnTo>
                  <a:lnTo>
                    <a:pt x="2464651" y="52687"/>
                  </a:lnTo>
                  <a:cubicBezTo>
                    <a:pt x="2456764" y="51346"/>
                    <a:pt x="2451468" y="43868"/>
                    <a:pt x="2452811" y="35985"/>
                  </a:cubicBezTo>
                  <a:cubicBezTo>
                    <a:pt x="2454145" y="28103"/>
                    <a:pt x="2461622" y="22800"/>
                    <a:pt x="2469509" y="24141"/>
                  </a:cubicBezTo>
                  <a:cubicBezTo>
                    <a:pt x="2477395" y="25483"/>
                    <a:pt x="2482691" y="32961"/>
                    <a:pt x="2481348" y="40843"/>
                  </a:cubicBezTo>
                  <a:cubicBezTo>
                    <a:pt x="2480319" y="46906"/>
                    <a:pt x="2475576" y="51655"/>
                    <a:pt x="2469509" y="52687"/>
                  </a:cubicBezTo>
                  <a:lnTo>
                    <a:pt x="2469509" y="308719"/>
                  </a:lnTo>
                  <a:lnTo>
                    <a:pt x="2259959" y="518269"/>
                  </a:lnTo>
                  <a:cubicBezTo>
                    <a:pt x="2267969" y="528296"/>
                    <a:pt x="2266340" y="542921"/>
                    <a:pt x="2256310" y="550934"/>
                  </a:cubicBezTo>
                  <a:cubicBezTo>
                    <a:pt x="2247109" y="558288"/>
                    <a:pt x="2233860" y="557595"/>
                    <a:pt x="2225478" y="549321"/>
                  </a:cubicBezTo>
                  <a:close/>
                  <a:moveTo>
                    <a:pt x="2228716" y="520269"/>
                  </a:moveTo>
                  <a:cubicBezTo>
                    <a:pt x="2235870" y="513140"/>
                    <a:pt x="2247452" y="513160"/>
                    <a:pt x="2254577" y="520314"/>
                  </a:cubicBezTo>
                  <a:cubicBezTo>
                    <a:pt x="2261711" y="527468"/>
                    <a:pt x="2261692" y="539048"/>
                    <a:pt x="2254539" y="546177"/>
                  </a:cubicBezTo>
                  <a:cubicBezTo>
                    <a:pt x="2247395" y="553290"/>
                    <a:pt x="2235851" y="553290"/>
                    <a:pt x="2228716" y="546177"/>
                  </a:cubicBezTo>
                  <a:cubicBezTo>
                    <a:pt x="2221601" y="539009"/>
                    <a:pt x="2221601" y="527438"/>
                    <a:pt x="2228716" y="520269"/>
                  </a:cubicBezTo>
                  <a:close/>
                  <a:moveTo>
                    <a:pt x="1915439" y="701244"/>
                  </a:moveTo>
                  <a:cubicBezTo>
                    <a:pt x="1915696" y="714074"/>
                    <a:pt x="1926297" y="724276"/>
                    <a:pt x="1939137" y="724018"/>
                  </a:cubicBezTo>
                  <a:cubicBezTo>
                    <a:pt x="1950663" y="723799"/>
                    <a:pt x="1960273" y="715160"/>
                    <a:pt x="1961730" y="703721"/>
                  </a:cubicBezTo>
                  <a:lnTo>
                    <a:pt x="2266531" y="703721"/>
                  </a:lnTo>
                  <a:lnTo>
                    <a:pt x="2545137" y="425019"/>
                  </a:lnTo>
                  <a:lnTo>
                    <a:pt x="2545137" y="67736"/>
                  </a:lnTo>
                  <a:cubicBezTo>
                    <a:pt x="2553024" y="66395"/>
                    <a:pt x="2558319" y="58917"/>
                    <a:pt x="2556976" y="51034"/>
                  </a:cubicBezTo>
                  <a:cubicBezTo>
                    <a:pt x="2555643" y="43152"/>
                    <a:pt x="2548166" y="37850"/>
                    <a:pt x="2540279" y="39191"/>
                  </a:cubicBezTo>
                  <a:cubicBezTo>
                    <a:pt x="2532392" y="40532"/>
                    <a:pt x="2527097" y="48010"/>
                    <a:pt x="2528440" y="55892"/>
                  </a:cubicBezTo>
                  <a:cubicBezTo>
                    <a:pt x="2529468" y="61956"/>
                    <a:pt x="2534212" y="66705"/>
                    <a:pt x="2540279" y="67736"/>
                  </a:cubicBezTo>
                  <a:lnTo>
                    <a:pt x="2540279" y="423590"/>
                  </a:lnTo>
                  <a:lnTo>
                    <a:pt x="2264530" y="699815"/>
                  </a:lnTo>
                  <a:lnTo>
                    <a:pt x="1961730" y="699815"/>
                  </a:lnTo>
                  <a:cubicBezTo>
                    <a:pt x="1960121" y="687081"/>
                    <a:pt x="1948491" y="678070"/>
                    <a:pt x="1935756" y="679680"/>
                  </a:cubicBezTo>
                  <a:cubicBezTo>
                    <a:pt x="1924345" y="681127"/>
                    <a:pt x="1915706" y="690700"/>
                    <a:pt x="1915439" y="702197"/>
                  </a:cubicBezTo>
                  <a:close/>
                  <a:moveTo>
                    <a:pt x="1938680" y="682956"/>
                  </a:moveTo>
                  <a:cubicBezTo>
                    <a:pt x="1948777" y="683013"/>
                    <a:pt x="1956930" y="691243"/>
                    <a:pt x="1956873" y="701340"/>
                  </a:cubicBezTo>
                  <a:cubicBezTo>
                    <a:pt x="1956816" y="711436"/>
                    <a:pt x="1948586" y="719580"/>
                    <a:pt x="1938490" y="719532"/>
                  </a:cubicBezTo>
                  <a:cubicBezTo>
                    <a:pt x="1928431" y="719475"/>
                    <a:pt x="1920297" y="711303"/>
                    <a:pt x="1920297" y="701244"/>
                  </a:cubicBezTo>
                  <a:cubicBezTo>
                    <a:pt x="1920297" y="691148"/>
                    <a:pt x="1928488" y="682956"/>
                    <a:pt x="1938585" y="682956"/>
                  </a:cubicBezTo>
                  <a:cubicBezTo>
                    <a:pt x="1938614" y="682956"/>
                    <a:pt x="1938652" y="682956"/>
                    <a:pt x="1938680" y="682956"/>
                  </a:cubicBezTo>
                  <a:close/>
                  <a:moveTo>
                    <a:pt x="2812027" y="1494296"/>
                  </a:moveTo>
                  <a:cubicBezTo>
                    <a:pt x="2804874" y="1487161"/>
                    <a:pt x="2793292" y="1487190"/>
                    <a:pt x="2786167" y="1494343"/>
                  </a:cubicBezTo>
                  <a:cubicBezTo>
                    <a:pt x="2779033" y="1501497"/>
                    <a:pt x="2779052" y="1513069"/>
                    <a:pt x="2786205" y="1520204"/>
                  </a:cubicBezTo>
                  <a:cubicBezTo>
                    <a:pt x="2793349" y="1527319"/>
                    <a:pt x="2804893" y="1527319"/>
                    <a:pt x="2812027" y="1520204"/>
                  </a:cubicBezTo>
                  <a:cubicBezTo>
                    <a:pt x="2819142" y="1513031"/>
                    <a:pt x="2819142" y="1501468"/>
                    <a:pt x="2812027" y="1494296"/>
                  </a:cubicBezTo>
                  <a:close/>
                  <a:moveTo>
                    <a:pt x="326002" y="1327989"/>
                  </a:moveTo>
                  <a:cubicBezTo>
                    <a:pt x="333132" y="1335143"/>
                    <a:pt x="333112" y="1346725"/>
                    <a:pt x="325958" y="1353850"/>
                  </a:cubicBezTo>
                  <a:cubicBezTo>
                    <a:pt x="318803" y="1360984"/>
                    <a:pt x="307224" y="1360965"/>
                    <a:pt x="300094" y="1353811"/>
                  </a:cubicBezTo>
                  <a:cubicBezTo>
                    <a:pt x="292982" y="1346668"/>
                    <a:pt x="292982" y="1335124"/>
                    <a:pt x="300094" y="1327989"/>
                  </a:cubicBezTo>
                  <a:cubicBezTo>
                    <a:pt x="307263" y="1320874"/>
                    <a:pt x="318834" y="1320874"/>
                    <a:pt x="326002" y="1327989"/>
                  </a:cubicBezTo>
                  <a:close/>
                  <a:moveTo>
                    <a:pt x="225037" y="1778807"/>
                  </a:moveTo>
                  <a:cubicBezTo>
                    <a:pt x="216180" y="1769587"/>
                    <a:pt x="201528" y="1769302"/>
                    <a:pt x="192310" y="1778160"/>
                  </a:cubicBezTo>
                  <a:cubicBezTo>
                    <a:pt x="183515" y="1786608"/>
                    <a:pt x="182789" y="1800439"/>
                    <a:pt x="190652" y="1809764"/>
                  </a:cubicBezTo>
                  <a:lnTo>
                    <a:pt x="36538" y="1963878"/>
                  </a:lnTo>
                  <a:cubicBezTo>
                    <a:pt x="30017" y="1959249"/>
                    <a:pt x="20979" y="1960783"/>
                    <a:pt x="16352" y="1967307"/>
                  </a:cubicBezTo>
                  <a:cubicBezTo>
                    <a:pt x="11724" y="1973832"/>
                    <a:pt x="13259" y="1982862"/>
                    <a:pt x="19781" y="1987491"/>
                  </a:cubicBezTo>
                  <a:cubicBezTo>
                    <a:pt x="26302" y="1992120"/>
                    <a:pt x="35339" y="1990586"/>
                    <a:pt x="39967" y="1984062"/>
                  </a:cubicBezTo>
                  <a:cubicBezTo>
                    <a:pt x="43527" y="1979042"/>
                    <a:pt x="43527" y="1972327"/>
                    <a:pt x="39967" y="1967307"/>
                  </a:cubicBezTo>
                  <a:lnTo>
                    <a:pt x="194081" y="1813669"/>
                  </a:lnTo>
                  <a:cubicBezTo>
                    <a:pt x="203855" y="1821908"/>
                    <a:pt x="218456" y="1820660"/>
                    <a:pt x="226696" y="1810888"/>
                  </a:cubicBezTo>
                  <a:cubicBezTo>
                    <a:pt x="234559" y="1801563"/>
                    <a:pt x="233833" y="1787732"/>
                    <a:pt x="225037" y="1779284"/>
                  </a:cubicBezTo>
                  <a:close/>
                  <a:moveTo>
                    <a:pt x="221608" y="1808145"/>
                  </a:moveTo>
                  <a:cubicBezTo>
                    <a:pt x="214454" y="1815279"/>
                    <a:pt x="202875" y="1815250"/>
                    <a:pt x="195745" y="1808097"/>
                  </a:cubicBezTo>
                  <a:cubicBezTo>
                    <a:pt x="188616" y="1800944"/>
                    <a:pt x="188636" y="1789371"/>
                    <a:pt x="195790" y="1782236"/>
                  </a:cubicBezTo>
                  <a:cubicBezTo>
                    <a:pt x="202927" y="1775121"/>
                    <a:pt x="214471" y="1775121"/>
                    <a:pt x="221608" y="1782236"/>
                  </a:cubicBezTo>
                  <a:cubicBezTo>
                    <a:pt x="228727" y="1789409"/>
                    <a:pt x="228727" y="1800972"/>
                    <a:pt x="221608" y="1808145"/>
                  </a:cubicBezTo>
                  <a:close/>
                  <a:moveTo>
                    <a:pt x="2083651" y="2095323"/>
                  </a:moveTo>
                  <a:cubicBezTo>
                    <a:pt x="2096433" y="2095095"/>
                    <a:pt x="2106977" y="2105268"/>
                    <a:pt x="2107216" y="2118040"/>
                  </a:cubicBezTo>
                  <a:cubicBezTo>
                    <a:pt x="2107435" y="2130194"/>
                    <a:pt x="2098224" y="2140443"/>
                    <a:pt x="2086127" y="2141520"/>
                  </a:cubicBezTo>
                  <a:lnTo>
                    <a:pt x="2086127" y="2703495"/>
                  </a:lnTo>
                  <a:cubicBezTo>
                    <a:pt x="2093957" y="2704866"/>
                    <a:pt x="2099186" y="2712315"/>
                    <a:pt x="2097814" y="2720135"/>
                  </a:cubicBezTo>
                  <a:cubicBezTo>
                    <a:pt x="2096452" y="2727964"/>
                    <a:pt x="2088994" y="2733193"/>
                    <a:pt x="2081174" y="2731831"/>
                  </a:cubicBezTo>
                  <a:cubicBezTo>
                    <a:pt x="2073354" y="2730460"/>
                    <a:pt x="2068115" y="2723011"/>
                    <a:pt x="2069487" y="2715182"/>
                  </a:cubicBezTo>
                  <a:cubicBezTo>
                    <a:pt x="2070525" y="2709219"/>
                    <a:pt x="2075202" y="2704542"/>
                    <a:pt x="2081174" y="2703495"/>
                  </a:cubicBezTo>
                  <a:lnTo>
                    <a:pt x="2081174" y="2141520"/>
                  </a:lnTo>
                  <a:cubicBezTo>
                    <a:pt x="2068439" y="2140386"/>
                    <a:pt x="2059038" y="2129147"/>
                    <a:pt x="2060172" y="2116412"/>
                  </a:cubicBezTo>
                  <a:cubicBezTo>
                    <a:pt x="2061257" y="2104305"/>
                    <a:pt x="2071506" y="2095104"/>
                    <a:pt x="2083651" y="2095323"/>
                  </a:cubicBezTo>
                  <a:close/>
                  <a:moveTo>
                    <a:pt x="2101939" y="2118469"/>
                  </a:moveTo>
                  <a:cubicBezTo>
                    <a:pt x="2101882" y="2108373"/>
                    <a:pt x="2093652" y="2100229"/>
                    <a:pt x="2083555" y="2100276"/>
                  </a:cubicBezTo>
                  <a:cubicBezTo>
                    <a:pt x="2073459" y="2100334"/>
                    <a:pt x="2065315" y="2108563"/>
                    <a:pt x="2065363" y="2118659"/>
                  </a:cubicBezTo>
                  <a:cubicBezTo>
                    <a:pt x="2065420" y="2128718"/>
                    <a:pt x="2073592" y="2136852"/>
                    <a:pt x="2083651" y="2136852"/>
                  </a:cubicBezTo>
                  <a:cubicBezTo>
                    <a:pt x="2093747" y="2136852"/>
                    <a:pt x="2101939" y="2128661"/>
                    <a:pt x="2101939" y="2118564"/>
                  </a:cubicBezTo>
                  <a:cubicBezTo>
                    <a:pt x="2101939" y="2118536"/>
                    <a:pt x="2101939" y="2118498"/>
                    <a:pt x="2101939" y="2118469"/>
                  </a:cubicBezTo>
                  <a:close/>
                  <a:moveTo>
                    <a:pt x="1857146" y="1686510"/>
                  </a:moveTo>
                  <a:cubicBezTo>
                    <a:pt x="1869976" y="1686767"/>
                    <a:pt x="1880178" y="1697369"/>
                    <a:pt x="1879920" y="1710208"/>
                  </a:cubicBezTo>
                  <a:cubicBezTo>
                    <a:pt x="1879701" y="1721734"/>
                    <a:pt x="1871062" y="1731344"/>
                    <a:pt x="1859622" y="1732802"/>
                  </a:cubicBezTo>
                  <a:lnTo>
                    <a:pt x="1859622" y="2302301"/>
                  </a:lnTo>
                  <a:cubicBezTo>
                    <a:pt x="1867443" y="2303673"/>
                    <a:pt x="1872681" y="2311122"/>
                    <a:pt x="1871310" y="2318942"/>
                  </a:cubicBezTo>
                  <a:cubicBezTo>
                    <a:pt x="1869948" y="2326771"/>
                    <a:pt x="1862490" y="2332001"/>
                    <a:pt x="1854670" y="2330638"/>
                  </a:cubicBezTo>
                  <a:cubicBezTo>
                    <a:pt x="1846840" y="2329267"/>
                    <a:pt x="1841611" y="2321818"/>
                    <a:pt x="1842982" y="2313989"/>
                  </a:cubicBezTo>
                  <a:cubicBezTo>
                    <a:pt x="1844020" y="2308017"/>
                    <a:pt x="1848698" y="2303349"/>
                    <a:pt x="1854670" y="2302301"/>
                  </a:cubicBezTo>
                  <a:lnTo>
                    <a:pt x="1854670" y="1732802"/>
                  </a:lnTo>
                  <a:cubicBezTo>
                    <a:pt x="1841935" y="1731182"/>
                    <a:pt x="1832924" y="1719543"/>
                    <a:pt x="1834553" y="1706808"/>
                  </a:cubicBezTo>
                  <a:cubicBezTo>
                    <a:pt x="1836001" y="1695378"/>
                    <a:pt x="1845621" y="1686739"/>
                    <a:pt x="1857146" y="1686510"/>
                  </a:cubicBezTo>
                  <a:close/>
                  <a:moveTo>
                    <a:pt x="1875434" y="1709751"/>
                  </a:moveTo>
                  <a:cubicBezTo>
                    <a:pt x="1875377" y="1719848"/>
                    <a:pt x="1867147" y="1727992"/>
                    <a:pt x="1857051" y="1727944"/>
                  </a:cubicBezTo>
                  <a:cubicBezTo>
                    <a:pt x="1846954" y="1727887"/>
                    <a:pt x="1838810" y="1719657"/>
                    <a:pt x="1838858" y="1709561"/>
                  </a:cubicBezTo>
                  <a:cubicBezTo>
                    <a:pt x="1838915" y="1699502"/>
                    <a:pt x="1847088" y="1691368"/>
                    <a:pt x="1857146" y="1691368"/>
                  </a:cubicBezTo>
                  <a:cubicBezTo>
                    <a:pt x="1867243" y="1691368"/>
                    <a:pt x="1875434" y="1699560"/>
                    <a:pt x="1875434" y="1709656"/>
                  </a:cubicBezTo>
                  <a:cubicBezTo>
                    <a:pt x="1875434" y="1709685"/>
                    <a:pt x="1875434" y="1709723"/>
                    <a:pt x="1875434" y="1709751"/>
                  </a:cubicBezTo>
                  <a:close/>
                  <a:moveTo>
                    <a:pt x="2372925" y="2318494"/>
                  </a:moveTo>
                  <a:cubicBezTo>
                    <a:pt x="2381783" y="2309274"/>
                    <a:pt x="2396432" y="2308988"/>
                    <a:pt x="2405653" y="2317846"/>
                  </a:cubicBezTo>
                  <a:cubicBezTo>
                    <a:pt x="2414444" y="2326295"/>
                    <a:pt x="2415168" y="2340125"/>
                    <a:pt x="2407310" y="2349450"/>
                  </a:cubicBezTo>
                  <a:lnTo>
                    <a:pt x="2498274" y="2440414"/>
                  </a:lnTo>
                  <a:lnTo>
                    <a:pt x="2498274" y="2692446"/>
                  </a:lnTo>
                  <a:cubicBezTo>
                    <a:pt x="2506161" y="2693789"/>
                    <a:pt x="2511457" y="2701266"/>
                    <a:pt x="2510114" y="2709143"/>
                  </a:cubicBezTo>
                  <a:cubicBezTo>
                    <a:pt x="2508780" y="2717030"/>
                    <a:pt x="2501303" y="2722335"/>
                    <a:pt x="2493416" y="2720992"/>
                  </a:cubicBezTo>
                  <a:cubicBezTo>
                    <a:pt x="2485529" y="2719649"/>
                    <a:pt x="2480233" y="2712172"/>
                    <a:pt x="2481577" y="2704285"/>
                  </a:cubicBezTo>
                  <a:cubicBezTo>
                    <a:pt x="2482605" y="2698227"/>
                    <a:pt x="2487349" y="2693474"/>
                    <a:pt x="2493416" y="2692446"/>
                  </a:cubicBezTo>
                  <a:lnTo>
                    <a:pt x="2493416" y="2442319"/>
                  </a:lnTo>
                  <a:lnTo>
                    <a:pt x="2403881" y="2352784"/>
                  </a:lnTo>
                  <a:cubicBezTo>
                    <a:pt x="2393861" y="2360728"/>
                    <a:pt x="2379307" y="2359042"/>
                    <a:pt x="2371363" y="2349022"/>
                  </a:cubicBezTo>
                  <a:cubicBezTo>
                    <a:pt x="2364133" y="2339897"/>
                    <a:pt x="2364800" y="2326828"/>
                    <a:pt x="2372925" y="2318494"/>
                  </a:cubicBezTo>
                  <a:close/>
                  <a:moveTo>
                    <a:pt x="2402262" y="2321923"/>
                  </a:moveTo>
                  <a:cubicBezTo>
                    <a:pt x="2395109" y="2314789"/>
                    <a:pt x="2383526" y="2314818"/>
                    <a:pt x="2376401" y="2321971"/>
                  </a:cubicBezTo>
                  <a:cubicBezTo>
                    <a:pt x="2369267" y="2329124"/>
                    <a:pt x="2369286" y="2340697"/>
                    <a:pt x="2376440" y="2347831"/>
                  </a:cubicBezTo>
                  <a:cubicBezTo>
                    <a:pt x="2383583" y="2354946"/>
                    <a:pt x="2395128" y="2354946"/>
                    <a:pt x="2402262" y="2347831"/>
                  </a:cubicBezTo>
                  <a:cubicBezTo>
                    <a:pt x="2409377" y="2340659"/>
                    <a:pt x="2409377" y="2329095"/>
                    <a:pt x="2402262" y="2321923"/>
                  </a:cubicBezTo>
                  <a:close/>
                  <a:moveTo>
                    <a:pt x="2338826" y="1974737"/>
                  </a:moveTo>
                  <a:cubicBezTo>
                    <a:pt x="2348122" y="1965888"/>
                    <a:pt x="2362838" y="1966260"/>
                    <a:pt x="2371687" y="1975556"/>
                  </a:cubicBezTo>
                  <a:cubicBezTo>
                    <a:pt x="2379564" y="1983833"/>
                    <a:pt x="2380250" y="1996616"/>
                    <a:pt x="2373306" y="2005693"/>
                  </a:cubicBezTo>
                  <a:lnTo>
                    <a:pt x="2602763" y="2235150"/>
                  </a:lnTo>
                  <a:lnTo>
                    <a:pt x="2602763" y="2466417"/>
                  </a:lnTo>
                  <a:cubicBezTo>
                    <a:pt x="2610593" y="2467789"/>
                    <a:pt x="2615822" y="2475237"/>
                    <a:pt x="2614450" y="2483058"/>
                  </a:cubicBezTo>
                  <a:cubicBezTo>
                    <a:pt x="2613088" y="2490887"/>
                    <a:pt x="2605630" y="2496116"/>
                    <a:pt x="2597810" y="2494754"/>
                  </a:cubicBezTo>
                  <a:cubicBezTo>
                    <a:pt x="2589990" y="2493383"/>
                    <a:pt x="2584752" y="2485934"/>
                    <a:pt x="2586123" y="2478104"/>
                  </a:cubicBezTo>
                  <a:cubicBezTo>
                    <a:pt x="2587161" y="2472132"/>
                    <a:pt x="2591838" y="2467465"/>
                    <a:pt x="2597810" y="2466417"/>
                  </a:cubicBezTo>
                  <a:lnTo>
                    <a:pt x="2597810" y="2237341"/>
                  </a:lnTo>
                  <a:lnTo>
                    <a:pt x="2369782" y="2009312"/>
                  </a:lnTo>
                  <a:cubicBezTo>
                    <a:pt x="2359590" y="2017113"/>
                    <a:pt x="2344998" y="2015161"/>
                    <a:pt x="2337206" y="2004969"/>
                  </a:cubicBezTo>
                  <a:cubicBezTo>
                    <a:pt x="2330262" y="1995892"/>
                    <a:pt x="2330948" y="1983109"/>
                    <a:pt x="2338826" y="1974832"/>
                  </a:cubicBezTo>
                  <a:close/>
                  <a:moveTo>
                    <a:pt x="2368162" y="1978166"/>
                  </a:moveTo>
                  <a:cubicBezTo>
                    <a:pt x="2361009" y="1971032"/>
                    <a:pt x="2349427" y="1971060"/>
                    <a:pt x="2342302" y="1978213"/>
                  </a:cubicBezTo>
                  <a:cubicBezTo>
                    <a:pt x="2335168" y="1985367"/>
                    <a:pt x="2335187" y="1996949"/>
                    <a:pt x="2342340" y="2004074"/>
                  </a:cubicBezTo>
                  <a:cubicBezTo>
                    <a:pt x="2349484" y="2011189"/>
                    <a:pt x="2361028" y="2011189"/>
                    <a:pt x="2368162" y="2004074"/>
                  </a:cubicBezTo>
                  <a:cubicBezTo>
                    <a:pt x="2375278" y="1996901"/>
                    <a:pt x="2375278" y="1985338"/>
                    <a:pt x="2368162" y="1978166"/>
                  </a:cubicBezTo>
                  <a:close/>
                  <a:moveTo>
                    <a:pt x="2898895" y="1901966"/>
                  </a:moveTo>
                  <a:cubicBezTo>
                    <a:pt x="2886065" y="1902261"/>
                    <a:pt x="2875902" y="1912910"/>
                    <a:pt x="2876197" y="1925740"/>
                  </a:cubicBezTo>
                  <a:cubicBezTo>
                    <a:pt x="2876464" y="1937237"/>
                    <a:pt x="2885103" y="1946809"/>
                    <a:pt x="2896514" y="1948257"/>
                  </a:cubicBezTo>
                  <a:lnTo>
                    <a:pt x="2896514" y="2024457"/>
                  </a:lnTo>
                  <a:lnTo>
                    <a:pt x="2769641" y="2151330"/>
                  </a:lnTo>
                  <a:lnTo>
                    <a:pt x="2769641" y="2633676"/>
                  </a:lnTo>
                  <a:cubicBezTo>
                    <a:pt x="2761754" y="2635019"/>
                    <a:pt x="2756458" y="2642496"/>
                    <a:pt x="2757802" y="2650374"/>
                  </a:cubicBezTo>
                  <a:cubicBezTo>
                    <a:pt x="2759135" y="2658260"/>
                    <a:pt x="2766612" y="2663566"/>
                    <a:pt x="2774499" y="2662223"/>
                  </a:cubicBezTo>
                  <a:cubicBezTo>
                    <a:pt x="2782386" y="2660880"/>
                    <a:pt x="2787682" y="2653403"/>
                    <a:pt x="2786339" y="2645516"/>
                  </a:cubicBezTo>
                  <a:cubicBezTo>
                    <a:pt x="2785310" y="2639458"/>
                    <a:pt x="2780566" y="2634705"/>
                    <a:pt x="2774499" y="2633676"/>
                  </a:cubicBezTo>
                  <a:lnTo>
                    <a:pt x="2774499" y="2153616"/>
                  </a:lnTo>
                  <a:lnTo>
                    <a:pt x="2901372" y="2026743"/>
                  </a:lnTo>
                  <a:lnTo>
                    <a:pt x="2901372" y="1948543"/>
                  </a:lnTo>
                  <a:cubicBezTo>
                    <a:pt x="2914107" y="1946924"/>
                    <a:pt x="2923117" y="1935284"/>
                    <a:pt x="2921489" y="1922549"/>
                  </a:cubicBezTo>
                  <a:cubicBezTo>
                    <a:pt x="2920041" y="1911119"/>
                    <a:pt x="2910421" y="1902480"/>
                    <a:pt x="2898895" y="1902252"/>
                  </a:cubicBezTo>
                  <a:close/>
                  <a:moveTo>
                    <a:pt x="2917279" y="1925207"/>
                  </a:moveTo>
                  <a:cubicBezTo>
                    <a:pt x="2917336" y="1915053"/>
                    <a:pt x="2909144" y="1906785"/>
                    <a:pt x="2898991" y="1906728"/>
                  </a:cubicBezTo>
                  <a:cubicBezTo>
                    <a:pt x="2888837" y="1906681"/>
                    <a:pt x="2880569" y="1914863"/>
                    <a:pt x="2880512" y="1925016"/>
                  </a:cubicBezTo>
                  <a:cubicBezTo>
                    <a:pt x="2880465" y="1935170"/>
                    <a:pt x="2888647" y="1943438"/>
                    <a:pt x="2898800" y="1943495"/>
                  </a:cubicBezTo>
                  <a:cubicBezTo>
                    <a:pt x="2898829" y="1943495"/>
                    <a:pt x="2898867" y="1943495"/>
                    <a:pt x="2898895" y="1943495"/>
                  </a:cubicBezTo>
                  <a:cubicBezTo>
                    <a:pt x="2908992" y="1943447"/>
                    <a:pt x="2917174" y="1935303"/>
                    <a:pt x="2917279" y="1925207"/>
                  </a:cubicBezTo>
                  <a:close/>
                  <a:moveTo>
                    <a:pt x="1743322" y="1530491"/>
                  </a:moveTo>
                  <a:cubicBezTo>
                    <a:pt x="1743151" y="1517708"/>
                    <a:pt x="1753381" y="1507212"/>
                    <a:pt x="1766163" y="1507040"/>
                  </a:cubicBezTo>
                  <a:cubicBezTo>
                    <a:pt x="1778260" y="1506878"/>
                    <a:pt x="1788433" y="1516060"/>
                    <a:pt x="1789519" y="1528110"/>
                  </a:cubicBezTo>
                  <a:lnTo>
                    <a:pt x="2443315" y="1528110"/>
                  </a:lnTo>
                  <a:lnTo>
                    <a:pt x="2727636" y="1812431"/>
                  </a:lnTo>
                  <a:cubicBezTo>
                    <a:pt x="2734122" y="1807840"/>
                    <a:pt x="2743095" y="1809373"/>
                    <a:pt x="2747686" y="1815860"/>
                  </a:cubicBezTo>
                  <a:cubicBezTo>
                    <a:pt x="2752277" y="1822346"/>
                    <a:pt x="2750743" y="1831319"/>
                    <a:pt x="2744257" y="1835910"/>
                  </a:cubicBezTo>
                  <a:cubicBezTo>
                    <a:pt x="2737770" y="1840501"/>
                    <a:pt x="2728798" y="1838967"/>
                    <a:pt x="2724207" y="1832481"/>
                  </a:cubicBezTo>
                  <a:cubicBezTo>
                    <a:pt x="2720683" y="1827499"/>
                    <a:pt x="2720683" y="1820841"/>
                    <a:pt x="2724207" y="1815860"/>
                  </a:cubicBezTo>
                  <a:lnTo>
                    <a:pt x="2441314" y="1532967"/>
                  </a:lnTo>
                  <a:lnTo>
                    <a:pt x="1789519" y="1532967"/>
                  </a:lnTo>
                  <a:cubicBezTo>
                    <a:pt x="1788385" y="1545702"/>
                    <a:pt x="1777146" y="1555103"/>
                    <a:pt x="1764411" y="1553970"/>
                  </a:cubicBezTo>
                  <a:cubicBezTo>
                    <a:pt x="1752304" y="1552884"/>
                    <a:pt x="1743103" y="1542635"/>
                    <a:pt x="1743322" y="1530491"/>
                  </a:cubicBezTo>
                  <a:close/>
                  <a:moveTo>
                    <a:pt x="1766468" y="1512203"/>
                  </a:moveTo>
                  <a:cubicBezTo>
                    <a:pt x="1756315" y="1512146"/>
                    <a:pt x="1748047" y="1520337"/>
                    <a:pt x="1747990" y="1530491"/>
                  </a:cubicBezTo>
                  <a:cubicBezTo>
                    <a:pt x="1747942" y="1540644"/>
                    <a:pt x="1756124" y="1548912"/>
                    <a:pt x="1766278" y="1548969"/>
                  </a:cubicBezTo>
                  <a:cubicBezTo>
                    <a:pt x="1776431" y="1549017"/>
                    <a:pt x="1784699" y="1540835"/>
                    <a:pt x="1784756" y="1530681"/>
                  </a:cubicBezTo>
                  <a:cubicBezTo>
                    <a:pt x="1784756" y="1530615"/>
                    <a:pt x="1784756" y="1530557"/>
                    <a:pt x="1784756" y="1530491"/>
                  </a:cubicBezTo>
                  <a:cubicBezTo>
                    <a:pt x="1784708" y="1520413"/>
                    <a:pt x="1776546" y="1512250"/>
                    <a:pt x="1766468" y="1512203"/>
                  </a:cubicBezTo>
                  <a:close/>
                  <a:moveTo>
                    <a:pt x="1209065" y="1497439"/>
                  </a:moveTo>
                  <a:cubicBezTo>
                    <a:pt x="1218200" y="1506459"/>
                    <a:pt x="1232916" y="1506354"/>
                    <a:pt x="1241936" y="1497220"/>
                  </a:cubicBezTo>
                  <a:cubicBezTo>
                    <a:pt x="1250204" y="1488838"/>
                    <a:pt x="1250899" y="1475589"/>
                    <a:pt x="1243546" y="1466387"/>
                  </a:cubicBezTo>
                  <a:lnTo>
                    <a:pt x="1375086" y="1334847"/>
                  </a:lnTo>
                  <a:lnTo>
                    <a:pt x="2914897" y="1334847"/>
                  </a:lnTo>
                  <a:lnTo>
                    <a:pt x="3120542" y="1540587"/>
                  </a:lnTo>
                  <a:cubicBezTo>
                    <a:pt x="3116551" y="1546331"/>
                    <a:pt x="3117227" y="1554103"/>
                    <a:pt x="3122161" y="1559066"/>
                  </a:cubicBezTo>
                  <a:cubicBezTo>
                    <a:pt x="3127695" y="1564695"/>
                    <a:pt x="3136735" y="1564771"/>
                    <a:pt x="3142364" y="1559247"/>
                  </a:cubicBezTo>
                  <a:cubicBezTo>
                    <a:pt x="3142431" y="1559190"/>
                    <a:pt x="3142488" y="1559123"/>
                    <a:pt x="3142545" y="1559066"/>
                  </a:cubicBezTo>
                  <a:cubicBezTo>
                    <a:pt x="3148155" y="1553446"/>
                    <a:pt x="3148146" y="1544340"/>
                    <a:pt x="3142526" y="1538730"/>
                  </a:cubicBezTo>
                  <a:cubicBezTo>
                    <a:pt x="3137573" y="1533786"/>
                    <a:pt x="3129781" y="1533120"/>
                    <a:pt x="3124066" y="1537158"/>
                  </a:cubicBezTo>
                  <a:lnTo>
                    <a:pt x="2916898" y="1329990"/>
                  </a:lnTo>
                  <a:lnTo>
                    <a:pt x="1372800" y="1329990"/>
                  </a:lnTo>
                  <a:lnTo>
                    <a:pt x="1239450" y="1463340"/>
                  </a:lnTo>
                  <a:cubicBezTo>
                    <a:pt x="1229420" y="1455329"/>
                    <a:pt x="1214799" y="1456958"/>
                    <a:pt x="1206789" y="1466988"/>
                  </a:cubicBezTo>
                  <a:cubicBezTo>
                    <a:pt x="1199426" y="1476189"/>
                    <a:pt x="1200121" y="1489438"/>
                    <a:pt x="1208398" y="1497820"/>
                  </a:cubicBezTo>
                  <a:close/>
                  <a:moveTo>
                    <a:pt x="1212494" y="1468102"/>
                  </a:moveTo>
                  <a:cubicBezTo>
                    <a:pt x="1205360" y="1475255"/>
                    <a:pt x="1205388" y="1486838"/>
                    <a:pt x="1212542" y="1493962"/>
                  </a:cubicBezTo>
                  <a:cubicBezTo>
                    <a:pt x="1219695" y="1501097"/>
                    <a:pt x="1231268" y="1501078"/>
                    <a:pt x="1238402" y="1493924"/>
                  </a:cubicBezTo>
                  <a:cubicBezTo>
                    <a:pt x="1245517" y="1486781"/>
                    <a:pt x="1245517" y="1475236"/>
                    <a:pt x="1238402" y="1468102"/>
                  </a:cubicBezTo>
                  <a:cubicBezTo>
                    <a:pt x="1231230" y="1460987"/>
                    <a:pt x="1219666" y="1460987"/>
                    <a:pt x="1212494" y="1468102"/>
                  </a:cubicBezTo>
                  <a:close/>
                  <a:moveTo>
                    <a:pt x="939222" y="1212451"/>
                  </a:moveTo>
                  <a:cubicBezTo>
                    <a:pt x="930202" y="1221586"/>
                    <a:pt x="930306" y="1236302"/>
                    <a:pt x="939441" y="1245322"/>
                  </a:cubicBezTo>
                  <a:cubicBezTo>
                    <a:pt x="947823" y="1253590"/>
                    <a:pt x="961072" y="1254285"/>
                    <a:pt x="970273" y="1246932"/>
                  </a:cubicBezTo>
                  <a:lnTo>
                    <a:pt x="1084573" y="1361232"/>
                  </a:lnTo>
                  <a:lnTo>
                    <a:pt x="1269358" y="1176542"/>
                  </a:lnTo>
                  <a:lnTo>
                    <a:pt x="1989067" y="1176542"/>
                  </a:lnTo>
                  <a:cubicBezTo>
                    <a:pt x="1990353" y="1183428"/>
                    <a:pt x="1996354" y="1188429"/>
                    <a:pt x="2003355" y="1188448"/>
                  </a:cubicBezTo>
                  <a:cubicBezTo>
                    <a:pt x="2011242" y="1187534"/>
                    <a:pt x="2016899" y="1180399"/>
                    <a:pt x="2015995" y="1172513"/>
                  </a:cubicBezTo>
                  <a:cubicBezTo>
                    <a:pt x="2015223" y="1165874"/>
                    <a:pt x="2009994" y="1160644"/>
                    <a:pt x="2003355" y="1159873"/>
                  </a:cubicBezTo>
                  <a:cubicBezTo>
                    <a:pt x="1996354" y="1159892"/>
                    <a:pt x="1990353" y="1164893"/>
                    <a:pt x="1989067" y="1171779"/>
                  </a:cubicBezTo>
                  <a:lnTo>
                    <a:pt x="1266977" y="1171779"/>
                  </a:lnTo>
                  <a:lnTo>
                    <a:pt x="1084192" y="1353993"/>
                  </a:lnTo>
                  <a:lnTo>
                    <a:pt x="973702" y="1243407"/>
                  </a:lnTo>
                  <a:cubicBezTo>
                    <a:pt x="981503" y="1233215"/>
                    <a:pt x="979551" y="1218623"/>
                    <a:pt x="969359" y="1210832"/>
                  </a:cubicBezTo>
                  <a:cubicBezTo>
                    <a:pt x="960282" y="1203888"/>
                    <a:pt x="947499" y="1204574"/>
                    <a:pt x="939222" y="1212451"/>
                  </a:cubicBezTo>
                  <a:close/>
                  <a:moveTo>
                    <a:pt x="968559" y="1215880"/>
                  </a:moveTo>
                  <a:cubicBezTo>
                    <a:pt x="975693" y="1223033"/>
                    <a:pt x="975664" y="1234616"/>
                    <a:pt x="968511" y="1241740"/>
                  </a:cubicBezTo>
                  <a:cubicBezTo>
                    <a:pt x="961358" y="1248875"/>
                    <a:pt x="949785" y="1248856"/>
                    <a:pt x="942651" y="1241702"/>
                  </a:cubicBezTo>
                  <a:cubicBezTo>
                    <a:pt x="935536" y="1234559"/>
                    <a:pt x="935536" y="1223014"/>
                    <a:pt x="942651" y="1215880"/>
                  </a:cubicBezTo>
                  <a:cubicBezTo>
                    <a:pt x="949785" y="1208727"/>
                    <a:pt x="961358" y="1208708"/>
                    <a:pt x="968511" y="1215832"/>
                  </a:cubicBezTo>
                  <a:cubicBezTo>
                    <a:pt x="968530" y="1215851"/>
                    <a:pt x="968540" y="1215861"/>
                    <a:pt x="968559" y="1215880"/>
                  </a:cubicBezTo>
                  <a:close/>
                  <a:moveTo>
                    <a:pt x="865117" y="963277"/>
                  </a:moveTo>
                  <a:cubicBezTo>
                    <a:pt x="857964" y="956143"/>
                    <a:pt x="846382" y="956171"/>
                    <a:pt x="839257" y="963325"/>
                  </a:cubicBezTo>
                  <a:cubicBezTo>
                    <a:pt x="832123" y="970478"/>
                    <a:pt x="832142" y="982051"/>
                    <a:pt x="839295" y="989185"/>
                  </a:cubicBezTo>
                  <a:cubicBezTo>
                    <a:pt x="846439" y="996300"/>
                    <a:pt x="857983" y="996300"/>
                    <a:pt x="865117" y="989185"/>
                  </a:cubicBezTo>
                  <a:cubicBezTo>
                    <a:pt x="872233" y="982013"/>
                    <a:pt x="872233" y="970449"/>
                    <a:pt x="865117" y="963277"/>
                  </a:cubicBezTo>
                  <a:close/>
                  <a:moveTo>
                    <a:pt x="1737512" y="1802715"/>
                  </a:moveTo>
                  <a:cubicBezTo>
                    <a:pt x="1737569" y="1792562"/>
                    <a:pt x="1729378" y="1784294"/>
                    <a:pt x="1719224" y="1784237"/>
                  </a:cubicBezTo>
                  <a:cubicBezTo>
                    <a:pt x="1709070" y="1784189"/>
                    <a:pt x="1700803" y="1792371"/>
                    <a:pt x="1700746" y="1802525"/>
                  </a:cubicBezTo>
                  <a:cubicBezTo>
                    <a:pt x="1700698" y="1812678"/>
                    <a:pt x="1708880" y="1820946"/>
                    <a:pt x="1719034" y="1821003"/>
                  </a:cubicBezTo>
                  <a:cubicBezTo>
                    <a:pt x="1719100" y="1821003"/>
                    <a:pt x="1719157" y="1821003"/>
                    <a:pt x="1719224" y="1821003"/>
                  </a:cubicBezTo>
                  <a:cubicBezTo>
                    <a:pt x="1729301" y="1820956"/>
                    <a:pt x="1737464" y="1812793"/>
                    <a:pt x="1737512" y="1802715"/>
                  </a:cubicBezTo>
                  <a:close/>
                  <a:moveTo>
                    <a:pt x="1430998" y="2731403"/>
                  </a:moveTo>
                  <a:cubicBezTo>
                    <a:pt x="1422149" y="2722106"/>
                    <a:pt x="1422520" y="2707390"/>
                    <a:pt x="1431817" y="2698542"/>
                  </a:cubicBezTo>
                  <a:cubicBezTo>
                    <a:pt x="1440094" y="2690664"/>
                    <a:pt x="1452876" y="2689979"/>
                    <a:pt x="1461954" y="2696922"/>
                  </a:cubicBezTo>
                  <a:lnTo>
                    <a:pt x="1649596" y="2509280"/>
                  </a:lnTo>
                  <a:lnTo>
                    <a:pt x="1649596" y="1570782"/>
                  </a:lnTo>
                  <a:cubicBezTo>
                    <a:pt x="1641767" y="1569438"/>
                    <a:pt x="1636509" y="1562009"/>
                    <a:pt x="1637852" y="1554179"/>
                  </a:cubicBezTo>
                  <a:cubicBezTo>
                    <a:pt x="1639195" y="1546350"/>
                    <a:pt x="1646625" y="1541092"/>
                    <a:pt x="1654454" y="1542426"/>
                  </a:cubicBezTo>
                  <a:cubicBezTo>
                    <a:pt x="1662284" y="1543769"/>
                    <a:pt x="1667541" y="1551208"/>
                    <a:pt x="1666198" y="1559037"/>
                  </a:cubicBezTo>
                  <a:cubicBezTo>
                    <a:pt x="1665170" y="1565047"/>
                    <a:pt x="1660464" y="1569753"/>
                    <a:pt x="1654454" y="1570782"/>
                  </a:cubicBezTo>
                  <a:lnTo>
                    <a:pt x="1654454" y="2511375"/>
                  </a:lnTo>
                  <a:lnTo>
                    <a:pt x="1465383" y="2700351"/>
                  </a:lnTo>
                  <a:cubicBezTo>
                    <a:pt x="1473193" y="2710543"/>
                    <a:pt x="1471260" y="2725126"/>
                    <a:pt x="1461068" y="2732936"/>
                  </a:cubicBezTo>
                  <a:cubicBezTo>
                    <a:pt x="1452029" y="2739861"/>
                    <a:pt x="1439294" y="2739213"/>
                    <a:pt x="1430998" y="2731403"/>
                  </a:cubicBezTo>
                  <a:close/>
                  <a:moveTo>
                    <a:pt x="1434427" y="2701971"/>
                  </a:moveTo>
                  <a:cubicBezTo>
                    <a:pt x="1441580" y="2694846"/>
                    <a:pt x="1453162" y="2694865"/>
                    <a:pt x="1460287" y="2702018"/>
                  </a:cubicBezTo>
                  <a:cubicBezTo>
                    <a:pt x="1467421" y="2709171"/>
                    <a:pt x="1467402" y="2720754"/>
                    <a:pt x="1460249" y="2727879"/>
                  </a:cubicBezTo>
                  <a:cubicBezTo>
                    <a:pt x="1453105" y="2734994"/>
                    <a:pt x="1441561" y="2734994"/>
                    <a:pt x="1434427" y="2727879"/>
                  </a:cubicBezTo>
                  <a:cubicBezTo>
                    <a:pt x="1427311" y="2720706"/>
                    <a:pt x="1427311" y="2709143"/>
                    <a:pt x="1434427" y="2701971"/>
                  </a:cubicBezTo>
                  <a:close/>
                  <a:moveTo>
                    <a:pt x="1241926" y="2437652"/>
                  </a:moveTo>
                  <a:cubicBezTo>
                    <a:pt x="1232630" y="2428803"/>
                    <a:pt x="1217914" y="2429175"/>
                    <a:pt x="1209065" y="2438471"/>
                  </a:cubicBezTo>
                  <a:cubicBezTo>
                    <a:pt x="1201188" y="2446748"/>
                    <a:pt x="1200502" y="2459531"/>
                    <a:pt x="1207446" y="2468608"/>
                  </a:cubicBezTo>
                  <a:lnTo>
                    <a:pt x="969321" y="2706733"/>
                  </a:lnTo>
                  <a:cubicBezTo>
                    <a:pt x="962834" y="2702151"/>
                    <a:pt x="953862" y="2703695"/>
                    <a:pt x="949271" y="2710181"/>
                  </a:cubicBezTo>
                  <a:cubicBezTo>
                    <a:pt x="945242" y="2715896"/>
                    <a:pt x="945899" y="2723688"/>
                    <a:pt x="950842" y="2728641"/>
                  </a:cubicBezTo>
                  <a:cubicBezTo>
                    <a:pt x="956376" y="2734270"/>
                    <a:pt x="965416" y="2734346"/>
                    <a:pt x="971045" y="2728822"/>
                  </a:cubicBezTo>
                  <a:cubicBezTo>
                    <a:pt x="971112" y="2728764"/>
                    <a:pt x="971169" y="2728698"/>
                    <a:pt x="971226" y="2728641"/>
                  </a:cubicBezTo>
                  <a:cubicBezTo>
                    <a:pt x="976160" y="2723678"/>
                    <a:pt x="976836" y="2715906"/>
                    <a:pt x="972845" y="2710162"/>
                  </a:cubicBezTo>
                  <a:lnTo>
                    <a:pt x="1210494" y="2472037"/>
                  </a:lnTo>
                  <a:cubicBezTo>
                    <a:pt x="1220686" y="2479848"/>
                    <a:pt x="1235268" y="2477914"/>
                    <a:pt x="1243079" y="2467722"/>
                  </a:cubicBezTo>
                  <a:cubicBezTo>
                    <a:pt x="1250004" y="2458683"/>
                    <a:pt x="1249356" y="2445948"/>
                    <a:pt x="1241545" y="2437652"/>
                  </a:cubicBezTo>
                  <a:close/>
                  <a:moveTo>
                    <a:pt x="1238497" y="2466989"/>
                  </a:moveTo>
                  <a:cubicBezTo>
                    <a:pt x="1231344" y="2474123"/>
                    <a:pt x="1219762" y="2474094"/>
                    <a:pt x="1212637" y="2466941"/>
                  </a:cubicBezTo>
                  <a:cubicBezTo>
                    <a:pt x="1205503" y="2459788"/>
                    <a:pt x="1205522" y="2448206"/>
                    <a:pt x="1212675" y="2441081"/>
                  </a:cubicBezTo>
                  <a:cubicBezTo>
                    <a:pt x="1219819" y="2433966"/>
                    <a:pt x="1231363" y="2433966"/>
                    <a:pt x="1238497" y="2441081"/>
                  </a:cubicBezTo>
                  <a:cubicBezTo>
                    <a:pt x="1245613" y="2448253"/>
                    <a:pt x="1245613" y="2459817"/>
                    <a:pt x="1238497" y="2466989"/>
                  </a:cubicBezTo>
                  <a:close/>
                  <a:moveTo>
                    <a:pt x="1156201" y="1556494"/>
                  </a:moveTo>
                  <a:cubicBezTo>
                    <a:pt x="1143419" y="1556265"/>
                    <a:pt x="1132875" y="1566438"/>
                    <a:pt x="1132636" y="1579211"/>
                  </a:cubicBezTo>
                  <a:cubicBezTo>
                    <a:pt x="1132417" y="1591365"/>
                    <a:pt x="1141628" y="1601614"/>
                    <a:pt x="1153725" y="1602690"/>
                  </a:cubicBezTo>
                  <a:lnTo>
                    <a:pt x="1153725" y="2436414"/>
                  </a:lnTo>
                  <a:cubicBezTo>
                    <a:pt x="1145838" y="2437757"/>
                    <a:pt x="1140542" y="2445234"/>
                    <a:pt x="1141885" y="2453111"/>
                  </a:cubicBezTo>
                  <a:cubicBezTo>
                    <a:pt x="1143219" y="2460998"/>
                    <a:pt x="1150696" y="2466303"/>
                    <a:pt x="1158583" y="2464960"/>
                  </a:cubicBezTo>
                  <a:cubicBezTo>
                    <a:pt x="1166469" y="2463617"/>
                    <a:pt x="1171765" y="2456140"/>
                    <a:pt x="1170422" y="2448253"/>
                  </a:cubicBezTo>
                  <a:cubicBezTo>
                    <a:pt x="1169394" y="2442195"/>
                    <a:pt x="1164650" y="2437442"/>
                    <a:pt x="1158583" y="2436414"/>
                  </a:cubicBezTo>
                  <a:lnTo>
                    <a:pt x="1158583" y="1602976"/>
                  </a:lnTo>
                  <a:cubicBezTo>
                    <a:pt x="1171318" y="1601833"/>
                    <a:pt x="1180709" y="1590584"/>
                    <a:pt x="1179557" y="1577849"/>
                  </a:cubicBezTo>
                  <a:cubicBezTo>
                    <a:pt x="1178471" y="1565800"/>
                    <a:pt x="1168298" y="1556618"/>
                    <a:pt x="1156201" y="1556780"/>
                  </a:cubicBezTo>
                  <a:close/>
                  <a:moveTo>
                    <a:pt x="1174489" y="1579640"/>
                  </a:moveTo>
                  <a:cubicBezTo>
                    <a:pt x="1174547" y="1569486"/>
                    <a:pt x="1166355" y="1561218"/>
                    <a:pt x="1156201" y="1561161"/>
                  </a:cubicBezTo>
                  <a:cubicBezTo>
                    <a:pt x="1146048" y="1561114"/>
                    <a:pt x="1137780" y="1569296"/>
                    <a:pt x="1137723" y="1579449"/>
                  </a:cubicBezTo>
                  <a:cubicBezTo>
                    <a:pt x="1137675" y="1589603"/>
                    <a:pt x="1145857" y="1597871"/>
                    <a:pt x="1156011" y="1597928"/>
                  </a:cubicBezTo>
                  <a:cubicBezTo>
                    <a:pt x="1156077" y="1597928"/>
                    <a:pt x="1156135" y="1597928"/>
                    <a:pt x="1156201" y="1597928"/>
                  </a:cubicBezTo>
                  <a:cubicBezTo>
                    <a:pt x="1166279" y="1597880"/>
                    <a:pt x="1174442" y="1589717"/>
                    <a:pt x="1174489" y="1579640"/>
                  </a:cubicBezTo>
                  <a:close/>
                  <a:moveTo>
                    <a:pt x="1442237" y="1541540"/>
                  </a:moveTo>
                  <a:cubicBezTo>
                    <a:pt x="1442237" y="1551636"/>
                    <a:pt x="1434046" y="1559828"/>
                    <a:pt x="1423949" y="1559828"/>
                  </a:cubicBezTo>
                  <a:cubicBezTo>
                    <a:pt x="1413853" y="1559828"/>
                    <a:pt x="1405661" y="1551636"/>
                    <a:pt x="1405661" y="1541540"/>
                  </a:cubicBezTo>
                  <a:cubicBezTo>
                    <a:pt x="1405661" y="1531443"/>
                    <a:pt x="1413853" y="1523252"/>
                    <a:pt x="1423949" y="1523252"/>
                  </a:cubicBezTo>
                  <a:cubicBezTo>
                    <a:pt x="1434046" y="1523252"/>
                    <a:pt x="1442237" y="1531443"/>
                    <a:pt x="1442237" y="1541540"/>
                  </a:cubicBezTo>
                  <a:close/>
                  <a:moveTo>
                    <a:pt x="433254" y="2174000"/>
                  </a:moveTo>
                  <a:cubicBezTo>
                    <a:pt x="423957" y="2165151"/>
                    <a:pt x="409241" y="2165523"/>
                    <a:pt x="400393" y="2174819"/>
                  </a:cubicBezTo>
                  <a:cubicBezTo>
                    <a:pt x="392515" y="2183096"/>
                    <a:pt x="391830" y="2195879"/>
                    <a:pt x="398773" y="2204956"/>
                  </a:cubicBezTo>
                  <a:lnTo>
                    <a:pt x="221227" y="2382597"/>
                  </a:lnTo>
                  <a:cubicBezTo>
                    <a:pt x="214744" y="2378006"/>
                    <a:pt x="205767" y="2379540"/>
                    <a:pt x="201178" y="2386026"/>
                  </a:cubicBezTo>
                  <a:cubicBezTo>
                    <a:pt x="196589" y="2392513"/>
                    <a:pt x="198123" y="2401486"/>
                    <a:pt x="204607" y="2406077"/>
                  </a:cubicBezTo>
                  <a:cubicBezTo>
                    <a:pt x="211091" y="2410668"/>
                    <a:pt x="220067" y="2409134"/>
                    <a:pt x="224656" y="2402647"/>
                  </a:cubicBezTo>
                  <a:cubicBezTo>
                    <a:pt x="228181" y="2397666"/>
                    <a:pt x="228181" y="2391008"/>
                    <a:pt x="224656" y="2386026"/>
                  </a:cubicBezTo>
                  <a:lnTo>
                    <a:pt x="402298" y="2208385"/>
                  </a:lnTo>
                  <a:cubicBezTo>
                    <a:pt x="412070" y="2216624"/>
                    <a:pt x="426672" y="2215377"/>
                    <a:pt x="434911" y="2205604"/>
                  </a:cubicBezTo>
                  <a:cubicBezTo>
                    <a:pt x="442779" y="2196279"/>
                    <a:pt x="442045" y="2182449"/>
                    <a:pt x="433254" y="2174000"/>
                  </a:cubicBezTo>
                  <a:close/>
                  <a:moveTo>
                    <a:pt x="429825" y="2203337"/>
                  </a:moveTo>
                  <a:cubicBezTo>
                    <a:pt x="422672" y="2210471"/>
                    <a:pt x="411089" y="2210443"/>
                    <a:pt x="403964" y="2203289"/>
                  </a:cubicBezTo>
                  <a:cubicBezTo>
                    <a:pt x="396830" y="2196136"/>
                    <a:pt x="396849" y="2184563"/>
                    <a:pt x="404003" y="2177429"/>
                  </a:cubicBezTo>
                  <a:cubicBezTo>
                    <a:pt x="411146" y="2170314"/>
                    <a:pt x="422691" y="2170314"/>
                    <a:pt x="429825" y="2177429"/>
                  </a:cubicBezTo>
                  <a:cubicBezTo>
                    <a:pt x="436940" y="2184601"/>
                    <a:pt x="436940" y="2196165"/>
                    <a:pt x="429825" y="2203337"/>
                  </a:cubicBezTo>
                  <a:close/>
                  <a:moveTo>
                    <a:pt x="816826" y="1823670"/>
                  </a:moveTo>
                  <a:lnTo>
                    <a:pt x="814920" y="1823670"/>
                  </a:lnTo>
                  <a:lnTo>
                    <a:pt x="814920" y="1702703"/>
                  </a:lnTo>
                  <a:lnTo>
                    <a:pt x="568318" y="1456101"/>
                  </a:lnTo>
                  <a:cubicBezTo>
                    <a:pt x="574424" y="1447538"/>
                    <a:pt x="572433" y="1435641"/>
                    <a:pt x="563870" y="1429526"/>
                  </a:cubicBezTo>
                  <a:cubicBezTo>
                    <a:pt x="555307" y="1423420"/>
                    <a:pt x="543410" y="1425411"/>
                    <a:pt x="537295" y="1433983"/>
                  </a:cubicBezTo>
                  <a:cubicBezTo>
                    <a:pt x="531190" y="1442546"/>
                    <a:pt x="533181" y="1454443"/>
                    <a:pt x="541744" y="1460549"/>
                  </a:cubicBezTo>
                  <a:cubicBezTo>
                    <a:pt x="548497" y="1465359"/>
                    <a:pt x="557584" y="1465264"/>
                    <a:pt x="564223" y="1460291"/>
                  </a:cubicBezTo>
                  <a:lnTo>
                    <a:pt x="809015" y="1705084"/>
                  </a:lnTo>
                  <a:lnTo>
                    <a:pt x="809015" y="1823670"/>
                  </a:lnTo>
                  <a:lnTo>
                    <a:pt x="807015" y="1823670"/>
                  </a:lnTo>
                  <a:lnTo>
                    <a:pt x="807015" y="2666252"/>
                  </a:lnTo>
                  <a:lnTo>
                    <a:pt x="809015" y="2666252"/>
                  </a:lnTo>
                  <a:lnTo>
                    <a:pt x="809015" y="2697494"/>
                  </a:lnTo>
                  <a:cubicBezTo>
                    <a:pt x="799633" y="2699123"/>
                    <a:pt x="793356" y="2708048"/>
                    <a:pt x="794985" y="2717430"/>
                  </a:cubicBezTo>
                  <a:cubicBezTo>
                    <a:pt x="796613" y="2726812"/>
                    <a:pt x="805539" y="2733098"/>
                    <a:pt x="814920" y="2731469"/>
                  </a:cubicBezTo>
                  <a:cubicBezTo>
                    <a:pt x="824303" y="2729831"/>
                    <a:pt x="830580" y="2720906"/>
                    <a:pt x="828951" y="2711524"/>
                  </a:cubicBezTo>
                  <a:cubicBezTo>
                    <a:pt x="827703" y="2704352"/>
                    <a:pt x="822093" y="2698742"/>
                    <a:pt x="814920" y="2697494"/>
                  </a:cubicBezTo>
                  <a:lnTo>
                    <a:pt x="814920" y="2666252"/>
                  </a:lnTo>
                  <a:lnTo>
                    <a:pt x="816826" y="2666252"/>
                  </a:lnTo>
                  <a:lnTo>
                    <a:pt x="816826" y="1823670"/>
                  </a:lnTo>
                  <a:close/>
                  <a:moveTo>
                    <a:pt x="254089" y="1513060"/>
                  </a:moveTo>
                  <a:lnTo>
                    <a:pt x="250660" y="1516489"/>
                  </a:lnTo>
                  <a:lnTo>
                    <a:pt x="163125" y="1428954"/>
                  </a:lnTo>
                  <a:cubicBezTo>
                    <a:pt x="168355" y="1421830"/>
                    <a:pt x="166820" y="1411819"/>
                    <a:pt x="159696" y="1406590"/>
                  </a:cubicBezTo>
                  <a:cubicBezTo>
                    <a:pt x="152572" y="1401351"/>
                    <a:pt x="142556" y="1402894"/>
                    <a:pt x="137326" y="1410019"/>
                  </a:cubicBezTo>
                  <a:cubicBezTo>
                    <a:pt x="132097" y="1417134"/>
                    <a:pt x="133632" y="1427154"/>
                    <a:pt x="140756" y="1432383"/>
                  </a:cubicBezTo>
                  <a:cubicBezTo>
                    <a:pt x="146391" y="1436517"/>
                    <a:pt x="154060" y="1436517"/>
                    <a:pt x="159696" y="1432383"/>
                  </a:cubicBezTo>
                  <a:lnTo>
                    <a:pt x="247326" y="1520013"/>
                  </a:lnTo>
                  <a:lnTo>
                    <a:pt x="243897" y="1523442"/>
                  </a:lnTo>
                  <a:lnTo>
                    <a:pt x="479069" y="1758615"/>
                  </a:lnTo>
                  <a:lnTo>
                    <a:pt x="482498" y="1755186"/>
                  </a:lnTo>
                  <a:lnTo>
                    <a:pt x="533076" y="1805668"/>
                  </a:lnTo>
                  <a:lnTo>
                    <a:pt x="533076" y="2628152"/>
                  </a:lnTo>
                  <a:cubicBezTo>
                    <a:pt x="525246" y="2629495"/>
                    <a:pt x="519988" y="2636924"/>
                    <a:pt x="521331" y="2644754"/>
                  </a:cubicBezTo>
                  <a:cubicBezTo>
                    <a:pt x="522675" y="2652584"/>
                    <a:pt x="530104" y="2657841"/>
                    <a:pt x="537934" y="2656508"/>
                  </a:cubicBezTo>
                  <a:cubicBezTo>
                    <a:pt x="545763" y="2655165"/>
                    <a:pt x="551021" y="2647726"/>
                    <a:pt x="549678" y="2639896"/>
                  </a:cubicBezTo>
                  <a:cubicBezTo>
                    <a:pt x="548649" y="2633886"/>
                    <a:pt x="543944" y="2629181"/>
                    <a:pt x="537934" y="2628152"/>
                  </a:cubicBezTo>
                  <a:lnTo>
                    <a:pt x="537934" y="1804144"/>
                  </a:lnTo>
                  <a:lnTo>
                    <a:pt x="485927" y="1752233"/>
                  </a:lnTo>
                  <a:lnTo>
                    <a:pt x="489451" y="1748708"/>
                  </a:lnTo>
                  <a:lnTo>
                    <a:pt x="254184" y="1513536"/>
                  </a:lnTo>
                  <a:close/>
                  <a:moveTo>
                    <a:pt x="3186931" y="865931"/>
                  </a:moveTo>
                  <a:lnTo>
                    <a:pt x="3320281" y="732581"/>
                  </a:lnTo>
                  <a:lnTo>
                    <a:pt x="3325425" y="737820"/>
                  </a:lnTo>
                  <a:lnTo>
                    <a:pt x="3384289" y="678860"/>
                  </a:lnTo>
                  <a:cubicBezTo>
                    <a:pt x="3379727" y="672355"/>
                    <a:pt x="3381308" y="663382"/>
                    <a:pt x="3387814" y="658829"/>
                  </a:cubicBezTo>
                  <a:cubicBezTo>
                    <a:pt x="3394319" y="654267"/>
                    <a:pt x="3403292" y="655848"/>
                    <a:pt x="3407845" y="662354"/>
                  </a:cubicBezTo>
                  <a:cubicBezTo>
                    <a:pt x="3412407" y="668859"/>
                    <a:pt x="3410826" y="677822"/>
                    <a:pt x="3404320" y="682385"/>
                  </a:cubicBezTo>
                  <a:cubicBezTo>
                    <a:pt x="3399367" y="685861"/>
                    <a:pt x="3392767" y="685861"/>
                    <a:pt x="3387814" y="682385"/>
                  </a:cubicBezTo>
                  <a:lnTo>
                    <a:pt x="3328854" y="741249"/>
                  </a:lnTo>
                  <a:lnTo>
                    <a:pt x="3334093" y="746393"/>
                  </a:lnTo>
                  <a:lnTo>
                    <a:pt x="3200743" y="879743"/>
                  </a:lnTo>
                  <a:lnTo>
                    <a:pt x="3195504" y="874599"/>
                  </a:lnTo>
                  <a:lnTo>
                    <a:pt x="3083871" y="986327"/>
                  </a:lnTo>
                  <a:cubicBezTo>
                    <a:pt x="3089072" y="993471"/>
                    <a:pt x="3087490" y="1003482"/>
                    <a:pt x="3080347" y="1008683"/>
                  </a:cubicBezTo>
                  <a:cubicBezTo>
                    <a:pt x="3073203" y="1013883"/>
                    <a:pt x="3063192" y="1012302"/>
                    <a:pt x="3057992" y="1005158"/>
                  </a:cubicBezTo>
                  <a:cubicBezTo>
                    <a:pt x="3052791" y="998015"/>
                    <a:pt x="3054372" y="988004"/>
                    <a:pt x="3061516" y="982803"/>
                  </a:cubicBezTo>
                  <a:cubicBezTo>
                    <a:pt x="3067126" y="978717"/>
                    <a:pt x="3074736" y="978717"/>
                    <a:pt x="3080347" y="982803"/>
                  </a:cubicBezTo>
                  <a:lnTo>
                    <a:pt x="3192075" y="871170"/>
                  </a:lnTo>
                  <a:lnTo>
                    <a:pt x="3186931" y="865931"/>
                  </a:lnTo>
                  <a:close/>
                  <a:moveTo>
                    <a:pt x="3054248" y="450641"/>
                  </a:moveTo>
                  <a:lnTo>
                    <a:pt x="3089681" y="415208"/>
                  </a:lnTo>
                  <a:lnTo>
                    <a:pt x="3094920" y="420352"/>
                  </a:lnTo>
                  <a:lnTo>
                    <a:pt x="3136544" y="378728"/>
                  </a:lnTo>
                  <a:cubicBezTo>
                    <a:pt x="3131953" y="372244"/>
                    <a:pt x="3133487" y="363268"/>
                    <a:pt x="3139973" y="358679"/>
                  </a:cubicBezTo>
                  <a:cubicBezTo>
                    <a:pt x="3146460" y="354089"/>
                    <a:pt x="3155432" y="355624"/>
                    <a:pt x="3160023" y="362108"/>
                  </a:cubicBezTo>
                  <a:cubicBezTo>
                    <a:pt x="3164614" y="368591"/>
                    <a:pt x="3163081" y="377568"/>
                    <a:pt x="3156594" y="382157"/>
                  </a:cubicBezTo>
                  <a:cubicBezTo>
                    <a:pt x="3151613" y="385682"/>
                    <a:pt x="3144955" y="385682"/>
                    <a:pt x="3139973" y="382157"/>
                  </a:cubicBezTo>
                  <a:lnTo>
                    <a:pt x="3098349" y="423781"/>
                  </a:lnTo>
                  <a:lnTo>
                    <a:pt x="3103493" y="429020"/>
                  </a:lnTo>
                  <a:lnTo>
                    <a:pt x="3068250" y="464453"/>
                  </a:lnTo>
                  <a:lnTo>
                    <a:pt x="3063106" y="459309"/>
                  </a:lnTo>
                  <a:lnTo>
                    <a:pt x="2985763" y="536557"/>
                  </a:lnTo>
                  <a:cubicBezTo>
                    <a:pt x="2990993" y="543681"/>
                    <a:pt x="2989459" y="553696"/>
                    <a:pt x="2982335" y="558926"/>
                  </a:cubicBezTo>
                  <a:cubicBezTo>
                    <a:pt x="2975210" y="564156"/>
                    <a:pt x="2965199" y="562621"/>
                    <a:pt x="2959970" y="555497"/>
                  </a:cubicBezTo>
                  <a:cubicBezTo>
                    <a:pt x="2954731" y="548373"/>
                    <a:pt x="2956274" y="538358"/>
                    <a:pt x="2963399" y="533128"/>
                  </a:cubicBezTo>
                  <a:cubicBezTo>
                    <a:pt x="2969028" y="528990"/>
                    <a:pt x="2976696" y="528990"/>
                    <a:pt x="2982335" y="533128"/>
                  </a:cubicBezTo>
                  <a:lnTo>
                    <a:pt x="3059677" y="455785"/>
                  </a:lnTo>
                  <a:lnTo>
                    <a:pt x="3054439" y="450641"/>
                  </a:lnTo>
                  <a:close/>
                  <a:moveTo>
                    <a:pt x="682523" y="1168255"/>
                  </a:moveTo>
                  <a:lnTo>
                    <a:pt x="447065" y="1168255"/>
                  </a:lnTo>
                  <a:lnTo>
                    <a:pt x="447065" y="1160921"/>
                  </a:lnTo>
                  <a:lnTo>
                    <a:pt x="366484" y="1160921"/>
                  </a:lnTo>
                  <a:cubicBezTo>
                    <a:pt x="365141" y="1168808"/>
                    <a:pt x="357663" y="1174103"/>
                    <a:pt x="349781" y="1172760"/>
                  </a:cubicBezTo>
                  <a:cubicBezTo>
                    <a:pt x="341899" y="1171427"/>
                    <a:pt x="336596" y="1163950"/>
                    <a:pt x="337938" y="1156063"/>
                  </a:cubicBezTo>
                  <a:cubicBezTo>
                    <a:pt x="339279" y="1148176"/>
                    <a:pt x="346757" y="1142880"/>
                    <a:pt x="354644" y="1144223"/>
                  </a:cubicBezTo>
                  <a:cubicBezTo>
                    <a:pt x="360702" y="1145252"/>
                    <a:pt x="365455" y="1149996"/>
                    <a:pt x="366484" y="1156063"/>
                  </a:cubicBezTo>
                  <a:lnTo>
                    <a:pt x="447065" y="1156063"/>
                  </a:lnTo>
                  <a:lnTo>
                    <a:pt x="447065" y="1148729"/>
                  </a:lnTo>
                  <a:lnTo>
                    <a:pt x="682809" y="1148729"/>
                  </a:lnTo>
                  <a:lnTo>
                    <a:pt x="682809" y="1156444"/>
                  </a:lnTo>
                  <a:lnTo>
                    <a:pt x="1076477" y="1156444"/>
                  </a:lnTo>
                  <a:cubicBezTo>
                    <a:pt x="1077820" y="1147652"/>
                    <a:pt x="1086031" y="1141623"/>
                    <a:pt x="1094822" y="1142957"/>
                  </a:cubicBezTo>
                  <a:cubicBezTo>
                    <a:pt x="1103604" y="1144300"/>
                    <a:pt x="1109643" y="1152510"/>
                    <a:pt x="1108300" y="1161302"/>
                  </a:cubicBezTo>
                  <a:cubicBezTo>
                    <a:pt x="1106957" y="1170093"/>
                    <a:pt x="1098747" y="1176123"/>
                    <a:pt x="1089964" y="1174789"/>
                  </a:cubicBezTo>
                  <a:cubicBezTo>
                    <a:pt x="1083002" y="1173722"/>
                    <a:pt x="1077544" y="1168265"/>
                    <a:pt x="1076477" y="1161302"/>
                  </a:cubicBezTo>
                  <a:lnTo>
                    <a:pt x="682809" y="1161302"/>
                  </a:lnTo>
                  <a:lnTo>
                    <a:pt x="682809" y="1168636"/>
                  </a:lnTo>
                  <a:close/>
                  <a:moveTo>
                    <a:pt x="1404518" y="1215880"/>
                  </a:moveTo>
                  <a:lnTo>
                    <a:pt x="1404518" y="1223119"/>
                  </a:lnTo>
                  <a:lnTo>
                    <a:pt x="1356036" y="1223119"/>
                  </a:lnTo>
                  <a:lnTo>
                    <a:pt x="1005992" y="1573639"/>
                  </a:lnTo>
                  <a:lnTo>
                    <a:pt x="1005992" y="1690987"/>
                  </a:lnTo>
                  <a:lnTo>
                    <a:pt x="996467" y="1690987"/>
                  </a:lnTo>
                  <a:lnTo>
                    <a:pt x="996467" y="2171714"/>
                  </a:lnTo>
                  <a:lnTo>
                    <a:pt x="1005992" y="2171714"/>
                  </a:lnTo>
                  <a:lnTo>
                    <a:pt x="1005992" y="2348784"/>
                  </a:lnTo>
                  <a:cubicBezTo>
                    <a:pt x="998163" y="2350127"/>
                    <a:pt x="992905" y="2357556"/>
                    <a:pt x="994248" y="2365386"/>
                  </a:cubicBezTo>
                  <a:cubicBezTo>
                    <a:pt x="995591" y="2373215"/>
                    <a:pt x="1003020" y="2378473"/>
                    <a:pt x="1010850" y="2377140"/>
                  </a:cubicBezTo>
                  <a:cubicBezTo>
                    <a:pt x="1018679" y="2375796"/>
                    <a:pt x="1023937" y="2368357"/>
                    <a:pt x="1022594" y="2360528"/>
                  </a:cubicBezTo>
                  <a:cubicBezTo>
                    <a:pt x="1021565" y="2354518"/>
                    <a:pt x="1016860" y="2349812"/>
                    <a:pt x="1010850" y="2348784"/>
                  </a:cubicBezTo>
                  <a:lnTo>
                    <a:pt x="1010850" y="2171714"/>
                  </a:lnTo>
                  <a:lnTo>
                    <a:pt x="1020375" y="2171714"/>
                  </a:lnTo>
                  <a:lnTo>
                    <a:pt x="1020375" y="1690987"/>
                  </a:lnTo>
                  <a:lnTo>
                    <a:pt x="1010850" y="1690987"/>
                  </a:lnTo>
                  <a:lnTo>
                    <a:pt x="1010850" y="1575544"/>
                  </a:lnTo>
                  <a:lnTo>
                    <a:pt x="1358322" y="1228072"/>
                  </a:lnTo>
                  <a:lnTo>
                    <a:pt x="1404804" y="1228072"/>
                  </a:lnTo>
                  <a:lnTo>
                    <a:pt x="1404804" y="1235406"/>
                  </a:lnTo>
                  <a:lnTo>
                    <a:pt x="2381783" y="1235406"/>
                  </a:lnTo>
                  <a:lnTo>
                    <a:pt x="2381783" y="1228072"/>
                  </a:lnTo>
                  <a:lnTo>
                    <a:pt x="2601525" y="1228072"/>
                  </a:lnTo>
                  <a:cubicBezTo>
                    <a:pt x="2602897" y="1236806"/>
                    <a:pt x="2611078" y="1242769"/>
                    <a:pt x="2619813" y="1241407"/>
                  </a:cubicBezTo>
                  <a:cubicBezTo>
                    <a:pt x="2628538" y="1240035"/>
                    <a:pt x="2634510" y="1231854"/>
                    <a:pt x="2633148" y="1223119"/>
                  </a:cubicBezTo>
                  <a:cubicBezTo>
                    <a:pt x="2631776" y="1214385"/>
                    <a:pt x="2623585" y="1208422"/>
                    <a:pt x="2614860" y="1209784"/>
                  </a:cubicBezTo>
                  <a:cubicBezTo>
                    <a:pt x="2607992" y="1210860"/>
                    <a:pt x="2602601" y="1216252"/>
                    <a:pt x="2601525" y="1223119"/>
                  </a:cubicBezTo>
                  <a:lnTo>
                    <a:pt x="2381783" y="1223119"/>
                  </a:lnTo>
                  <a:lnTo>
                    <a:pt x="2381783" y="1215785"/>
                  </a:lnTo>
                  <a:close/>
                  <a:moveTo>
                    <a:pt x="3538880" y="2308969"/>
                  </a:moveTo>
                  <a:lnTo>
                    <a:pt x="3874922" y="2308969"/>
                  </a:lnTo>
                  <a:lnTo>
                    <a:pt x="3874922" y="2313827"/>
                  </a:lnTo>
                  <a:lnTo>
                    <a:pt x="4124287" y="2313827"/>
                  </a:lnTo>
                  <a:cubicBezTo>
                    <a:pt x="4125525" y="2306902"/>
                    <a:pt x="4131535" y="2301854"/>
                    <a:pt x="4138574" y="2301825"/>
                  </a:cubicBezTo>
                  <a:cubicBezTo>
                    <a:pt x="4146566" y="2301825"/>
                    <a:pt x="4153052" y="2308312"/>
                    <a:pt x="4153043" y="2316313"/>
                  </a:cubicBezTo>
                  <a:cubicBezTo>
                    <a:pt x="4153043" y="2324304"/>
                    <a:pt x="4146556" y="2330781"/>
                    <a:pt x="4138565" y="2330781"/>
                  </a:cubicBezTo>
                  <a:cubicBezTo>
                    <a:pt x="4131488" y="2330781"/>
                    <a:pt x="4125449" y="2325666"/>
                    <a:pt x="4124287" y="2318684"/>
                  </a:cubicBezTo>
                  <a:lnTo>
                    <a:pt x="3874922" y="2318684"/>
                  </a:lnTo>
                  <a:lnTo>
                    <a:pt x="3874922" y="2323638"/>
                  </a:lnTo>
                  <a:lnTo>
                    <a:pt x="3538880" y="2323638"/>
                  </a:lnTo>
                  <a:lnTo>
                    <a:pt x="3538880" y="2318494"/>
                  </a:lnTo>
                  <a:lnTo>
                    <a:pt x="3421627" y="2318494"/>
                  </a:lnTo>
                  <a:cubicBezTo>
                    <a:pt x="3420285" y="2327286"/>
                    <a:pt x="3412074" y="2333315"/>
                    <a:pt x="3403282" y="2331981"/>
                  </a:cubicBezTo>
                  <a:cubicBezTo>
                    <a:pt x="3394500" y="2330638"/>
                    <a:pt x="3388461" y="2322428"/>
                    <a:pt x="3389804" y="2313636"/>
                  </a:cubicBezTo>
                  <a:cubicBezTo>
                    <a:pt x="3391147" y="2304845"/>
                    <a:pt x="3399358" y="2298815"/>
                    <a:pt x="3408140" y="2300149"/>
                  </a:cubicBezTo>
                  <a:cubicBezTo>
                    <a:pt x="3415103" y="2301216"/>
                    <a:pt x="3420561" y="2306674"/>
                    <a:pt x="3421627" y="2313636"/>
                  </a:cubicBezTo>
                  <a:lnTo>
                    <a:pt x="3538880" y="2313636"/>
                  </a:lnTo>
                  <a:lnTo>
                    <a:pt x="3538880" y="2308969"/>
                  </a:lnTo>
                  <a:close/>
                  <a:moveTo>
                    <a:pt x="2634767" y="346819"/>
                  </a:moveTo>
                  <a:lnTo>
                    <a:pt x="2642101" y="346819"/>
                  </a:lnTo>
                  <a:lnTo>
                    <a:pt x="2642101" y="480169"/>
                  </a:lnTo>
                  <a:lnTo>
                    <a:pt x="2364352" y="758013"/>
                  </a:lnTo>
                  <a:lnTo>
                    <a:pt x="2072411" y="758013"/>
                  </a:lnTo>
                  <a:cubicBezTo>
                    <a:pt x="2071068" y="749222"/>
                    <a:pt x="2062857" y="743192"/>
                    <a:pt x="2054066" y="744526"/>
                  </a:cubicBezTo>
                  <a:cubicBezTo>
                    <a:pt x="2045284" y="745869"/>
                    <a:pt x="2039245" y="754079"/>
                    <a:pt x="2040588" y="762871"/>
                  </a:cubicBezTo>
                  <a:cubicBezTo>
                    <a:pt x="2041931" y="771663"/>
                    <a:pt x="2050142" y="777692"/>
                    <a:pt x="2058924" y="776358"/>
                  </a:cubicBezTo>
                  <a:cubicBezTo>
                    <a:pt x="2065887" y="775292"/>
                    <a:pt x="2071344" y="769834"/>
                    <a:pt x="2072411" y="762871"/>
                  </a:cubicBezTo>
                  <a:lnTo>
                    <a:pt x="2366353" y="762871"/>
                  </a:lnTo>
                  <a:lnTo>
                    <a:pt x="2646959" y="482264"/>
                  </a:lnTo>
                  <a:lnTo>
                    <a:pt x="2646959" y="346819"/>
                  </a:lnTo>
                  <a:lnTo>
                    <a:pt x="2654293" y="346819"/>
                  </a:lnTo>
                  <a:lnTo>
                    <a:pt x="2654293" y="91644"/>
                  </a:lnTo>
                  <a:cubicBezTo>
                    <a:pt x="2660199" y="86252"/>
                    <a:pt x="2660609" y="77095"/>
                    <a:pt x="2655217" y="71190"/>
                  </a:cubicBezTo>
                  <a:cubicBezTo>
                    <a:pt x="2649826" y="65286"/>
                    <a:pt x="2640673" y="64870"/>
                    <a:pt x="2634767" y="70262"/>
                  </a:cubicBezTo>
                  <a:cubicBezTo>
                    <a:pt x="2628862" y="75655"/>
                    <a:pt x="2628452" y="84812"/>
                    <a:pt x="2633843" y="90716"/>
                  </a:cubicBezTo>
                  <a:cubicBezTo>
                    <a:pt x="2634139" y="91039"/>
                    <a:pt x="2634443" y="91349"/>
                    <a:pt x="2634767" y="91644"/>
                  </a:cubicBezTo>
                  <a:lnTo>
                    <a:pt x="2634767" y="346819"/>
                  </a:lnTo>
                  <a:close/>
                  <a:moveTo>
                    <a:pt x="3331330" y="1117106"/>
                  </a:moveTo>
                  <a:lnTo>
                    <a:pt x="3321805" y="1117106"/>
                  </a:lnTo>
                  <a:lnTo>
                    <a:pt x="3321805" y="986518"/>
                  </a:lnTo>
                  <a:lnTo>
                    <a:pt x="3468586" y="839738"/>
                  </a:lnTo>
                  <a:cubicBezTo>
                    <a:pt x="3477148" y="845843"/>
                    <a:pt x="3489045" y="843853"/>
                    <a:pt x="3495160" y="835290"/>
                  </a:cubicBezTo>
                  <a:cubicBezTo>
                    <a:pt x="3501266" y="826727"/>
                    <a:pt x="3499275" y="814830"/>
                    <a:pt x="3490703" y="808715"/>
                  </a:cubicBezTo>
                  <a:cubicBezTo>
                    <a:pt x="3482140" y="802609"/>
                    <a:pt x="3470243" y="804600"/>
                    <a:pt x="3464137" y="813163"/>
                  </a:cubicBezTo>
                  <a:cubicBezTo>
                    <a:pt x="3459327" y="819916"/>
                    <a:pt x="3459423" y="829003"/>
                    <a:pt x="3464395" y="835642"/>
                  </a:cubicBezTo>
                  <a:lnTo>
                    <a:pt x="3315900" y="984137"/>
                  </a:lnTo>
                  <a:lnTo>
                    <a:pt x="3315900" y="1117487"/>
                  </a:lnTo>
                  <a:lnTo>
                    <a:pt x="3306375" y="1117487"/>
                  </a:lnTo>
                  <a:lnTo>
                    <a:pt x="3306375" y="1510298"/>
                  </a:lnTo>
                  <a:lnTo>
                    <a:pt x="3315900" y="1510298"/>
                  </a:lnTo>
                  <a:lnTo>
                    <a:pt x="3315900" y="1715561"/>
                  </a:lnTo>
                  <a:cubicBezTo>
                    <a:pt x="3306470" y="1717190"/>
                    <a:pt x="3300136" y="1726163"/>
                    <a:pt x="3301774" y="1735593"/>
                  </a:cubicBezTo>
                  <a:cubicBezTo>
                    <a:pt x="3303403" y="1745032"/>
                    <a:pt x="3312376" y="1751356"/>
                    <a:pt x="3321805" y="1749728"/>
                  </a:cubicBezTo>
                  <a:cubicBezTo>
                    <a:pt x="3331235" y="1748099"/>
                    <a:pt x="3337569" y="1739126"/>
                    <a:pt x="3335931" y="1729687"/>
                  </a:cubicBezTo>
                  <a:cubicBezTo>
                    <a:pt x="3334683" y="1722467"/>
                    <a:pt x="3329025" y="1716809"/>
                    <a:pt x="3321805" y="1715561"/>
                  </a:cubicBezTo>
                  <a:lnTo>
                    <a:pt x="3321805" y="1510012"/>
                  </a:lnTo>
                  <a:lnTo>
                    <a:pt x="3331330" y="1510012"/>
                  </a:lnTo>
                  <a:lnTo>
                    <a:pt x="3331330" y="1117201"/>
                  </a:lnTo>
                  <a:close/>
                  <a:moveTo>
                    <a:pt x="3106826" y="1742612"/>
                  </a:moveTo>
                  <a:lnTo>
                    <a:pt x="3106826" y="2223244"/>
                  </a:lnTo>
                  <a:lnTo>
                    <a:pt x="3101873" y="2223244"/>
                  </a:lnTo>
                  <a:lnTo>
                    <a:pt x="3101873" y="2374406"/>
                  </a:lnTo>
                  <a:cubicBezTo>
                    <a:pt x="3108798" y="2375644"/>
                    <a:pt x="3113846" y="2381654"/>
                    <a:pt x="3113875" y="2388693"/>
                  </a:cubicBezTo>
                  <a:cubicBezTo>
                    <a:pt x="3112579" y="2396580"/>
                    <a:pt x="3105140" y="2401933"/>
                    <a:pt x="3097244" y="2400638"/>
                  </a:cubicBezTo>
                  <a:cubicBezTo>
                    <a:pt x="3091110" y="2399638"/>
                    <a:pt x="3086309" y="2394828"/>
                    <a:pt x="3085300" y="2388693"/>
                  </a:cubicBezTo>
                  <a:cubicBezTo>
                    <a:pt x="3085328" y="2381654"/>
                    <a:pt x="3090376" y="2375644"/>
                    <a:pt x="3097301" y="2374406"/>
                  </a:cubicBezTo>
                  <a:lnTo>
                    <a:pt x="3097301" y="2223244"/>
                  </a:lnTo>
                  <a:lnTo>
                    <a:pt x="3092443" y="2223244"/>
                  </a:lnTo>
                  <a:lnTo>
                    <a:pt x="3092443" y="1742708"/>
                  </a:lnTo>
                  <a:lnTo>
                    <a:pt x="3096825" y="1742708"/>
                  </a:lnTo>
                  <a:lnTo>
                    <a:pt x="3096825" y="1655745"/>
                  </a:lnTo>
                  <a:lnTo>
                    <a:pt x="2896800" y="1455720"/>
                  </a:lnTo>
                  <a:lnTo>
                    <a:pt x="2692012" y="1455720"/>
                  </a:lnTo>
                  <a:lnTo>
                    <a:pt x="2692012" y="1460577"/>
                  </a:lnTo>
                  <a:lnTo>
                    <a:pt x="1839525" y="1460577"/>
                  </a:lnTo>
                  <a:lnTo>
                    <a:pt x="1839525" y="1455720"/>
                  </a:lnTo>
                  <a:lnTo>
                    <a:pt x="1426235" y="1455720"/>
                  </a:lnTo>
                  <a:cubicBezTo>
                    <a:pt x="1424864" y="1464454"/>
                    <a:pt x="1416681" y="1470417"/>
                    <a:pt x="1407947" y="1469055"/>
                  </a:cubicBezTo>
                  <a:cubicBezTo>
                    <a:pt x="1399222" y="1467683"/>
                    <a:pt x="1393250" y="1459501"/>
                    <a:pt x="1394612" y="1450766"/>
                  </a:cubicBezTo>
                  <a:cubicBezTo>
                    <a:pt x="1395984" y="1442032"/>
                    <a:pt x="1404175" y="1436069"/>
                    <a:pt x="1412900" y="1437432"/>
                  </a:cubicBezTo>
                  <a:cubicBezTo>
                    <a:pt x="1419768" y="1438508"/>
                    <a:pt x="1425159" y="1443899"/>
                    <a:pt x="1426235" y="1450766"/>
                  </a:cubicBezTo>
                  <a:lnTo>
                    <a:pt x="1839525" y="1450766"/>
                  </a:lnTo>
                  <a:lnTo>
                    <a:pt x="1839525" y="1445909"/>
                  </a:lnTo>
                  <a:lnTo>
                    <a:pt x="2692012" y="1445909"/>
                  </a:lnTo>
                  <a:lnTo>
                    <a:pt x="2692012" y="1450766"/>
                  </a:lnTo>
                  <a:lnTo>
                    <a:pt x="2898895" y="1450766"/>
                  </a:lnTo>
                  <a:lnTo>
                    <a:pt x="3101873" y="1653840"/>
                  </a:lnTo>
                  <a:lnTo>
                    <a:pt x="3101873" y="1742803"/>
                  </a:lnTo>
                  <a:close/>
                  <a:moveTo>
                    <a:pt x="3560502" y="2658251"/>
                  </a:moveTo>
                  <a:lnTo>
                    <a:pt x="3753383" y="2658251"/>
                  </a:lnTo>
                  <a:lnTo>
                    <a:pt x="3753383" y="2667776"/>
                  </a:lnTo>
                  <a:lnTo>
                    <a:pt x="3860730" y="2667776"/>
                  </a:lnTo>
                  <a:cubicBezTo>
                    <a:pt x="3862073" y="2659889"/>
                    <a:pt x="3869550" y="2654593"/>
                    <a:pt x="3877427" y="2655936"/>
                  </a:cubicBezTo>
                  <a:cubicBezTo>
                    <a:pt x="3885314" y="2657270"/>
                    <a:pt x="3890619" y="2664747"/>
                    <a:pt x="3889276" y="2672634"/>
                  </a:cubicBezTo>
                  <a:cubicBezTo>
                    <a:pt x="3887933" y="2680520"/>
                    <a:pt x="3880456" y="2685816"/>
                    <a:pt x="3872569" y="2684473"/>
                  </a:cubicBezTo>
                  <a:cubicBezTo>
                    <a:pt x="3866512" y="2683444"/>
                    <a:pt x="3861759" y="2678701"/>
                    <a:pt x="3860730" y="2672634"/>
                  </a:cubicBezTo>
                  <a:lnTo>
                    <a:pt x="3753383" y="2672634"/>
                  </a:lnTo>
                  <a:lnTo>
                    <a:pt x="3753383" y="2682159"/>
                  </a:lnTo>
                  <a:lnTo>
                    <a:pt x="3560502" y="2682159"/>
                  </a:lnTo>
                  <a:lnTo>
                    <a:pt x="3560502" y="2672634"/>
                  </a:lnTo>
                  <a:lnTo>
                    <a:pt x="3390671" y="2672634"/>
                  </a:lnTo>
                  <a:cubicBezTo>
                    <a:pt x="3389328" y="2681425"/>
                    <a:pt x="3381117" y="2687454"/>
                    <a:pt x="3372326" y="2686121"/>
                  </a:cubicBezTo>
                  <a:cubicBezTo>
                    <a:pt x="3363544" y="2684778"/>
                    <a:pt x="3357505" y="2676567"/>
                    <a:pt x="3358848" y="2667776"/>
                  </a:cubicBezTo>
                  <a:cubicBezTo>
                    <a:pt x="3360191" y="2658984"/>
                    <a:pt x="3368402" y="2652945"/>
                    <a:pt x="3377184" y="2654288"/>
                  </a:cubicBezTo>
                  <a:cubicBezTo>
                    <a:pt x="3384147" y="2655355"/>
                    <a:pt x="3389604" y="2660813"/>
                    <a:pt x="3390671" y="2667776"/>
                  </a:cubicBezTo>
                  <a:lnTo>
                    <a:pt x="3560502" y="2667776"/>
                  </a:lnTo>
                  <a:lnTo>
                    <a:pt x="3560502" y="2658251"/>
                  </a:lnTo>
                  <a:close/>
                  <a:moveTo>
                    <a:pt x="4080853" y="1216070"/>
                  </a:moveTo>
                  <a:lnTo>
                    <a:pt x="4077424" y="1212641"/>
                  </a:lnTo>
                  <a:lnTo>
                    <a:pt x="4120381" y="1169684"/>
                  </a:lnTo>
                  <a:cubicBezTo>
                    <a:pt x="4126125" y="1173675"/>
                    <a:pt x="4133897" y="1172999"/>
                    <a:pt x="4138860" y="1168065"/>
                  </a:cubicBezTo>
                  <a:cubicBezTo>
                    <a:pt x="4144489" y="1162531"/>
                    <a:pt x="4144565" y="1153491"/>
                    <a:pt x="4139041" y="1147862"/>
                  </a:cubicBezTo>
                  <a:cubicBezTo>
                    <a:pt x="4138984" y="1147795"/>
                    <a:pt x="4138917" y="1147738"/>
                    <a:pt x="4138860" y="1147681"/>
                  </a:cubicBezTo>
                  <a:cubicBezTo>
                    <a:pt x="4133240" y="1142071"/>
                    <a:pt x="4124134" y="1142080"/>
                    <a:pt x="4118524" y="1147700"/>
                  </a:cubicBezTo>
                  <a:cubicBezTo>
                    <a:pt x="4113581" y="1152653"/>
                    <a:pt x="4112914" y="1160445"/>
                    <a:pt x="4116952" y="1166160"/>
                  </a:cubicBezTo>
                  <a:lnTo>
                    <a:pt x="4073899" y="1209212"/>
                  </a:lnTo>
                  <a:lnTo>
                    <a:pt x="4070470" y="1205783"/>
                  </a:lnTo>
                  <a:lnTo>
                    <a:pt x="3548310" y="1727944"/>
                  </a:lnTo>
                  <a:lnTo>
                    <a:pt x="3551834" y="1731468"/>
                  </a:lnTo>
                  <a:lnTo>
                    <a:pt x="3328473" y="1954734"/>
                  </a:lnTo>
                  <a:cubicBezTo>
                    <a:pt x="3321443" y="1949372"/>
                    <a:pt x="3311404" y="1950724"/>
                    <a:pt x="3306041" y="1957744"/>
                  </a:cubicBezTo>
                  <a:cubicBezTo>
                    <a:pt x="3301098" y="1964231"/>
                    <a:pt x="3301812" y="1973394"/>
                    <a:pt x="3307709" y="1979023"/>
                  </a:cubicBezTo>
                  <a:cubicBezTo>
                    <a:pt x="3314176" y="1985119"/>
                    <a:pt x="3324368" y="1984824"/>
                    <a:pt x="3330464" y="1978356"/>
                  </a:cubicBezTo>
                  <a:cubicBezTo>
                    <a:pt x="3335674" y="1972832"/>
                    <a:pt x="3336312" y="1964412"/>
                    <a:pt x="3331997" y="1958163"/>
                  </a:cubicBezTo>
                  <a:lnTo>
                    <a:pt x="3555263" y="1734897"/>
                  </a:lnTo>
                  <a:lnTo>
                    <a:pt x="3558692" y="1738326"/>
                  </a:lnTo>
                  <a:lnTo>
                    <a:pt x="4080853" y="1216166"/>
                  </a:lnTo>
                  <a:close/>
                  <a:moveTo>
                    <a:pt x="4155814" y="1466864"/>
                  </a:moveTo>
                  <a:lnTo>
                    <a:pt x="4152671" y="1463720"/>
                  </a:lnTo>
                  <a:lnTo>
                    <a:pt x="4279639" y="1336752"/>
                  </a:lnTo>
                  <a:cubicBezTo>
                    <a:pt x="4287431" y="1342410"/>
                    <a:pt x="4298328" y="1340677"/>
                    <a:pt x="4303986" y="1332885"/>
                  </a:cubicBezTo>
                  <a:cubicBezTo>
                    <a:pt x="4309643" y="1325094"/>
                    <a:pt x="4307910" y="1314197"/>
                    <a:pt x="4300118" y="1308539"/>
                  </a:cubicBezTo>
                  <a:cubicBezTo>
                    <a:pt x="4292327" y="1302881"/>
                    <a:pt x="4281430" y="1304615"/>
                    <a:pt x="4275772" y="1312406"/>
                  </a:cubicBezTo>
                  <a:cubicBezTo>
                    <a:pt x="4271429" y="1318398"/>
                    <a:pt x="4271334" y="1326475"/>
                    <a:pt x="4275544" y="1332561"/>
                  </a:cubicBezTo>
                  <a:lnTo>
                    <a:pt x="4148576" y="1459625"/>
                  </a:lnTo>
                  <a:lnTo>
                    <a:pt x="4145432" y="1456482"/>
                  </a:lnTo>
                  <a:lnTo>
                    <a:pt x="3711187" y="1890822"/>
                  </a:lnTo>
                  <a:lnTo>
                    <a:pt x="3714331" y="1893965"/>
                  </a:lnTo>
                  <a:lnTo>
                    <a:pt x="3619081" y="1989215"/>
                  </a:lnTo>
                  <a:cubicBezTo>
                    <a:pt x="3610661" y="1982909"/>
                    <a:pt x="3598716" y="1984633"/>
                    <a:pt x="3592411" y="1993053"/>
                  </a:cubicBezTo>
                  <a:cubicBezTo>
                    <a:pt x="3586115" y="2001473"/>
                    <a:pt x="3587829" y="2013418"/>
                    <a:pt x="3596249" y="2019714"/>
                  </a:cubicBezTo>
                  <a:cubicBezTo>
                    <a:pt x="3604679" y="2026019"/>
                    <a:pt x="3616614" y="2024305"/>
                    <a:pt x="3622919" y="2015885"/>
                  </a:cubicBezTo>
                  <a:cubicBezTo>
                    <a:pt x="3627882" y="2009246"/>
                    <a:pt x="3627987" y="2000159"/>
                    <a:pt x="3623176" y="1993406"/>
                  </a:cubicBezTo>
                  <a:lnTo>
                    <a:pt x="3718426" y="1898156"/>
                  </a:lnTo>
                  <a:lnTo>
                    <a:pt x="3721570" y="1901299"/>
                  </a:lnTo>
                  <a:lnTo>
                    <a:pt x="4155814" y="1467054"/>
                  </a:lnTo>
                  <a:close/>
                  <a:moveTo>
                    <a:pt x="4423657" y="1776998"/>
                  </a:moveTo>
                  <a:lnTo>
                    <a:pt x="4266590" y="1934160"/>
                  </a:lnTo>
                  <a:lnTo>
                    <a:pt x="4258780" y="1926350"/>
                  </a:lnTo>
                  <a:lnTo>
                    <a:pt x="4217251" y="1967783"/>
                  </a:lnTo>
                  <a:lnTo>
                    <a:pt x="3796246" y="1967783"/>
                  </a:lnTo>
                  <a:cubicBezTo>
                    <a:pt x="3794617" y="1978175"/>
                    <a:pt x="3784863" y="1985281"/>
                    <a:pt x="3774472" y="1983652"/>
                  </a:cubicBezTo>
                  <a:cubicBezTo>
                    <a:pt x="3764080" y="1982023"/>
                    <a:pt x="3756974" y="1972270"/>
                    <a:pt x="3758603" y="1961878"/>
                  </a:cubicBezTo>
                  <a:cubicBezTo>
                    <a:pt x="3760241" y="1951486"/>
                    <a:pt x="3769985" y="1944381"/>
                    <a:pt x="3780377" y="1946009"/>
                  </a:cubicBezTo>
                  <a:cubicBezTo>
                    <a:pt x="3788550" y="1947295"/>
                    <a:pt x="3794960" y="1953706"/>
                    <a:pt x="3796246" y="1961878"/>
                  </a:cubicBezTo>
                  <a:lnTo>
                    <a:pt x="4214870" y="1961878"/>
                  </a:lnTo>
                  <a:lnTo>
                    <a:pt x="4254589" y="1922159"/>
                  </a:lnTo>
                  <a:lnTo>
                    <a:pt x="4249350" y="1916825"/>
                  </a:lnTo>
                  <a:lnTo>
                    <a:pt x="4406417" y="1759757"/>
                  </a:lnTo>
                  <a:lnTo>
                    <a:pt x="4411751" y="1765091"/>
                  </a:lnTo>
                  <a:lnTo>
                    <a:pt x="4440898" y="1735850"/>
                  </a:lnTo>
                  <a:cubicBezTo>
                    <a:pt x="4435202" y="1728020"/>
                    <a:pt x="4436935" y="1717057"/>
                    <a:pt x="4444765" y="1711370"/>
                  </a:cubicBezTo>
                  <a:cubicBezTo>
                    <a:pt x="4452585" y="1705675"/>
                    <a:pt x="4463548" y="1707399"/>
                    <a:pt x="4469244" y="1715228"/>
                  </a:cubicBezTo>
                  <a:cubicBezTo>
                    <a:pt x="4474940" y="1723058"/>
                    <a:pt x="4473207" y="1734021"/>
                    <a:pt x="4465377" y="1739717"/>
                  </a:cubicBezTo>
                  <a:cubicBezTo>
                    <a:pt x="4459357" y="1744098"/>
                    <a:pt x="4451213" y="1744194"/>
                    <a:pt x="4445089" y="1739945"/>
                  </a:cubicBezTo>
                  <a:lnTo>
                    <a:pt x="4415847" y="1769187"/>
                  </a:lnTo>
                  <a:lnTo>
                    <a:pt x="4423657" y="1776998"/>
                  </a:lnTo>
                  <a:close/>
                  <a:moveTo>
                    <a:pt x="2586952" y="2528044"/>
                  </a:moveTo>
                  <a:lnTo>
                    <a:pt x="2577427" y="2528044"/>
                  </a:lnTo>
                  <a:lnTo>
                    <a:pt x="2577427" y="2390408"/>
                  </a:lnTo>
                  <a:lnTo>
                    <a:pt x="2417121" y="2230197"/>
                  </a:lnTo>
                  <a:cubicBezTo>
                    <a:pt x="2422350" y="2223073"/>
                    <a:pt x="2420817" y="2213062"/>
                    <a:pt x="2413692" y="2207833"/>
                  </a:cubicBezTo>
                  <a:cubicBezTo>
                    <a:pt x="2406567" y="2202594"/>
                    <a:pt x="2396556" y="2204137"/>
                    <a:pt x="2391327" y="2211262"/>
                  </a:cubicBezTo>
                  <a:cubicBezTo>
                    <a:pt x="2386088" y="2218377"/>
                    <a:pt x="2387632" y="2228397"/>
                    <a:pt x="2394756" y="2233626"/>
                  </a:cubicBezTo>
                  <a:cubicBezTo>
                    <a:pt x="2400385" y="2237760"/>
                    <a:pt x="2408053" y="2237760"/>
                    <a:pt x="2413692" y="2233626"/>
                  </a:cubicBezTo>
                  <a:lnTo>
                    <a:pt x="2572474" y="2392408"/>
                  </a:lnTo>
                  <a:lnTo>
                    <a:pt x="2572474" y="2528044"/>
                  </a:lnTo>
                  <a:lnTo>
                    <a:pt x="2562949" y="2528044"/>
                  </a:lnTo>
                  <a:lnTo>
                    <a:pt x="2562949" y="2710067"/>
                  </a:lnTo>
                  <a:cubicBezTo>
                    <a:pt x="2561510" y="2712343"/>
                    <a:pt x="2560748" y="2714991"/>
                    <a:pt x="2560758" y="2717687"/>
                  </a:cubicBezTo>
                  <a:cubicBezTo>
                    <a:pt x="2559843" y="2725574"/>
                    <a:pt x="2565501" y="2732717"/>
                    <a:pt x="2573398" y="2733622"/>
                  </a:cubicBezTo>
                  <a:cubicBezTo>
                    <a:pt x="2581284" y="2734536"/>
                    <a:pt x="2588418" y="2728879"/>
                    <a:pt x="2589333" y="2720992"/>
                  </a:cubicBezTo>
                  <a:cubicBezTo>
                    <a:pt x="2589457" y="2719897"/>
                    <a:pt x="2589457" y="2718782"/>
                    <a:pt x="2589333" y="2717687"/>
                  </a:cubicBezTo>
                  <a:cubicBezTo>
                    <a:pt x="2589343" y="2714991"/>
                    <a:pt x="2588580" y="2712343"/>
                    <a:pt x="2587142" y="2710067"/>
                  </a:cubicBezTo>
                  <a:lnTo>
                    <a:pt x="2587142" y="2528044"/>
                  </a:lnTo>
                  <a:close/>
                  <a:moveTo>
                    <a:pt x="2277103" y="2223244"/>
                  </a:moveTo>
                  <a:lnTo>
                    <a:pt x="2272722" y="2223244"/>
                  </a:lnTo>
                  <a:lnTo>
                    <a:pt x="2272722" y="2069891"/>
                  </a:lnTo>
                  <a:cubicBezTo>
                    <a:pt x="2282152" y="2068263"/>
                    <a:pt x="2288486" y="2059290"/>
                    <a:pt x="2286848" y="2049860"/>
                  </a:cubicBezTo>
                  <a:cubicBezTo>
                    <a:pt x="2285219" y="2040421"/>
                    <a:pt x="2276246" y="2034097"/>
                    <a:pt x="2266816" y="2035725"/>
                  </a:cubicBezTo>
                  <a:cubicBezTo>
                    <a:pt x="2257387" y="2037354"/>
                    <a:pt x="2251052" y="2046327"/>
                    <a:pt x="2252691" y="2055766"/>
                  </a:cubicBezTo>
                  <a:cubicBezTo>
                    <a:pt x="2253939" y="2062986"/>
                    <a:pt x="2259596" y="2068644"/>
                    <a:pt x="2266816" y="2069891"/>
                  </a:cubicBezTo>
                  <a:lnTo>
                    <a:pt x="2266816" y="2223244"/>
                  </a:lnTo>
                  <a:lnTo>
                    <a:pt x="2262435" y="2223244"/>
                  </a:lnTo>
                  <a:lnTo>
                    <a:pt x="2262435" y="2502422"/>
                  </a:lnTo>
                  <a:lnTo>
                    <a:pt x="2266816" y="2502422"/>
                  </a:lnTo>
                  <a:lnTo>
                    <a:pt x="2266816" y="2599196"/>
                  </a:lnTo>
                  <a:lnTo>
                    <a:pt x="2377402" y="2709781"/>
                  </a:lnTo>
                  <a:cubicBezTo>
                    <a:pt x="2371182" y="2718268"/>
                    <a:pt x="2373011" y="2730183"/>
                    <a:pt x="2381497" y="2736413"/>
                  </a:cubicBezTo>
                  <a:cubicBezTo>
                    <a:pt x="2389984" y="2742633"/>
                    <a:pt x="2401900" y="2740794"/>
                    <a:pt x="2408129" y="2732317"/>
                  </a:cubicBezTo>
                  <a:cubicBezTo>
                    <a:pt x="2414349" y="2723830"/>
                    <a:pt x="2412511" y="2711905"/>
                    <a:pt x="2404033" y="2705685"/>
                  </a:cubicBezTo>
                  <a:cubicBezTo>
                    <a:pt x="2397328" y="2700770"/>
                    <a:pt x="2388203" y="2700770"/>
                    <a:pt x="2381497" y="2705685"/>
                  </a:cubicBezTo>
                  <a:lnTo>
                    <a:pt x="2272722" y="2596815"/>
                  </a:lnTo>
                  <a:lnTo>
                    <a:pt x="2272722" y="2502422"/>
                  </a:lnTo>
                  <a:lnTo>
                    <a:pt x="2277103" y="2502422"/>
                  </a:lnTo>
                  <a:lnTo>
                    <a:pt x="2277103" y="2223244"/>
                  </a:lnTo>
                  <a:close/>
                  <a:moveTo>
                    <a:pt x="2011737" y="2595576"/>
                  </a:moveTo>
                  <a:lnTo>
                    <a:pt x="2011737" y="2064939"/>
                  </a:lnTo>
                  <a:lnTo>
                    <a:pt x="2016595" y="2064939"/>
                  </a:lnTo>
                  <a:lnTo>
                    <a:pt x="2016595" y="1904633"/>
                  </a:lnTo>
                  <a:cubicBezTo>
                    <a:pt x="2007803" y="1903290"/>
                    <a:pt x="2001774" y="1895079"/>
                    <a:pt x="2003107" y="1886288"/>
                  </a:cubicBezTo>
                  <a:cubicBezTo>
                    <a:pt x="2004450" y="1877506"/>
                    <a:pt x="2012661" y="1871467"/>
                    <a:pt x="2021452" y="1872810"/>
                  </a:cubicBezTo>
                  <a:cubicBezTo>
                    <a:pt x="2030244" y="1874153"/>
                    <a:pt x="2036273" y="1882363"/>
                    <a:pt x="2034940" y="1891145"/>
                  </a:cubicBezTo>
                  <a:cubicBezTo>
                    <a:pt x="2033873" y="1898108"/>
                    <a:pt x="2028415" y="1903566"/>
                    <a:pt x="2021452" y="1904633"/>
                  </a:cubicBezTo>
                  <a:lnTo>
                    <a:pt x="2021452" y="2064939"/>
                  </a:lnTo>
                  <a:lnTo>
                    <a:pt x="2026310" y="2064939"/>
                  </a:lnTo>
                  <a:lnTo>
                    <a:pt x="2026310" y="2595767"/>
                  </a:lnTo>
                  <a:lnTo>
                    <a:pt x="2021452" y="2595767"/>
                  </a:lnTo>
                  <a:lnTo>
                    <a:pt x="2021452" y="2703876"/>
                  </a:lnTo>
                  <a:cubicBezTo>
                    <a:pt x="2029339" y="2705219"/>
                    <a:pt x="2034635" y="2712696"/>
                    <a:pt x="2033292" y="2720573"/>
                  </a:cubicBezTo>
                  <a:cubicBezTo>
                    <a:pt x="2031958" y="2728459"/>
                    <a:pt x="2024481" y="2733765"/>
                    <a:pt x="2016595" y="2732422"/>
                  </a:cubicBezTo>
                  <a:cubicBezTo>
                    <a:pt x="2008708" y="2731079"/>
                    <a:pt x="2003412" y="2723602"/>
                    <a:pt x="2004755" y="2715715"/>
                  </a:cubicBezTo>
                  <a:cubicBezTo>
                    <a:pt x="2005784" y="2709657"/>
                    <a:pt x="2010527" y="2704904"/>
                    <a:pt x="2016595" y="2703876"/>
                  </a:cubicBezTo>
                  <a:lnTo>
                    <a:pt x="2016595" y="2595767"/>
                  </a:lnTo>
                  <a:close/>
                  <a:moveTo>
                    <a:pt x="2706300" y="710483"/>
                  </a:moveTo>
                  <a:lnTo>
                    <a:pt x="2699442" y="703530"/>
                  </a:lnTo>
                  <a:lnTo>
                    <a:pt x="2817266" y="585706"/>
                  </a:lnTo>
                  <a:lnTo>
                    <a:pt x="2817266" y="161843"/>
                  </a:lnTo>
                  <a:cubicBezTo>
                    <a:pt x="2825153" y="160502"/>
                    <a:pt x="2830449" y="153024"/>
                    <a:pt x="2829106" y="145141"/>
                  </a:cubicBezTo>
                  <a:cubicBezTo>
                    <a:pt x="2827772" y="137259"/>
                    <a:pt x="2820295" y="131957"/>
                    <a:pt x="2812409" y="133298"/>
                  </a:cubicBezTo>
                  <a:cubicBezTo>
                    <a:pt x="2804522" y="134639"/>
                    <a:pt x="2799226" y="142117"/>
                    <a:pt x="2800569" y="149999"/>
                  </a:cubicBezTo>
                  <a:cubicBezTo>
                    <a:pt x="2801598" y="156063"/>
                    <a:pt x="2806341" y="160812"/>
                    <a:pt x="2812409" y="161843"/>
                  </a:cubicBezTo>
                  <a:lnTo>
                    <a:pt x="2812409" y="583706"/>
                  </a:lnTo>
                  <a:lnTo>
                    <a:pt x="2696775" y="700101"/>
                  </a:lnTo>
                  <a:lnTo>
                    <a:pt x="2689822" y="693243"/>
                  </a:lnTo>
                  <a:lnTo>
                    <a:pt x="2419216" y="963753"/>
                  </a:lnTo>
                  <a:lnTo>
                    <a:pt x="2425408" y="969944"/>
                  </a:lnTo>
                  <a:lnTo>
                    <a:pt x="1555489" y="969944"/>
                  </a:lnTo>
                  <a:cubicBezTo>
                    <a:pt x="1554146" y="961153"/>
                    <a:pt x="1545936" y="955124"/>
                    <a:pt x="1537144" y="956457"/>
                  </a:cubicBezTo>
                  <a:cubicBezTo>
                    <a:pt x="1528362" y="957800"/>
                    <a:pt x="1522323" y="966011"/>
                    <a:pt x="1523666" y="974802"/>
                  </a:cubicBezTo>
                  <a:cubicBezTo>
                    <a:pt x="1525009" y="983594"/>
                    <a:pt x="1533220" y="989623"/>
                    <a:pt x="1542002" y="988290"/>
                  </a:cubicBezTo>
                  <a:cubicBezTo>
                    <a:pt x="1548965" y="987223"/>
                    <a:pt x="1554422" y="981765"/>
                    <a:pt x="1555489" y="974802"/>
                  </a:cubicBezTo>
                  <a:lnTo>
                    <a:pt x="2428456" y="974802"/>
                  </a:lnTo>
                  <a:lnTo>
                    <a:pt x="2429122" y="974135"/>
                  </a:lnTo>
                  <a:lnTo>
                    <a:pt x="2436076" y="980994"/>
                  </a:lnTo>
                  <a:lnTo>
                    <a:pt x="2706586" y="710483"/>
                  </a:lnTo>
                  <a:close/>
                  <a:moveTo>
                    <a:pt x="2391975" y="1856817"/>
                  </a:moveTo>
                  <a:lnTo>
                    <a:pt x="2643721" y="2108944"/>
                  </a:lnTo>
                  <a:lnTo>
                    <a:pt x="2640292" y="2112373"/>
                  </a:lnTo>
                  <a:lnTo>
                    <a:pt x="2667628" y="2139805"/>
                  </a:lnTo>
                  <a:lnTo>
                    <a:pt x="2667628" y="2703971"/>
                  </a:lnTo>
                  <a:cubicBezTo>
                    <a:pt x="2675515" y="2705314"/>
                    <a:pt x="2680811" y="2712791"/>
                    <a:pt x="2679468" y="2720668"/>
                  </a:cubicBezTo>
                  <a:cubicBezTo>
                    <a:pt x="2678134" y="2728555"/>
                    <a:pt x="2670657" y="2733860"/>
                    <a:pt x="2662771" y="2732517"/>
                  </a:cubicBezTo>
                  <a:cubicBezTo>
                    <a:pt x="2654884" y="2731174"/>
                    <a:pt x="2649588" y="2723697"/>
                    <a:pt x="2650931" y="2715811"/>
                  </a:cubicBezTo>
                  <a:cubicBezTo>
                    <a:pt x="2651960" y="2709752"/>
                    <a:pt x="2656703" y="2705000"/>
                    <a:pt x="2662771" y="2703971"/>
                  </a:cubicBezTo>
                  <a:lnTo>
                    <a:pt x="2662771" y="2141996"/>
                  </a:lnTo>
                  <a:lnTo>
                    <a:pt x="2636863" y="2116088"/>
                  </a:lnTo>
                  <a:lnTo>
                    <a:pt x="2633338" y="2119517"/>
                  </a:lnTo>
                  <a:lnTo>
                    <a:pt x="2381402" y="1867485"/>
                  </a:lnTo>
                  <a:lnTo>
                    <a:pt x="2384831" y="1864056"/>
                  </a:lnTo>
                  <a:lnTo>
                    <a:pt x="2299773" y="1778998"/>
                  </a:lnTo>
                  <a:cubicBezTo>
                    <a:pt x="2292743" y="1784361"/>
                    <a:pt x="2282704" y="1783008"/>
                    <a:pt x="2277341" y="1775988"/>
                  </a:cubicBezTo>
                  <a:cubicBezTo>
                    <a:pt x="2272398" y="1769502"/>
                    <a:pt x="2273112" y="1760339"/>
                    <a:pt x="2279009" y="1754709"/>
                  </a:cubicBezTo>
                  <a:cubicBezTo>
                    <a:pt x="2285181" y="1748385"/>
                    <a:pt x="2295306" y="1748251"/>
                    <a:pt x="2301640" y="1754414"/>
                  </a:cubicBezTo>
                  <a:cubicBezTo>
                    <a:pt x="2307431" y="1760062"/>
                    <a:pt x="2308098" y="1769140"/>
                    <a:pt x="2303202" y="1775569"/>
                  </a:cubicBezTo>
                  <a:lnTo>
                    <a:pt x="2388260" y="1860627"/>
                  </a:lnTo>
                  <a:lnTo>
                    <a:pt x="2391689" y="1857103"/>
                  </a:lnTo>
                  <a:close/>
                  <a:moveTo>
                    <a:pt x="1203445" y="814687"/>
                  </a:moveTo>
                  <a:lnTo>
                    <a:pt x="1200683" y="817449"/>
                  </a:lnTo>
                  <a:lnTo>
                    <a:pt x="1084573" y="701340"/>
                  </a:lnTo>
                  <a:cubicBezTo>
                    <a:pt x="1088983" y="694862"/>
                    <a:pt x="1087307" y="686033"/>
                    <a:pt x="1080830" y="681623"/>
                  </a:cubicBezTo>
                  <a:cubicBezTo>
                    <a:pt x="1074343" y="677213"/>
                    <a:pt x="1065514" y="678889"/>
                    <a:pt x="1061104" y="685366"/>
                  </a:cubicBezTo>
                  <a:cubicBezTo>
                    <a:pt x="1056694" y="691853"/>
                    <a:pt x="1058380" y="700673"/>
                    <a:pt x="1064857" y="705083"/>
                  </a:cubicBezTo>
                  <a:cubicBezTo>
                    <a:pt x="1069791" y="708445"/>
                    <a:pt x="1076306" y="708359"/>
                    <a:pt x="1081144" y="704864"/>
                  </a:cubicBezTo>
                  <a:lnTo>
                    <a:pt x="1197254" y="820973"/>
                  </a:lnTo>
                  <a:lnTo>
                    <a:pt x="1193158" y="825069"/>
                  </a:lnTo>
                  <a:lnTo>
                    <a:pt x="1288408" y="920319"/>
                  </a:lnTo>
                  <a:lnTo>
                    <a:pt x="1292504" y="916223"/>
                  </a:lnTo>
                  <a:lnTo>
                    <a:pt x="1347368" y="971087"/>
                  </a:lnTo>
                  <a:cubicBezTo>
                    <a:pt x="1341939" y="978260"/>
                    <a:pt x="1343358" y="988480"/>
                    <a:pt x="1350530" y="993900"/>
                  </a:cubicBezTo>
                  <a:cubicBezTo>
                    <a:pt x="1357703" y="999329"/>
                    <a:pt x="1367923" y="997910"/>
                    <a:pt x="1373352" y="990738"/>
                  </a:cubicBezTo>
                  <a:cubicBezTo>
                    <a:pt x="1378772" y="983565"/>
                    <a:pt x="1377362" y="973345"/>
                    <a:pt x="1370181" y="967925"/>
                  </a:cubicBezTo>
                  <a:cubicBezTo>
                    <a:pt x="1364504" y="963629"/>
                    <a:pt x="1356693" y="963515"/>
                    <a:pt x="1350892" y="967658"/>
                  </a:cubicBezTo>
                  <a:lnTo>
                    <a:pt x="1296028" y="912794"/>
                  </a:lnTo>
                  <a:lnTo>
                    <a:pt x="1298791" y="910032"/>
                  </a:lnTo>
                  <a:lnTo>
                    <a:pt x="1203541" y="814782"/>
                  </a:lnTo>
                  <a:close/>
                  <a:moveTo>
                    <a:pt x="1823142" y="620853"/>
                  </a:moveTo>
                  <a:lnTo>
                    <a:pt x="1830476" y="620853"/>
                  </a:lnTo>
                  <a:lnTo>
                    <a:pt x="1830476" y="763728"/>
                  </a:lnTo>
                  <a:cubicBezTo>
                    <a:pt x="1821685" y="765071"/>
                    <a:pt x="1815655" y="773282"/>
                    <a:pt x="1816989" y="782073"/>
                  </a:cubicBezTo>
                  <a:cubicBezTo>
                    <a:pt x="1818332" y="790855"/>
                    <a:pt x="1826542" y="796894"/>
                    <a:pt x="1835334" y="795551"/>
                  </a:cubicBezTo>
                  <a:cubicBezTo>
                    <a:pt x="1844125" y="794208"/>
                    <a:pt x="1850155" y="785998"/>
                    <a:pt x="1848821" y="777216"/>
                  </a:cubicBezTo>
                  <a:cubicBezTo>
                    <a:pt x="1847755" y="770253"/>
                    <a:pt x="1842296" y="764795"/>
                    <a:pt x="1835334" y="763728"/>
                  </a:cubicBezTo>
                  <a:lnTo>
                    <a:pt x="1835334" y="620853"/>
                  </a:lnTo>
                  <a:lnTo>
                    <a:pt x="1842668" y="620853"/>
                  </a:lnTo>
                  <a:lnTo>
                    <a:pt x="1842668" y="357201"/>
                  </a:lnTo>
                  <a:lnTo>
                    <a:pt x="1835334" y="357201"/>
                  </a:lnTo>
                  <a:lnTo>
                    <a:pt x="1835334" y="268333"/>
                  </a:lnTo>
                  <a:lnTo>
                    <a:pt x="1708937" y="141936"/>
                  </a:lnTo>
                  <a:cubicBezTo>
                    <a:pt x="1713528" y="135453"/>
                    <a:pt x="1711995" y="126476"/>
                    <a:pt x="1705508" y="121887"/>
                  </a:cubicBezTo>
                  <a:cubicBezTo>
                    <a:pt x="1699021" y="117298"/>
                    <a:pt x="1690049" y="118832"/>
                    <a:pt x="1685458" y="125316"/>
                  </a:cubicBezTo>
                  <a:cubicBezTo>
                    <a:pt x="1680867" y="131800"/>
                    <a:pt x="1682400" y="140776"/>
                    <a:pt x="1688887" y="145365"/>
                  </a:cubicBezTo>
                  <a:cubicBezTo>
                    <a:pt x="1693868" y="148890"/>
                    <a:pt x="1700526" y="148890"/>
                    <a:pt x="1705508" y="145365"/>
                  </a:cubicBezTo>
                  <a:lnTo>
                    <a:pt x="1830476" y="270619"/>
                  </a:lnTo>
                  <a:lnTo>
                    <a:pt x="1830476" y="357487"/>
                  </a:lnTo>
                  <a:lnTo>
                    <a:pt x="1823142" y="357487"/>
                  </a:lnTo>
                  <a:lnTo>
                    <a:pt x="1823142" y="621139"/>
                  </a:lnTo>
                  <a:close/>
                  <a:moveTo>
                    <a:pt x="436873" y="1905490"/>
                  </a:moveTo>
                  <a:cubicBezTo>
                    <a:pt x="444208" y="1897946"/>
                    <a:pt x="444036" y="1885888"/>
                    <a:pt x="436492" y="1878553"/>
                  </a:cubicBezTo>
                  <a:cubicBezTo>
                    <a:pt x="428958" y="1871219"/>
                    <a:pt x="416890" y="1871381"/>
                    <a:pt x="409556" y="1878925"/>
                  </a:cubicBezTo>
                  <a:cubicBezTo>
                    <a:pt x="403126" y="1885535"/>
                    <a:pt x="402355" y="1895803"/>
                    <a:pt x="407727" y="1903299"/>
                  </a:cubicBezTo>
                  <a:lnTo>
                    <a:pt x="110356" y="2200575"/>
                  </a:lnTo>
                  <a:cubicBezTo>
                    <a:pt x="102529" y="2195059"/>
                    <a:pt x="91714" y="2196936"/>
                    <a:pt x="86201" y="2204766"/>
                  </a:cubicBezTo>
                  <a:cubicBezTo>
                    <a:pt x="80688" y="2212595"/>
                    <a:pt x="82564" y="2223406"/>
                    <a:pt x="90392" y="2228921"/>
                  </a:cubicBezTo>
                  <a:cubicBezTo>
                    <a:pt x="98220" y="2234436"/>
                    <a:pt x="109034" y="2232560"/>
                    <a:pt x="114547" y="2224730"/>
                  </a:cubicBezTo>
                  <a:cubicBezTo>
                    <a:pt x="118764" y="2218739"/>
                    <a:pt x="118764" y="2210757"/>
                    <a:pt x="114547" y="2204766"/>
                  </a:cubicBezTo>
                  <a:lnTo>
                    <a:pt x="411918" y="1907395"/>
                  </a:lnTo>
                  <a:cubicBezTo>
                    <a:pt x="419547" y="1913081"/>
                    <a:pt x="430196" y="1912262"/>
                    <a:pt x="436873" y="1905490"/>
                  </a:cubicBezTo>
                  <a:close/>
                  <a:moveTo>
                    <a:pt x="413823" y="1901394"/>
                  </a:moveTo>
                  <a:cubicBezTo>
                    <a:pt x="419081" y="1906547"/>
                    <a:pt x="427529" y="1906462"/>
                    <a:pt x="432682" y="1901204"/>
                  </a:cubicBezTo>
                  <a:cubicBezTo>
                    <a:pt x="437835" y="1895946"/>
                    <a:pt x="437750" y="1887497"/>
                    <a:pt x="432492" y="1882344"/>
                  </a:cubicBezTo>
                  <a:cubicBezTo>
                    <a:pt x="427301" y="1877267"/>
                    <a:pt x="419004" y="1877267"/>
                    <a:pt x="413823" y="1882344"/>
                  </a:cubicBezTo>
                  <a:cubicBezTo>
                    <a:pt x="408565" y="1887497"/>
                    <a:pt x="408479" y="1895946"/>
                    <a:pt x="413632" y="1901204"/>
                  </a:cubicBezTo>
                  <a:cubicBezTo>
                    <a:pt x="413689" y="1901271"/>
                    <a:pt x="413756" y="1901328"/>
                    <a:pt x="413823" y="1901394"/>
                  </a:cubicBezTo>
                  <a:close/>
                  <a:moveTo>
                    <a:pt x="4117238" y="2559953"/>
                  </a:moveTo>
                  <a:cubicBezTo>
                    <a:pt x="4126077" y="2559896"/>
                    <a:pt x="4133192" y="2552695"/>
                    <a:pt x="4133145" y="2543856"/>
                  </a:cubicBezTo>
                  <a:cubicBezTo>
                    <a:pt x="4133088" y="2535016"/>
                    <a:pt x="4125877" y="2527892"/>
                    <a:pt x="4117038" y="2527949"/>
                  </a:cubicBezTo>
                  <a:cubicBezTo>
                    <a:pt x="4109199" y="2527996"/>
                    <a:pt x="4102541" y="2533721"/>
                    <a:pt x="4101331" y="2541474"/>
                  </a:cubicBezTo>
                  <a:lnTo>
                    <a:pt x="3889114" y="2541474"/>
                  </a:lnTo>
                  <a:cubicBezTo>
                    <a:pt x="3887771" y="2533588"/>
                    <a:pt x="3880294" y="2528292"/>
                    <a:pt x="3872417" y="2529635"/>
                  </a:cubicBezTo>
                  <a:cubicBezTo>
                    <a:pt x="3864530" y="2530968"/>
                    <a:pt x="3859225" y="2538445"/>
                    <a:pt x="3860568" y="2546332"/>
                  </a:cubicBezTo>
                  <a:cubicBezTo>
                    <a:pt x="3861911" y="2554219"/>
                    <a:pt x="3869388" y="2559515"/>
                    <a:pt x="3877275" y="2558172"/>
                  </a:cubicBezTo>
                  <a:cubicBezTo>
                    <a:pt x="3883333" y="2557143"/>
                    <a:pt x="3888086" y="2552400"/>
                    <a:pt x="3889114" y="2546332"/>
                  </a:cubicBezTo>
                  <a:lnTo>
                    <a:pt x="4101331" y="2546332"/>
                  </a:lnTo>
                  <a:cubicBezTo>
                    <a:pt x="4102589" y="2554152"/>
                    <a:pt x="4109323" y="2559915"/>
                    <a:pt x="4117238" y="2559953"/>
                  </a:cubicBezTo>
                  <a:close/>
                  <a:moveTo>
                    <a:pt x="4106475" y="2543951"/>
                  </a:moveTo>
                  <a:cubicBezTo>
                    <a:pt x="4106475" y="2537798"/>
                    <a:pt x="4111466" y="2532807"/>
                    <a:pt x="4117619" y="2532807"/>
                  </a:cubicBezTo>
                  <a:cubicBezTo>
                    <a:pt x="4123772" y="2532807"/>
                    <a:pt x="4128763" y="2537798"/>
                    <a:pt x="4128763" y="2543951"/>
                  </a:cubicBezTo>
                  <a:cubicBezTo>
                    <a:pt x="4128763" y="2550104"/>
                    <a:pt x="4123772" y="2555095"/>
                    <a:pt x="4117619" y="2555095"/>
                  </a:cubicBezTo>
                  <a:cubicBezTo>
                    <a:pt x="4111466" y="2555095"/>
                    <a:pt x="4106475" y="2550104"/>
                    <a:pt x="4106475" y="2543951"/>
                  </a:cubicBezTo>
                  <a:close/>
                  <a:moveTo>
                    <a:pt x="3385909" y="2670919"/>
                  </a:moveTo>
                  <a:cubicBezTo>
                    <a:pt x="3385909" y="2664766"/>
                    <a:pt x="3380917" y="2659775"/>
                    <a:pt x="3374764" y="2659775"/>
                  </a:cubicBezTo>
                  <a:cubicBezTo>
                    <a:pt x="3368611" y="2659775"/>
                    <a:pt x="3363620" y="2664766"/>
                    <a:pt x="3363620" y="2670919"/>
                  </a:cubicBezTo>
                  <a:cubicBezTo>
                    <a:pt x="3363620" y="2677072"/>
                    <a:pt x="3368611" y="2682063"/>
                    <a:pt x="3374764" y="2682063"/>
                  </a:cubicBezTo>
                  <a:cubicBezTo>
                    <a:pt x="3380917" y="2682063"/>
                    <a:pt x="3385909" y="2677072"/>
                    <a:pt x="3385909" y="2670919"/>
                  </a:cubicBezTo>
                  <a:close/>
                  <a:moveTo>
                    <a:pt x="1936870" y="2235150"/>
                  </a:moveTo>
                  <a:cubicBezTo>
                    <a:pt x="1936785" y="2243037"/>
                    <a:pt x="1931031" y="2249714"/>
                    <a:pt x="1923250" y="2250962"/>
                  </a:cubicBezTo>
                  <a:lnTo>
                    <a:pt x="1923250" y="2703876"/>
                  </a:lnTo>
                  <a:cubicBezTo>
                    <a:pt x="1931136" y="2705219"/>
                    <a:pt x="1936432" y="2712696"/>
                    <a:pt x="1935089" y="2720573"/>
                  </a:cubicBezTo>
                  <a:cubicBezTo>
                    <a:pt x="1933756" y="2728459"/>
                    <a:pt x="1926279" y="2733765"/>
                    <a:pt x="1918392" y="2732422"/>
                  </a:cubicBezTo>
                  <a:cubicBezTo>
                    <a:pt x="1910505" y="2731079"/>
                    <a:pt x="1905209" y="2723602"/>
                    <a:pt x="1906552" y="2715715"/>
                  </a:cubicBezTo>
                  <a:cubicBezTo>
                    <a:pt x="1907581" y="2709657"/>
                    <a:pt x="1912324" y="2704904"/>
                    <a:pt x="1918392" y="2703876"/>
                  </a:cubicBezTo>
                  <a:lnTo>
                    <a:pt x="1918392" y="2250962"/>
                  </a:lnTo>
                  <a:cubicBezTo>
                    <a:pt x="1909657" y="2249590"/>
                    <a:pt x="1903695" y="2241408"/>
                    <a:pt x="1905057" y="2232674"/>
                  </a:cubicBezTo>
                  <a:cubicBezTo>
                    <a:pt x="1906428" y="2223949"/>
                    <a:pt x="1914610" y="2217977"/>
                    <a:pt x="1923345" y="2219339"/>
                  </a:cubicBezTo>
                  <a:cubicBezTo>
                    <a:pt x="1931127" y="2220568"/>
                    <a:pt x="1936870" y="2227273"/>
                    <a:pt x="1936870" y="2235150"/>
                  </a:cubicBezTo>
                  <a:close/>
                  <a:moveTo>
                    <a:pt x="1920773" y="2246295"/>
                  </a:moveTo>
                  <a:cubicBezTo>
                    <a:pt x="1914620" y="2246295"/>
                    <a:pt x="1909629" y="2241303"/>
                    <a:pt x="1909629" y="2235150"/>
                  </a:cubicBezTo>
                  <a:cubicBezTo>
                    <a:pt x="1909629" y="2228997"/>
                    <a:pt x="1914620" y="2224006"/>
                    <a:pt x="1920773" y="2224006"/>
                  </a:cubicBezTo>
                  <a:cubicBezTo>
                    <a:pt x="1926926" y="2224006"/>
                    <a:pt x="1931917" y="2228997"/>
                    <a:pt x="1931917" y="2235150"/>
                  </a:cubicBezTo>
                  <a:cubicBezTo>
                    <a:pt x="1931917" y="2241303"/>
                    <a:pt x="1926926" y="2246295"/>
                    <a:pt x="1920773" y="2246295"/>
                  </a:cubicBezTo>
                  <a:close/>
                  <a:moveTo>
                    <a:pt x="2411882" y="2228578"/>
                  </a:moveTo>
                  <a:cubicBezTo>
                    <a:pt x="2416245" y="2224235"/>
                    <a:pt x="2416264" y="2217186"/>
                    <a:pt x="2411930" y="2212814"/>
                  </a:cubicBezTo>
                  <a:cubicBezTo>
                    <a:pt x="2407586" y="2208452"/>
                    <a:pt x="2400528" y="2208433"/>
                    <a:pt x="2396166" y="2212776"/>
                  </a:cubicBezTo>
                  <a:cubicBezTo>
                    <a:pt x="2391803" y="2217110"/>
                    <a:pt x="2391785" y="2224168"/>
                    <a:pt x="2396118" y="2228530"/>
                  </a:cubicBezTo>
                  <a:cubicBezTo>
                    <a:pt x="2396137" y="2228550"/>
                    <a:pt x="2396147" y="2228559"/>
                    <a:pt x="2396166" y="2228578"/>
                  </a:cubicBezTo>
                  <a:cubicBezTo>
                    <a:pt x="2400452" y="2232921"/>
                    <a:pt x="2407453" y="2232959"/>
                    <a:pt x="2411787" y="2228673"/>
                  </a:cubicBezTo>
                  <a:cubicBezTo>
                    <a:pt x="2411825" y="2228635"/>
                    <a:pt x="2411854" y="2228607"/>
                    <a:pt x="2411882" y="2228578"/>
                  </a:cubicBezTo>
                  <a:close/>
                  <a:moveTo>
                    <a:pt x="2383307" y="2711876"/>
                  </a:moveTo>
                  <a:cubicBezTo>
                    <a:pt x="2378078" y="2717134"/>
                    <a:pt x="2378107" y="2725640"/>
                    <a:pt x="2383364" y="2730869"/>
                  </a:cubicBezTo>
                  <a:cubicBezTo>
                    <a:pt x="2388622" y="2736099"/>
                    <a:pt x="2397128" y="2736070"/>
                    <a:pt x="2402357" y="2730812"/>
                  </a:cubicBezTo>
                  <a:cubicBezTo>
                    <a:pt x="2407567" y="2725574"/>
                    <a:pt x="2407567" y="2717115"/>
                    <a:pt x="2402357" y="2711876"/>
                  </a:cubicBezTo>
                  <a:cubicBezTo>
                    <a:pt x="2397080" y="2706647"/>
                    <a:pt x="2388584" y="2706647"/>
                    <a:pt x="2383307" y="2711876"/>
                  </a:cubicBezTo>
                  <a:close/>
                  <a:moveTo>
                    <a:pt x="2164232" y="1764711"/>
                  </a:moveTo>
                  <a:cubicBezTo>
                    <a:pt x="2164223" y="1772626"/>
                    <a:pt x="2158441" y="1779341"/>
                    <a:pt x="2150611" y="1780522"/>
                  </a:cubicBezTo>
                  <a:lnTo>
                    <a:pt x="2150611" y="2703876"/>
                  </a:lnTo>
                  <a:cubicBezTo>
                    <a:pt x="2158498" y="2705219"/>
                    <a:pt x="2163794" y="2712696"/>
                    <a:pt x="2162451" y="2720573"/>
                  </a:cubicBezTo>
                  <a:cubicBezTo>
                    <a:pt x="2161117" y="2728459"/>
                    <a:pt x="2153640" y="2733765"/>
                    <a:pt x="2145754" y="2732422"/>
                  </a:cubicBezTo>
                  <a:cubicBezTo>
                    <a:pt x="2137867" y="2731079"/>
                    <a:pt x="2132571" y="2723602"/>
                    <a:pt x="2133914" y="2715715"/>
                  </a:cubicBezTo>
                  <a:cubicBezTo>
                    <a:pt x="2134943" y="2709657"/>
                    <a:pt x="2139686" y="2704904"/>
                    <a:pt x="2145754" y="2703876"/>
                  </a:cubicBezTo>
                  <a:lnTo>
                    <a:pt x="2145754" y="1780522"/>
                  </a:lnTo>
                  <a:cubicBezTo>
                    <a:pt x="2137019" y="1779150"/>
                    <a:pt x="2131057" y="1770968"/>
                    <a:pt x="2132419" y="1762234"/>
                  </a:cubicBezTo>
                  <a:cubicBezTo>
                    <a:pt x="2133790" y="1753509"/>
                    <a:pt x="2141972" y="1747537"/>
                    <a:pt x="2150707" y="1748899"/>
                  </a:cubicBezTo>
                  <a:cubicBezTo>
                    <a:pt x="2158489" y="1750128"/>
                    <a:pt x="2164232" y="1756833"/>
                    <a:pt x="2164232" y="1764711"/>
                  </a:cubicBezTo>
                  <a:close/>
                  <a:moveTo>
                    <a:pt x="2148230" y="1775569"/>
                  </a:moveTo>
                  <a:cubicBezTo>
                    <a:pt x="2142077" y="1775569"/>
                    <a:pt x="2137086" y="1770578"/>
                    <a:pt x="2137086" y="1764425"/>
                  </a:cubicBezTo>
                  <a:cubicBezTo>
                    <a:pt x="2137086" y="1758272"/>
                    <a:pt x="2142077" y="1753281"/>
                    <a:pt x="2148230" y="1753281"/>
                  </a:cubicBezTo>
                  <a:cubicBezTo>
                    <a:pt x="2154383" y="1753281"/>
                    <a:pt x="2159374" y="1758272"/>
                    <a:pt x="2159374" y="1764425"/>
                  </a:cubicBezTo>
                  <a:cubicBezTo>
                    <a:pt x="2159374" y="1770578"/>
                    <a:pt x="2154383" y="1775569"/>
                    <a:pt x="2148230" y="1775569"/>
                  </a:cubicBezTo>
                  <a:close/>
                  <a:moveTo>
                    <a:pt x="1778089" y="2721687"/>
                  </a:moveTo>
                  <a:cubicBezTo>
                    <a:pt x="1778127" y="2713772"/>
                    <a:pt x="1783889" y="2707038"/>
                    <a:pt x="1791709" y="2705781"/>
                  </a:cubicBezTo>
                  <a:lnTo>
                    <a:pt x="1791709" y="1808526"/>
                  </a:lnTo>
                  <a:cubicBezTo>
                    <a:pt x="1783823" y="1807182"/>
                    <a:pt x="1778527" y="1799705"/>
                    <a:pt x="1779870" y="1791828"/>
                  </a:cubicBezTo>
                  <a:cubicBezTo>
                    <a:pt x="1781203" y="1783941"/>
                    <a:pt x="1788680" y="1778636"/>
                    <a:pt x="1796567" y="1779979"/>
                  </a:cubicBezTo>
                  <a:cubicBezTo>
                    <a:pt x="1804454" y="1781322"/>
                    <a:pt x="1809750" y="1788799"/>
                    <a:pt x="1808407" y="1796686"/>
                  </a:cubicBezTo>
                  <a:cubicBezTo>
                    <a:pt x="1807378" y="1802744"/>
                    <a:pt x="1802635" y="1807497"/>
                    <a:pt x="1796567" y="1808526"/>
                  </a:cubicBezTo>
                  <a:lnTo>
                    <a:pt x="1796567" y="2706066"/>
                  </a:lnTo>
                  <a:cubicBezTo>
                    <a:pt x="1805301" y="2707438"/>
                    <a:pt x="1811264" y="2715620"/>
                    <a:pt x="1809902" y="2724354"/>
                  </a:cubicBezTo>
                  <a:cubicBezTo>
                    <a:pt x="1808531" y="2733079"/>
                    <a:pt x="1800348" y="2739052"/>
                    <a:pt x="1791614" y="2737689"/>
                  </a:cubicBezTo>
                  <a:cubicBezTo>
                    <a:pt x="1783861" y="2736470"/>
                    <a:pt x="1778136" y="2729822"/>
                    <a:pt x="1778089" y="2721973"/>
                  </a:cubicBezTo>
                  <a:close/>
                  <a:moveTo>
                    <a:pt x="1794186" y="2710543"/>
                  </a:moveTo>
                  <a:cubicBezTo>
                    <a:pt x="1788033" y="2710543"/>
                    <a:pt x="1783042" y="2715534"/>
                    <a:pt x="1783042" y="2721687"/>
                  </a:cubicBezTo>
                  <a:cubicBezTo>
                    <a:pt x="1783042" y="2727841"/>
                    <a:pt x="1788033" y="2732832"/>
                    <a:pt x="1794186" y="2732832"/>
                  </a:cubicBezTo>
                  <a:cubicBezTo>
                    <a:pt x="1800339" y="2732832"/>
                    <a:pt x="1805330" y="2727841"/>
                    <a:pt x="1805330" y="2721687"/>
                  </a:cubicBezTo>
                  <a:cubicBezTo>
                    <a:pt x="1805330" y="2715534"/>
                    <a:pt x="1800339" y="2710543"/>
                    <a:pt x="1794186" y="2710543"/>
                  </a:cubicBezTo>
                  <a:close/>
                  <a:moveTo>
                    <a:pt x="2019071" y="1899585"/>
                  </a:moveTo>
                  <a:cubicBezTo>
                    <a:pt x="2012918" y="1899585"/>
                    <a:pt x="2007927" y="1894593"/>
                    <a:pt x="2007927" y="1888440"/>
                  </a:cubicBezTo>
                  <a:cubicBezTo>
                    <a:pt x="2007927" y="1882287"/>
                    <a:pt x="2012918" y="1877296"/>
                    <a:pt x="2019071" y="1877296"/>
                  </a:cubicBezTo>
                  <a:cubicBezTo>
                    <a:pt x="2025224" y="1877296"/>
                    <a:pt x="2030215" y="1882287"/>
                    <a:pt x="2030215" y="1888440"/>
                  </a:cubicBezTo>
                  <a:cubicBezTo>
                    <a:pt x="2030215" y="1894593"/>
                    <a:pt x="2025224" y="1899585"/>
                    <a:pt x="2019071" y="1899585"/>
                  </a:cubicBezTo>
                  <a:close/>
                  <a:moveTo>
                    <a:pt x="2845460" y="2183144"/>
                  </a:moveTo>
                  <a:cubicBezTo>
                    <a:pt x="2845517" y="2174257"/>
                    <a:pt x="2838364" y="2166999"/>
                    <a:pt x="2829468" y="2166942"/>
                  </a:cubicBezTo>
                  <a:cubicBezTo>
                    <a:pt x="2820581" y="2166875"/>
                    <a:pt x="2813323" y="2174038"/>
                    <a:pt x="2813266" y="2182925"/>
                  </a:cubicBezTo>
                  <a:cubicBezTo>
                    <a:pt x="2813208" y="2190935"/>
                    <a:pt x="2819057" y="2197774"/>
                    <a:pt x="2826982" y="2198955"/>
                  </a:cubicBezTo>
                  <a:lnTo>
                    <a:pt x="2826982" y="2703780"/>
                  </a:lnTo>
                  <a:cubicBezTo>
                    <a:pt x="2819152" y="2705123"/>
                    <a:pt x="2813894" y="2712553"/>
                    <a:pt x="2815237" y="2720382"/>
                  </a:cubicBezTo>
                  <a:cubicBezTo>
                    <a:pt x="2816580" y="2728212"/>
                    <a:pt x="2824010" y="2733470"/>
                    <a:pt x="2831839" y="2732136"/>
                  </a:cubicBezTo>
                  <a:cubicBezTo>
                    <a:pt x="2839669" y="2730793"/>
                    <a:pt x="2844927" y="2723354"/>
                    <a:pt x="2843584" y="2715525"/>
                  </a:cubicBezTo>
                  <a:cubicBezTo>
                    <a:pt x="2842555" y="2709514"/>
                    <a:pt x="2837850" y="2704809"/>
                    <a:pt x="2831839" y="2703780"/>
                  </a:cubicBezTo>
                  <a:lnTo>
                    <a:pt x="2831839" y="2198955"/>
                  </a:lnTo>
                  <a:cubicBezTo>
                    <a:pt x="2839640" y="2197736"/>
                    <a:pt x="2845413" y="2191040"/>
                    <a:pt x="2845460" y="2183144"/>
                  </a:cubicBezTo>
                  <a:close/>
                  <a:moveTo>
                    <a:pt x="2829363" y="2194669"/>
                  </a:moveTo>
                  <a:cubicBezTo>
                    <a:pt x="2835516" y="2194669"/>
                    <a:pt x="2840507" y="2189678"/>
                    <a:pt x="2840507" y="2183525"/>
                  </a:cubicBezTo>
                  <a:cubicBezTo>
                    <a:pt x="2840507" y="2177372"/>
                    <a:pt x="2835516" y="2172381"/>
                    <a:pt x="2829363" y="2172381"/>
                  </a:cubicBezTo>
                  <a:cubicBezTo>
                    <a:pt x="2823210" y="2172381"/>
                    <a:pt x="2818219" y="2177372"/>
                    <a:pt x="2818219" y="2183525"/>
                  </a:cubicBezTo>
                  <a:cubicBezTo>
                    <a:pt x="2818219" y="2189678"/>
                    <a:pt x="2823210" y="2194669"/>
                    <a:pt x="2829363" y="2194669"/>
                  </a:cubicBezTo>
                  <a:close/>
                  <a:moveTo>
                    <a:pt x="2298154" y="1773664"/>
                  </a:moveTo>
                  <a:cubicBezTo>
                    <a:pt x="2293810" y="1778026"/>
                    <a:pt x="2286762" y="1778045"/>
                    <a:pt x="2282390" y="1773712"/>
                  </a:cubicBezTo>
                  <a:cubicBezTo>
                    <a:pt x="2278027" y="1769368"/>
                    <a:pt x="2278008" y="1762310"/>
                    <a:pt x="2282352" y="1757948"/>
                  </a:cubicBezTo>
                  <a:cubicBezTo>
                    <a:pt x="2286686" y="1753585"/>
                    <a:pt x="2293744" y="1753566"/>
                    <a:pt x="2298106" y="1757900"/>
                  </a:cubicBezTo>
                  <a:cubicBezTo>
                    <a:pt x="2298125" y="1757919"/>
                    <a:pt x="2298135" y="1757929"/>
                    <a:pt x="2298154" y="1757948"/>
                  </a:cubicBezTo>
                  <a:cubicBezTo>
                    <a:pt x="2302497" y="1762234"/>
                    <a:pt x="2302535" y="1769235"/>
                    <a:pt x="2298249" y="1773569"/>
                  </a:cubicBezTo>
                  <a:cubicBezTo>
                    <a:pt x="2298211" y="1773607"/>
                    <a:pt x="2298182" y="1773635"/>
                    <a:pt x="2298154" y="1773664"/>
                  </a:cubicBezTo>
                  <a:close/>
                  <a:moveTo>
                    <a:pt x="2649721" y="1539730"/>
                  </a:moveTo>
                  <a:cubicBezTo>
                    <a:pt x="2642358" y="1532215"/>
                    <a:pt x="2630300" y="1532081"/>
                    <a:pt x="2622785" y="1539444"/>
                  </a:cubicBezTo>
                  <a:cubicBezTo>
                    <a:pt x="2615269" y="1546807"/>
                    <a:pt x="2615136" y="1558866"/>
                    <a:pt x="2622499" y="1566391"/>
                  </a:cubicBezTo>
                  <a:cubicBezTo>
                    <a:pt x="2629185" y="1573210"/>
                    <a:pt x="2639882" y="1574030"/>
                    <a:pt x="2647531" y="1568305"/>
                  </a:cubicBezTo>
                  <a:lnTo>
                    <a:pt x="2969857" y="1890726"/>
                  </a:lnTo>
                  <a:lnTo>
                    <a:pt x="2969857" y="2700351"/>
                  </a:lnTo>
                  <a:cubicBezTo>
                    <a:pt x="2960427" y="2701980"/>
                    <a:pt x="2954093" y="2710953"/>
                    <a:pt x="2955731" y="2720382"/>
                  </a:cubicBezTo>
                  <a:cubicBezTo>
                    <a:pt x="2957360" y="2729822"/>
                    <a:pt x="2966332" y="2736146"/>
                    <a:pt x="2975762" y="2734518"/>
                  </a:cubicBezTo>
                  <a:cubicBezTo>
                    <a:pt x="2985192" y="2732889"/>
                    <a:pt x="2991526" y="2723916"/>
                    <a:pt x="2989888" y="2714477"/>
                  </a:cubicBezTo>
                  <a:cubicBezTo>
                    <a:pt x="2988640" y="2707257"/>
                    <a:pt x="2982982" y="2701599"/>
                    <a:pt x="2975762" y="2700351"/>
                  </a:cubicBezTo>
                  <a:lnTo>
                    <a:pt x="2975762" y="1888726"/>
                  </a:lnTo>
                  <a:lnTo>
                    <a:pt x="2651912" y="1564876"/>
                  </a:lnTo>
                  <a:cubicBezTo>
                    <a:pt x="2657599" y="1557246"/>
                    <a:pt x="2656779" y="1546598"/>
                    <a:pt x="2650007" y="1539920"/>
                  </a:cubicBezTo>
                  <a:close/>
                  <a:moveTo>
                    <a:pt x="2645626" y="1562781"/>
                  </a:moveTo>
                  <a:cubicBezTo>
                    <a:pt x="2650855" y="1557523"/>
                    <a:pt x="2650826" y="1549017"/>
                    <a:pt x="2645568" y="1543788"/>
                  </a:cubicBezTo>
                  <a:cubicBezTo>
                    <a:pt x="2640311" y="1538558"/>
                    <a:pt x="2631805" y="1538587"/>
                    <a:pt x="2626576" y="1543845"/>
                  </a:cubicBezTo>
                  <a:cubicBezTo>
                    <a:pt x="2621366" y="1549084"/>
                    <a:pt x="2621366" y="1557542"/>
                    <a:pt x="2626576" y="1562781"/>
                  </a:cubicBezTo>
                  <a:cubicBezTo>
                    <a:pt x="2631852" y="1568010"/>
                    <a:pt x="2640349" y="1568010"/>
                    <a:pt x="2645626" y="1562781"/>
                  </a:cubicBezTo>
                  <a:close/>
                  <a:moveTo>
                    <a:pt x="1752371" y="1638981"/>
                  </a:moveTo>
                  <a:cubicBezTo>
                    <a:pt x="1752371" y="1645134"/>
                    <a:pt x="1747380" y="1650125"/>
                    <a:pt x="1741227" y="1650125"/>
                  </a:cubicBezTo>
                  <a:cubicBezTo>
                    <a:pt x="1735074" y="1650125"/>
                    <a:pt x="1730083" y="1645134"/>
                    <a:pt x="1730083" y="1638981"/>
                  </a:cubicBezTo>
                  <a:cubicBezTo>
                    <a:pt x="1730083" y="1632827"/>
                    <a:pt x="1735074" y="1627836"/>
                    <a:pt x="1741227" y="1627836"/>
                  </a:cubicBezTo>
                  <a:cubicBezTo>
                    <a:pt x="1747361" y="1627884"/>
                    <a:pt x="1752323" y="1632846"/>
                    <a:pt x="1752371" y="1638981"/>
                  </a:cubicBezTo>
                  <a:close/>
                  <a:moveTo>
                    <a:pt x="1344225" y="2711876"/>
                  </a:moveTo>
                  <a:cubicBezTo>
                    <a:pt x="1349378" y="2717134"/>
                    <a:pt x="1349292" y="2725583"/>
                    <a:pt x="1344034" y="2730736"/>
                  </a:cubicBezTo>
                  <a:cubicBezTo>
                    <a:pt x="1338776" y="2735889"/>
                    <a:pt x="1330328" y="2735803"/>
                    <a:pt x="1325175" y="2730546"/>
                  </a:cubicBezTo>
                  <a:cubicBezTo>
                    <a:pt x="1320098" y="2725354"/>
                    <a:pt x="1320098" y="2717058"/>
                    <a:pt x="1325175" y="2711876"/>
                  </a:cubicBezTo>
                  <a:cubicBezTo>
                    <a:pt x="1330404" y="2706619"/>
                    <a:pt x="1338910" y="2706590"/>
                    <a:pt x="1344168" y="2711819"/>
                  </a:cubicBezTo>
                  <a:cubicBezTo>
                    <a:pt x="1344187" y="2711838"/>
                    <a:pt x="1344206" y="2711858"/>
                    <a:pt x="1344225" y="2711876"/>
                  </a:cubicBezTo>
                  <a:close/>
                  <a:moveTo>
                    <a:pt x="1289932" y="1718990"/>
                  </a:moveTo>
                  <a:cubicBezTo>
                    <a:pt x="1283779" y="1718990"/>
                    <a:pt x="1278788" y="1713999"/>
                    <a:pt x="1278788" y="1707846"/>
                  </a:cubicBezTo>
                  <a:cubicBezTo>
                    <a:pt x="1278788" y="1701693"/>
                    <a:pt x="1283779" y="1696702"/>
                    <a:pt x="1289932" y="1696702"/>
                  </a:cubicBezTo>
                  <a:cubicBezTo>
                    <a:pt x="1296085" y="1696702"/>
                    <a:pt x="1301077" y="1701693"/>
                    <a:pt x="1301077" y="1707846"/>
                  </a:cubicBezTo>
                  <a:cubicBezTo>
                    <a:pt x="1301029" y="1713980"/>
                    <a:pt x="1296066" y="1718943"/>
                    <a:pt x="1289932" y="1718990"/>
                  </a:cubicBezTo>
                  <a:close/>
                  <a:moveTo>
                    <a:pt x="4041610" y="1837386"/>
                  </a:moveTo>
                  <a:cubicBezTo>
                    <a:pt x="4035371" y="1843644"/>
                    <a:pt x="4035390" y="1853779"/>
                    <a:pt x="4041648" y="1860018"/>
                  </a:cubicBezTo>
                  <a:cubicBezTo>
                    <a:pt x="4047906" y="1866257"/>
                    <a:pt x="4058040" y="1866237"/>
                    <a:pt x="4064279" y="1859980"/>
                  </a:cubicBezTo>
                  <a:cubicBezTo>
                    <a:pt x="4069823" y="1854417"/>
                    <a:pt x="4070508" y="1845654"/>
                    <a:pt x="4065898" y="1839291"/>
                  </a:cubicBezTo>
                  <a:lnTo>
                    <a:pt x="4386796" y="1518394"/>
                  </a:lnTo>
                  <a:cubicBezTo>
                    <a:pt x="4393283" y="1522985"/>
                    <a:pt x="4402255" y="1521452"/>
                    <a:pt x="4406846" y="1514965"/>
                  </a:cubicBezTo>
                  <a:cubicBezTo>
                    <a:pt x="4411437" y="1508478"/>
                    <a:pt x="4409904" y="1499506"/>
                    <a:pt x="4403417" y="1494915"/>
                  </a:cubicBezTo>
                  <a:cubicBezTo>
                    <a:pt x="4396931" y="1490324"/>
                    <a:pt x="4387958" y="1491857"/>
                    <a:pt x="4383367" y="1498344"/>
                  </a:cubicBezTo>
                  <a:cubicBezTo>
                    <a:pt x="4379843" y="1503325"/>
                    <a:pt x="4379843" y="1509983"/>
                    <a:pt x="4383367" y="1514965"/>
                  </a:cubicBezTo>
                  <a:lnTo>
                    <a:pt x="4062565" y="1835767"/>
                  </a:lnTo>
                  <a:cubicBezTo>
                    <a:pt x="4056211" y="1831090"/>
                    <a:pt x="4047401" y="1831738"/>
                    <a:pt x="4041800" y="1837291"/>
                  </a:cubicBezTo>
                  <a:close/>
                  <a:moveTo>
                    <a:pt x="4060660" y="1840815"/>
                  </a:moveTo>
                  <a:cubicBezTo>
                    <a:pt x="4064946" y="1845216"/>
                    <a:pt x="4064946" y="1852226"/>
                    <a:pt x="4060660" y="1856627"/>
                  </a:cubicBezTo>
                  <a:cubicBezTo>
                    <a:pt x="4056326" y="1860989"/>
                    <a:pt x="4049268" y="1861018"/>
                    <a:pt x="4044896" y="1856674"/>
                  </a:cubicBezTo>
                  <a:cubicBezTo>
                    <a:pt x="4044886" y="1856665"/>
                    <a:pt x="4044867" y="1856646"/>
                    <a:pt x="4044848" y="1856627"/>
                  </a:cubicBezTo>
                  <a:cubicBezTo>
                    <a:pt x="4040486" y="1852264"/>
                    <a:pt x="4040486" y="1845178"/>
                    <a:pt x="4044848" y="1840815"/>
                  </a:cubicBezTo>
                  <a:cubicBezTo>
                    <a:pt x="4049211" y="1836453"/>
                    <a:pt x="4056297" y="1836453"/>
                    <a:pt x="4060660" y="1840815"/>
                  </a:cubicBezTo>
                  <a:close/>
                  <a:moveTo>
                    <a:pt x="3790245" y="1964640"/>
                  </a:moveTo>
                  <a:cubicBezTo>
                    <a:pt x="3790245" y="1957220"/>
                    <a:pt x="3784235" y="1951210"/>
                    <a:pt x="3776815" y="1951210"/>
                  </a:cubicBezTo>
                  <a:cubicBezTo>
                    <a:pt x="3769395" y="1951210"/>
                    <a:pt x="3763385" y="1957220"/>
                    <a:pt x="3763385" y="1964640"/>
                  </a:cubicBezTo>
                  <a:cubicBezTo>
                    <a:pt x="3763385" y="1972060"/>
                    <a:pt x="3769395" y="1978070"/>
                    <a:pt x="3776815" y="1978070"/>
                  </a:cubicBezTo>
                  <a:cubicBezTo>
                    <a:pt x="3776843" y="1978070"/>
                    <a:pt x="3776881" y="1978070"/>
                    <a:pt x="3776910" y="1978070"/>
                  </a:cubicBezTo>
                  <a:cubicBezTo>
                    <a:pt x="3784273" y="1978070"/>
                    <a:pt x="3790245" y="1972098"/>
                    <a:pt x="3790245" y="1964736"/>
                  </a:cubicBezTo>
                  <a:cubicBezTo>
                    <a:pt x="3790245" y="1964707"/>
                    <a:pt x="3790245" y="1964669"/>
                    <a:pt x="3790245" y="1964640"/>
                  </a:cubicBezTo>
                  <a:close/>
                  <a:moveTo>
                    <a:pt x="3617461" y="1994644"/>
                  </a:moveTo>
                  <a:cubicBezTo>
                    <a:pt x="3612204" y="1989491"/>
                    <a:pt x="3603755" y="1989577"/>
                    <a:pt x="3598602" y="1994835"/>
                  </a:cubicBezTo>
                  <a:cubicBezTo>
                    <a:pt x="3593449" y="2000092"/>
                    <a:pt x="3593535" y="2008541"/>
                    <a:pt x="3598793" y="2013694"/>
                  </a:cubicBezTo>
                  <a:cubicBezTo>
                    <a:pt x="3603983" y="2018771"/>
                    <a:pt x="3612280" y="2018771"/>
                    <a:pt x="3617461" y="2013694"/>
                  </a:cubicBezTo>
                  <a:cubicBezTo>
                    <a:pt x="3622719" y="2008465"/>
                    <a:pt x="3622748" y="1999959"/>
                    <a:pt x="3617518" y="1994701"/>
                  </a:cubicBezTo>
                  <a:cubicBezTo>
                    <a:pt x="3617500" y="1994682"/>
                    <a:pt x="3617480" y="1994663"/>
                    <a:pt x="3617461" y="1994644"/>
                  </a:cubicBezTo>
                  <a:close/>
                  <a:moveTo>
                    <a:pt x="3416960" y="2316208"/>
                  </a:moveTo>
                  <a:cubicBezTo>
                    <a:pt x="3416960" y="2310055"/>
                    <a:pt x="3411969" y="2305064"/>
                    <a:pt x="3405816" y="2305064"/>
                  </a:cubicBezTo>
                  <a:cubicBezTo>
                    <a:pt x="3399663" y="2305064"/>
                    <a:pt x="3394672" y="2310055"/>
                    <a:pt x="3394672" y="2316208"/>
                  </a:cubicBezTo>
                  <a:cubicBezTo>
                    <a:pt x="3394672" y="2322361"/>
                    <a:pt x="3399663" y="2327352"/>
                    <a:pt x="3405816" y="2327352"/>
                  </a:cubicBezTo>
                  <a:cubicBezTo>
                    <a:pt x="3411969" y="2327352"/>
                    <a:pt x="3416960" y="2322361"/>
                    <a:pt x="3416960" y="2316208"/>
                  </a:cubicBezTo>
                  <a:close/>
                  <a:moveTo>
                    <a:pt x="4447280" y="1987024"/>
                  </a:moveTo>
                  <a:cubicBezTo>
                    <a:pt x="4451623" y="1991387"/>
                    <a:pt x="4458672" y="1991406"/>
                    <a:pt x="4463043" y="1987072"/>
                  </a:cubicBezTo>
                  <a:cubicBezTo>
                    <a:pt x="4467406" y="1982728"/>
                    <a:pt x="4467425" y="1975670"/>
                    <a:pt x="4463082" y="1971308"/>
                  </a:cubicBezTo>
                  <a:cubicBezTo>
                    <a:pt x="4458748" y="1966945"/>
                    <a:pt x="4451689" y="1966926"/>
                    <a:pt x="4447327" y="1971260"/>
                  </a:cubicBezTo>
                  <a:cubicBezTo>
                    <a:pt x="4447308" y="1971279"/>
                    <a:pt x="4447298" y="1971289"/>
                    <a:pt x="4447280" y="1971308"/>
                  </a:cubicBezTo>
                  <a:cubicBezTo>
                    <a:pt x="4442936" y="1975594"/>
                    <a:pt x="4442898" y="1982595"/>
                    <a:pt x="4447194" y="1986929"/>
                  </a:cubicBezTo>
                  <a:cubicBezTo>
                    <a:pt x="4447222" y="1986967"/>
                    <a:pt x="4447251" y="1986996"/>
                    <a:pt x="4447280" y="1987024"/>
                  </a:cubicBezTo>
                  <a:close/>
                  <a:moveTo>
                    <a:pt x="4222775" y="2450892"/>
                  </a:moveTo>
                  <a:cubicBezTo>
                    <a:pt x="4222775" y="2458311"/>
                    <a:pt x="4228786" y="2464322"/>
                    <a:pt x="4236205" y="2464322"/>
                  </a:cubicBezTo>
                  <a:cubicBezTo>
                    <a:pt x="4243625" y="2464322"/>
                    <a:pt x="4249636" y="2458311"/>
                    <a:pt x="4249636" y="2450892"/>
                  </a:cubicBezTo>
                  <a:cubicBezTo>
                    <a:pt x="4249636" y="2443472"/>
                    <a:pt x="4243625" y="2437461"/>
                    <a:pt x="4236205" y="2437461"/>
                  </a:cubicBezTo>
                  <a:cubicBezTo>
                    <a:pt x="4236177" y="2437461"/>
                    <a:pt x="4236139" y="2437461"/>
                    <a:pt x="4236110" y="2437461"/>
                  </a:cubicBezTo>
                  <a:cubicBezTo>
                    <a:pt x="4228748" y="2437461"/>
                    <a:pt x="4222775" y="2443434"/>
                    <a:pt x="4222775" y="2450796"/>
                  </a:cubicBezTo>
                  <a:cubicBezTo>
                    <a:pt x="4222775" y="2450825"/>
                    <a:pt x="4222775" y="2450863"/>
                    <a:pt x="4222775" y="2450892"/>
                  </a:cubicBezTo>
                  <a:close/>
                  <a:moveTo>
                    <a:pt x="3327425" y="1959782"/>
                  </a:moveTo>
                  <a:cubicBezTo>
                    <a:pt x="3331759" y="1964145"/>
                    <a:pt x="3331740" y="1971203"/>
                    <a:pt x="3327377" y="1975546"/>
                  </a:cubicBezTo>
                  <a:cubicBezTo>
                    <a:pt x="3323006" y="1979880"/>
                    <a:pt x="3315948" y="1979861"/>
                    <a:pt x="3311614" y="1975489"/>
                  </a:cubicBezTo>
                  <a:cubicBezTo>
                    <a:pt x="3307299" y="1971146"/>
                    <a:pt x="3307299" y="1964126"/>
                    <a:pt x="3311614" y="1959782"/>
                  </a:cubicBezTo>
                  <a:cubicBezTo>
                    <a:pt x="3315995" y="1955449"/>
                    <a:pt x="3323044" y="1955449"/>
                    <a:pt x="3327425" y="1959782"/>
                  </a:cubicBezTo>
                  <a:close/>
                  <a:moveTo>
                    <a:pt x="3558692" y="1474007"/>
                  </a:moveTo>
                  <a:cubicBezTo>
                    <a:pt x="3551358" y="1481551"/>
                    <a:pt x="3551529" y="1493610"/>
                    <a:pt x="3559073" y="1500944"/>
                  </a:cubicBezTo>
                  <a:cubicBezTo>
                    <a:pt x="3566608" y="1508279"/>
                    <a:pt x="3578676" y="1508117"/>
                    <a:pt x="3586010" y="1500573"/>
                  </a:cubicBezTo>
                  <a:cubicBezTo>
                    <a:pt x="3592439" y="1493962"/>
                    <a:pt x="3593201" y="1483694"/>
                    <a:pt x="3587839" y="1476198"/>
                  </a:cubicBezTo>
                  <a:lnTo>
                    <a:pt x="3980745" y="1083292"/>
                  </a:lnTo>
                  <a:cubicBezTo>
                    <a:pt x="3988536" y="1088950"/>
                    <a:pt x="3999433" y="1087216"/>
                    <a:pt x="4005091" y="1079425"/>
                  </a:cubicBezTo>
                  <a:cubicBezTo>
                    <a:pt x="4010749" y="1071633"/>
                    <a:pt x="4009015" y="1060737"/>
                    <a:pt x="4001224" y="1055079"/>
                  </a:cubicBezTo>
                  <a:cubicBezTo>
                    <a:pt x="3993442" y="1049431"/>
                    <a:pt x="3982536" y="1051155"/>
                    <a:pt x="3976878" y="1058946"/>
                  </a:cubicBezTo>
                  <a:cubicBezTo>
                    <a:pt x="3972534" y="1064937"/>
                    <a:pt x="3972439" y="1073015"/>
                    <a:pt x="3976649" y="1079101"/>
                  </a:cubicBezTo>
                  <a:lnTo>
                    <a:pt x="3583648" y="1472103"/>
                  </a:lnTo>
                  <a:cubicBezTo>
                    <a:pt x="3576018" y="1466416"/>
                    <a:pt x="3565369" y="1467235"/>
                    <a:pt x="3558692" y="1474007"/>
                  </a:cubicBezTo>
                  <a:close/>
                  <a:moveTo>
                    <a:pt x="3581743" y="1478103"/>
                  </a:moveTo>
                  <a:cubicBezTo>
                    <a:pt x="3586972" y="1483361"/>
                    <a:pt x="3586943" y="1491867"/>
                    <a:pt x="3581685" y="1497096"/>
                  </a:cubicBezTo>
                  <a:cubicBezTo>
                    <a:pt x="3576428" y="1502325"/>
                    <a:pt x="3567922" y="1502297"/>
                    <a:pt x="3562693" y="1497039"/>
                  </a:cubicBezTo>
                  <a:cubicBezTo>
                    <a:pt x="3557483" y="1491800"/>
                    <a:pt x="3557483" y="1483342"/>
                    <a:pt x="3562693" y="1478103"/>
                  </a:cubicBezTo>
                  <a:cubicBezTo>
                    <a:pt x="3567969" y="1472874"/>
                    <a:pt x="3576466" y="1472874"/>
                    <a:pt x="3581743" y="1478103"/>
                  </a:cubicBezTo>
                  <a:close/>
                  <a:moveTo>
                    <a:pt x="3520116" y="1134536"/>
                  </a:moveTo>
                  <a:cubicBezTo>
                    <a:pt x="3525736" y="1128974"/>
                    <a:pt x="3534556" y="1128288"/>
                    <a:pt x="3540976" y="1132917"/>
                  </a:cubicBezTo>
                  <a:lnTo>
                    <a:pt x="3689566" y="984327"/>
                  </a:lnTo>
                  <a:cubicBezTo>
                    <a:pt x="3684936" y="977803"/>
                    <a:pt x="3686470" y="968773"/>
                    <a:pt x="3692995" y="964144"/>
                  </a:cubicBezTo>
                  <a:cubicBezTo>
                    <a:pt x="3699519" y="959515"/>
                    <a:pt x="3708549" y="961048"/>
                    <a:pt x="3713178" y="967573"/>
                  </a:cubicBezTo>
                  <a:cubicBezTo>
                    <a:pt x="3717807" y="974088"/>
                    <a:pt x="3716274" y="983127"/>
                    <a:pt x="3709749" y="987756"/>
                  </a:cubicBezTo>
                  <a:cubicBezTo>
                    <a:pt x="3704729" y="991319"/>
                    <a:pt x="3698014" y="991319"/>
                    <a:pt x="3692995" y="987756"/>
                  </a:cubicBezTo>
                  <a:lnTo>
                    <a:pt x="3544405" y="1136441"/>
                  </a:lnTo>
                  <a:cubicBezTo>
                    <a:pt x="3549767" y="1143471"/>
                    <a:pt x="3548415" y="1153510"/>
                    <a:pt x="3541395" y="1158873"/>
                  </a:cubicBezTo>
                  <a:cubicBezTo>
                    <a:pt x="3534908" y="1163816"/>
                    <a:pt x="3525745" y="1163102"/>
                    <a:pt x="3520116" y="1157206"/>
                  </a:cubicBezTo>
                  <a:cubicBezTo>
                    <a:pt x="3513944" y="1150910"/>
                    <a:pt x="3513944" y="1140832"/>
                    <a:pt x="3520116" y="1134536"/>
                  </a:cubicBezTo>
                  <a:close/>
                  <a:moveTo>
                    <a:pt x="3539166" y="1137965"/>
                  </a:moveTo>
                  <a:cubicBezTo>
                    <a:pt x="3534803" y="1133632"/>
                    <a:pt x="3527745" y="1133651"/>
                    <a:pt x="3523402" y="1138013"/>
                  </a:cubicBezTo>
                  <a:cubicBezTo>
                    <a:pt x="3519068" y="1142385"/>
                    <a:pt x="3519087" y="1149443"/>
                    <a:pt x="3523459" y="1153777"/>
                  </a:cubicBezTo>
                  <a:cubicBezTo>
                    <a:pt x="3527803" y="1158092"/>
                    <a:pt x="3534823" y="1158092"/>
                    <a:pt x="3539166" y="1153777"/>
                  </a:cubicBezTo>
                  <a:cubicBezTo>
                    <a:pt x="3543452" y="1149376"/>
                    <a:pt x="3543452" y="1142366"/>
                    <a:pt x="3539166" y="1137965"/>
                  </a:cubicBezTo>
                  <a:close/>
                  <a:moveTo>
                    <a:pt x="2836126" y="1101866"/>
                  </a:moveTo>
                  <a:cubicBezTo>
                    <a:pt x="2840459" y="1097503"/>
                    <a:pt x="2840441" y="1090445"/>
                    <a:pt x="2836078" y="1086102"/>
                  </a:cubicBezTo>
                  <a:cubicBezTo>
                    <a:pt x="2831706" y="1081768"/>
                    <a:pt x="2824648" y="1081787"/>
                    <a:pt x="2820314" y="1086159"/>
                  </a:cubicBezTo>
                  <a:cubicBezTo>
                    <a:pt x="2815999" y="1090502"/>
                    <a:pt x="2815999" y="1097522"/>
                    <a:pt x="2820314" y="1101866"/>
                  </a:cubicBezTo>
                  <a:cubicBezTo>
                    <a:pt x="2824715" y="1106152"/>
                    <a:pt x="2831725" y="1106152"/>
                    <a:pt x="2836126" y="1101866"/>
                  </a:cubicBezTo>
                  <a:close/>
                  <a:moveTo>
                    <a:pt x="562603" y="1454291"/>
                  </a:moveTo>
                  <a:cubicBezTo>
                    <a:pt x="557346" y="1459444"/>
                    <a:pt x="548897" y="1459358"/>
                    <a:pt x="543744" y="1454100"/>
                  </a:cubicBezTo>
                  <a:cubicBezTo>
                    <a:pt x="538591" y="1448842"/>
                    <a:pt x="538677" y="1440394"/>
                    <a:pt x="543934" y="1435241"/>
                  </a:cubicBezTo>
                  <a:cubicBezTo>
                    <a:pt x="549125" y="1430164"/>
                    <a:pt x="557422" y="1430164"/>
                    <a:pt x="562603" y="1435241"/>
                  </a:cubicBezTo>
                  <a:cubicBezTo>
                    <a:pt x="567833" y="1440518"/>
                    <a:pt x="567833" y="1449014"/>
                    <a:pt x="562603" y="1454291"/>
                  </a:cubicBezTo>
                  <a:close/>
                  <a:moveTo>
                    <a:pt x="158267" y="1427430"/>
                  </a:moveTo>
                  <a:cubicBezTo>
                    <a:pt x="153901" y="1431764"/>
                    <a:pt x="146845" y="1431745"/>
                    <a:pt x="142507" y="1427383"/>
                  </a:cubicBezTo>
                  <a:cubicBezTo>
                    <a:pt x="138168" y="1423011"/>
                    <a:pt x="138192" y="1415953"/>
                    <a:pt x="142558" y="1411619"/>
                  </a:cubicBezTo>
                  <a:cubicBezTo>
                    <a:pt x="146904" y="1407304"/>
                    <a:pt x="153921" y="1407304"/>
                    <a:pt x="158267" y="1411619"/>
                  </a:cubicBezTo>
                  <a:cubicBezTo>
                    <a:pt x="162601" y="1416000"/>
                    <a:pt x="162601" y="1423049"/>
                    <a:pt x="158267" y="1427430"/>
                  </a:cubicBezTo>
                  <a:close/>
                  <a:moveTo>
                    <a:pt x="1421854" y="1453243"/>
                  </a:moveTo>
                  <a:cubicBezTo>
                    <a:pt x="1421911" y="1459453"/>
                    <a:pt x="1416920" y="1464521"/>
                    <a:pt x="1410709" y="1464578"/>
                  </a:cubicBezTo>
                  <a:cubicBezTo>
                    <a:pt x="1404499" y="1464625"/>
                    <a:pt x="1399432" y="1459644"/>
                    <a:pt x="1399375" y="1453433"/>
                  </a:cubicBezTo>
                  <a:cubicBezTo>
                    <a:pt x="1399327" y="1447223"/>
                    <a:pt x="1404309" y="1442156"/>
                    <a:pt x="1410519" y="1442099"/>
                  </a:cubicBezTo>
                  <a:cubicBezTo>
                    <a:pt x="1410547" y="1442099"/>
                    <a:pt x="1410585" y="1442099"/>
                    <a:pt x="1410614" y="1442099"/>
                  </a:cubicBezTo>
                  <a:cubicBezTo>
                    <a:pt x="1416786" y="1442099"/>
                    <a:pt x="1421806" y="1447071"/>
                    <a:pt x="1421854" y="1453243"/>
                  </a:cubicBezTo>
                  <a:close/>
                  <a:moveTo>
                    <a:pt x="3471062" y="834118"/>
                  </a:moveTo>
                  <a:cubicBezTo>
                    <a:pt x="3465909" y="828860"/>
                    <a:pt x="3465995" y="820412"/>
                    <a:pt x="3471253" y="815258"/>
                  </a:cubicBezTo>
                  <a:cubicBezTo>
                    <a:pt x="3476510" y="810105"/>
                    <a:pt x="3484959" y="810191"/>
                    <a:pt x="3490112" y="815449"/>
                  </a:cubicBezTo>
                  <a:cubicBezTo>
                    <a:pt x="3495189" y="820640"/>
                    <a:pt x="3495189" y="828936"/>
                    <a:pt x="3490112" y="834118"/>
                  </a:cubicBezTo>
                  <a:cubicBezTo>
                    <a:pt x="3484835" y="839347"/>
                    <a:pt x="3476339" y="839347"/>
                    <a:pt x="3471062" y="834118"/>
                  </a:cubicBezTo>
                  <a:close/>
                  <a:moveTo>
                    <a:pt x="1081144" y="1158444"/>
                  </a:moveTo>
                  <a:cubicBezTo>
                    <a:pt x="1081144" y="1152234"/>
                    <a:pt x="1086174" y="1147205"/>
                    <a:pt x="1092384" y="1147205"/>
                  </a:cubicBezTo>
                  <a:cubicBezTo>
                    <a:pt x="1098594" y="1147205"/>
                    <a:pt x="1103623" y="1152234"/>
                    <a:pt x="1103623" y="1158444"/>
                  </a:cubicBezTo>
                  <a:cubicBezTo>
                    <a:pt x="1103623" y="1164655"/>
                    <a:pt x="1098594" y="1169684"/>
                    <a:pt x="1092384" y="1169684"/>
                  </a:cubicBezTo>
                  <a:cubicBezTo>
                    <a:pt x="1086174" y="1169684"/>
                    <a:pt x="1081144" y="1164655"/>
                    <a:pt x="1081144" y="1158444"/>
                  </a:cubicBezTo>
                  <a:close/>
                  <a:moveTo>
                    <a:pt x="960939" y="1431050"/>
                  </a:moveTo>
                  <a:cubicBezTo>
                    <a:pt x="967254" y="1437308"/>
                    <a:pt x="977446" y="1437270"/>
                    <a:pt x="983703" y="1430955"/>
                  </a:cubicBezTo>
                  <a:cubicBezTo>
                    <a:pt x="989923" y="1424678"/>
                    <a:pt x="989923" y="1414562"/>
                    <a:pt x="983703" y="1408285"/>
                  </a:cubicBezTo>
                  <a:cubicBezTo>
                    <a:pt x="978074" y="1402713"/>
                    <a:pt x="969226" y="1402065"/>
                    <a:pt x="962844" y="1406761"/>
                  </a:cubicBezTo>
                  <a:lnTo>
                    <a:pt x="831018" y="1274935"/>
                  </a:lnTo>
                  <a:lnTo>
                    <a:pt x="242468" y="1274935"/>
                  </a:lnTo>
                  <a:cubicBezTo>
                    <a:pt x="241127" y="1267048"/>
                    <a:pt x="233649" y="1261752"/>
                    <a:pt x="225766" y="1263096"/>
                  </a:cubicBezTo>
                  <a:cubicBezTo>
                    <a:pt x="217884" y="1264429"/>
                    <a:pt x="212581" y="1271906"/>
                    <a:pt x="213923" y="1279793"/>
                  </a:cubicBezTo>
                  <a:cubicBezTo>
                    <a:pt x="215264" y="1287679"/>
                    <a:pt x="222742" y="1292975"/>
                    <a:pt x="230624" y="1291632"/>
                  </a:cubicBezTo>
                  <a:cubicBezTo>
                    <a:pt x="236687" y="1290604"/>
                    <a:pt x="241437" y="1285860"/>
                    <a:pt x="242468" y="1279793"/>
                  </a:cubicBezTo>
                  <a:lnTo>
                    <a:pt x="829018" y="1279793"/>
                  </a:lnTo>
                  <a:lnTo>
                    <a:pt x="959415" y="1410190"/>
                  </a:lnTo>
                  <a:cubicBezTo>
                    <a:pt x="954719" y="1416572"/>
                    <a:pt x="955367" y="1425420"/>
                    <a:pt x="960939" y="1431050"/>
                  </a:cubicBezTo>
                  <a:close/>
                  <a:moveTo>
                    <a:pt x="964463" y="1412000"/>
                  </a:moveTo>
                  <a:cubicBezTo>
                    <a:pt x="960101" y="1416343"/>
                    <a:pt x="960082" y="1423392"/>
                    <a:pt x="964415" y="1427764"/>
                  </a:cubicBezTo>
                  <a:cubicBezTo>
                    <a:pt x="968759" y="1432126"/>
                    <a:pt x="975817" y="1432145"/>
                    <a:pt x="980179" y="1427802"/>
                  </a:cubicBezTo>
                  <a:cubicBezTo>
                    <a:pt x="984542" y="1423468"/>
                    <a:pt x="984561" y="1416410"/>
                    <a:pt x="980227" y="1412047"/>
                  </a:cubicBezTo>
                  <a:cubicBezTo>
                    <a:pt x="980208" y="1412028"/>
                    <a:pt x="980198" y="1412019"/>
                    <a:pt x="980179" y="1412000"/>
                  </a:cubicBezTo>
                  <a:cubicBezTo>
                    <a:pt x="975893" y="1407656"/>
                    <a:pt x="968892" y="1407618"/>
                    <a:pt x="964558" y="1411905"/>
                  </a:cubicBezTo>
                  <a:cubicBezTo>
                    <a:pt x="964520" y="1411943"/>
                    <a:pt x="964492" y="1411971"/>
                    <a:pt x="964463" y="1412000"/>
                  </a:cubicBezTo>
                  <a:close/>
                  <a:moveTo>
                    <a:pt x="2606192" y="1225881"/>
                  </a:moveTo>
                  <a:cubicBezTo>
                    <a:pt x="2606192" y="1219728"/>
                    <a:pt x="2611183" y="1214737"/>
                    <a:pt x="2617336" y="1214737"/>
                  </a:cubicBezTo>
                  <a:cubicBezTo>
                    <a:pt x="2623490" y="1214737"/>
                    <a:pt x="2628481" y="1219728"/>
                    <a:pt x="2628481" y="1225881"/>
                  </a:cubicBezTo>
                  <a:cubicBezTo>
                    <a:pt x="2628481" y="1232034"/>
                    <a:pt x="2623490" y="1237026"/>
                    <a:pt x="2617336" y="1237026"/>
                  </a:cubicBezTo>
                  <a:cubicBezTo>
                    <a:pt x="2611202" y="1236978"/>
                    <a:pt x="2606240" y="1232015"/>
                    <a:pt x="2606192" y="1225881"/>
                  </a:cubicBezTo>
                  <a:close/>
                  <a:moveTo>
                    <a:pt x="1716176" y="1081101"/>
                  </a:moveTo>
                  <a:cubicBezTo>
                    <a:pt x="1716176" y="1087254"/>
                    <a:pt x="1711185" y="1092245"/>
                    <a:pt x="1705032" y="1092245"/>
                  </a:cubicBezTo>
                  <a:cubicBezTo>
                    <a:pt x="1698879" y="1092245"/>
                    <a:pt x="1693888" y="1087254"/>
                    <a:pt x="1693888" y="1081101"/>
                  </a:cubicBezTo>
                  <a:cubicBezTo>
                    <a:pt x="1693888" y="1074948"/>
                    <a:pt x="1698879" y="1069957"/>
                    <a:pt x="1705032" y="1069957"/>
                  </a:cubicBezTo>
                  <a:cubicBezTo>
                    <a:pt x="1711185" y="1069957"/>
                    <a:pt x="1716176" y="1074948"/>
                    <a:pt x="1716176" y="1081101"/>
                  </a:cubicBezTo>
                  <a:close/>
                  <a:moveTo>
                    <a:pt x="1958397" y="599803"/>
                  </a:moveTo>
                  <a:cubicBezTo>
                    <a:pt x="1958540" y="610319"/>
                    <a:pt x="1967189" y="618739"/>
                    <a:pt x="1977704" y="618586"/>
                  </a:cubicBezTo>
                  <a:cubicBezTo>
                    <a:pt x="1988229" y="618443"/>
                    <a:pt x="1996640" y="609804"/>
                    <a:pt x="1996497" y="599279"/>
                  </a:cubicBezTo>
                  <a:cubicBezTo>
                    <a:pt x="1996364" y="590068"/>
                    <a:pt x="1989677" y="582277"/>
                    <a:pt x="1980590" y="580753"/>
                  </a:cubicBezTo>
                  <a:lnTo>
                    <a:pt x="1980590" y="156795"/>
                  </a:lnTo>
                  <a:lnTo>
                    <a:pt x="2097176" y="40304"/>
                  </a:lnTo>
                  <a:cubicBezTo>
                    <a:pt x="2105006" y="45818"/>
                    <a:pt x="2115816" y="43941"/>
                    <a:pt x="2121332" y="36113"/>
                  </a:cubicBezTo>
                  <a:cubicBezTo>
                    <a:pt x="2126847" y="28286"/>
                    <a:pt x="2124970" y="17471"/>
                    <a:pt x="2117141" y="11958"/>
                  </a:cubicBezTo>
                  <a:cubicBezTo>
                    <a:pt x="2109311" y="6445"/>
                    <a:pt x="2098500" y="8321"/>
                    <a:pt x="2092985" y="16149"/>
                  </a:cubicBezTo>
                  <a:cubicBezTo>
                    <a:pt x="2088765" y="22136"/>
                    <a:pt x="2088765" y="30127"/>
                    <a:pt x="2092985" y="36113"/>
                  </a:cubicBezTo>
                  <a:lnTo>
                    <a:pt x="1974780" y="154414"/>
                  </a:lnTo>
                  <a:lnTo>
                    <a:pt x="1974780" y="580562"/>
                  </a:lnTo>
                  <a:cubicBezTo>
                    <a:pt x="1965312" y="581906"/>
                    <a:pt x="1958302" y="590049"/>
                    <a:pt x="1958397" y="599612"/>
                  </a:cubicBezTo>
                  <a:close/>
                  <a:moveTo>
                    <a:pt x="1977447" y="586373"/>
                  </a:moveTo>
                  <a:cubicBezTo>
                    <a:pt x="1984867" y="586316"/>
                    <a:pt x="1990915" y="592288"/>
                    <a:pt x="1990972" y="599708"/>
                  </a:cubicBezTo>
                  <a:cubicBezTo>
                    <a:pt x="1991020" y="607128"/>
                    <a:pt x="1985057" y="613176"/>
                    <a:pt x="1977637" y="613233"/>
                  </a:cubicBezTo>
                  <a:cubicBezTo>
                    <a:pt x="1970217" y="613281"/>
                    <a:pt x="1964169" y="607318"/>
                    <a:pt x="1964112" y="599898"/>
                  </a:cubicBezTo>
                  <a:cubicBezTo>
                    <a:pt x="1964112" y="599870"/>
                    <a:pt x="1964112" y="599832"/>
                    <a:pt x="1964112" y="599803"/>
                  </a:cubicBezTo>
                  <a:cubicBezTo>
                    <a:pt x="1964112" y="592421"/>
                    <a:pt x="1970065" y="586430"/>
                    <a:pt x="1977447" y="586373"/>
                  </a:cubicBezTo>
                  <a:close/>
                  <a:moveTo>
                    <a:pt x="2446458" y="28017"/>
                  </a:moveTo>
                  <a:cubicBezTo>
                    <a:pt x="2446315" y="17497"/>
                    <a:pt x="2437666" y="9086"/>
                    <a:pt x="2427151" y="9230"/>
                  </a:cubicBezTo>
                  <a:cubicBezTo>
                    <a:pt x="2416626" y="9375"/>
                    <a:pt x="2408215" y="18020"/>
                    <a:pt x="2408358" y="28540"/>
                  </a:cubicBezTo>
                  <a:cubicBezTo>
                    <a:pt x="2408491" y="37748"/>
                    <a:pt x="2415178" y="45547"/>
                    <a:pt x="2424265" y="47067"/>
                  </a:cubicBezTo>
                  <a:lnTo>
                    <a:pt x="2424265" y="110694"/>
                  </a:lnTo>
                  <a:lnTo>
                    <a:pt x="2154421" y="380537"/>
                  </a:lnTo>
                  <a:lnTo>
                    <a:pt x="2154421" y="603994"/>
                  </a:lnTo>
                  <a:cubicBezTo>
                    <a:pt x="2144982" y="605594"/>
                    <a:pt x="2138629" y="614548"/>
                    <a:pt x="2140239" y="623987"/>
                  </a:cubicBezTo>
                  <a:cubicBezTo>
                    <a:pt x="2141839" y="633426"/>
                    <a:pt x="2150792" y="639779"/>
                    <a:pt x="2160232" y="638179"/>
                  </a:cubicBezTo>
                  <a:cubicBezTo>
                    <a:pt x="2169671" y="636569"/>
                    <a:pt x="2176024" y="627616"/>
                    <a:pt x="2174414" y="618177"/>
                  </a:cubicBezTo>
                  <a:cubicBezTo>
                    <a:pt x="2173186" y="610919"/>
                    <a:pt x="2167490" y="605232"/>
                    <a:pt x="2160232" y="603994"/>
                  </a:cubicBezTo>
                  <a:lnTo>
                    <a:pt x="2160232" y="383014"/>
                  </a:lnTo>
                  <a:lnTo>
                    <a:pt x="2430075" y="112885"/>
                  </a:lnTo>
                  <a:lnTo>
                    <a:pt x="2430075" y="46877"/>
                  </a:lnTo>
                  <a:cubicBezTo>
                    <a:pt x="2439505" y="45496"/>
                    <a:pt x="2446468" y="37357"/>
                    <a:pt x="2446363" y="27827"/>
                  </a:cubicBezTo>
                  <a:close/>
                  <a:moveTo>
                    <a:pt x="2427408" y="41447"/>
                  </a:moveTo>
                  <a:cubicBezTo>
                    <a:pt x="2434799" y="42071"/>
                    <a:pt x="2441295" y="36586"/>
                    <a:pt x="2441924" y="29194"/>
                  </a:cubicBezTo>
                  <a:cubicBezTo>
                    <a:pt x="2442543" y="21804"/>
                    <a:pt x="2437057" y="15306"/>
                    <a:pt x="2429665" y="14682"/>
                  </a:cubicBezTo>
                  <a:cubicBezTo>
                    <a:pt x="2428913" y="14618"/>
                    <a:pt x="2428160" y="14618"/>
                    <a:pt x="2427408" y="14682"/>
                  </a:cubicBezTo>
                  <a:cubicBezTo>
                    <a:pt x="2420017" y="15306"/>
                    <a:pt x="2414530" y="21804"/>
                    <a:pt x="2415159" y="29194"/>
                  </a:cubicBezTo>
                  <a:cubicBezTo>
                    <a:pt x="2415702" y="35720"/>
                    <a:pt x="2420883" y="40897"/>
                    <a:pt x="2427408" y="41447"/>
                  </a:cubicBezTo>
                  <a:close/>
                  <a:moveTo>
                    <a:pt x="2912040" y="305481"/>
                  </a:moveTo>
                  <a:cubicBezTo>
                    <a:pt x="2918717" y="298703"/>
                    <a:pt x="2929366" y="297891"/>
                    <a:pt x="2936995" y="303575"/>
                  </a:cubicBezTo>
                  <a:lnTo>
                    <a:pt x="2980715" y="259856"/>
                  </a:lnTo>
                  <a:cubicBezTo>
                    <a:pt x="2975162" y="252059"/>
                    <a:pt x="2976981" y="241233"/>
                    <a:pt x="2984773" y="235678"/>
                  </a:cubicBezTo>
                  <a:cubicBezTo>
                    <a:pt x="2992574" y="230122"/>
                    <a:pt x="3003394" y="231940"/>
                    <a:pt x="3008947" y="239737"/>
                  </a:cubicBezTo>
                  <a:cubicBezTo>
                    <a:pt x="3013862" y="246628"/>
                    <a:pt x="3013081" y="256059"/>
                    <a:pt x="3007099" y="262046"/>
                  </a:cubicBezTo>
                  <a:cubicBezTo>
                    <a:pt x="3001175" y="268055"/>
                    <a:pt x="2991764" y="268863"/>
                    <a:pt x="2984906" y="263952"/>
                  </a:cubicBezTo>
                  <a:lnTo>
                    <a:pt x="2941091" y="307766"/>
                  </a:lnTo>
                  <a:cubicBezTo>
                    <a:pt x="2947368" y="316210"/>
                    <a:pt x="2945616" y="328143"/>
                    <a:pt x="2937167" y="334420"/>
                  </a:cubicBezTo>
                  <a:cubicBezTo>
                    <a:pt x="2928728" y="340697"/>
                    <a:pt x="2916793" y="338941"/>
                    <a:pt x="2910516" y="330498"/>
                  </a:cubicBezTo>
                  <a:cubicBezTo>
                    <a:pt x="2904820" y="322835"/>
                    <a:pt x="2905677" y="312139"/>
                    <a:pt x="2912516" y="305481"/>
                  </a:cubicBezTo>
                  <a:close/>
                  <a:moveTo>
                    <a:pt x="2935090" y="309671"/>
                  </a:moveTo>
                  <a:cubicBezTo>
                    <a:pt x="2929832" y="304517"/>
                    <a:pt x="2921384" y="304603"/>
                    <a:pt x="2916231" y="309864"/>
                  </a:cubicBezTo>
                  <a:cubicBezTo>
                    <a:pt x="2911078" y="315125"/>
                    <a:pt x="2911164" y="323567"/>
                    <a:pt x="2916421" y="328721"/>
                  </a:cubicBezTo>
                  <a:cubicBezTo>
                    <a:pt x="2921613" y="333801"/>
                    <a:pt x="2929909" y="333801"/>
                    <a:pt x="2935090" y="328721"/>
                  </a:cubicBezTo>
                  <a:cubicBezTo>
                    <a:pt x="2940348" y="323492"/>
                    <a:pt x="2940377" y="314988"/>
                    <a:pt x="2935148" y="309729"/>
                  </a:cubicBezTo>
                  <a:cubicBezTo>
                    <a:pt x="2935128" y="309710"/>
                    <a:pt x="2935109" y="309690"/>
                    <a:pt x="2935090" y="309671"/>
                  </a:cubicBezTo>
                  <a:close/>
                  <a:moveTo>
                    <a:pt x="2068125" y="760490"/>
                  </a:moveTo>
                  <a:cubicBezTo>
                    <a:pt x="2068125" y="766643"/>
                    <a:pt x="2063134" y="771634"/>
                    <a:pt x="2056980" y="771634"/>
                  </a:cubicBezTo>
                  <a:cubicBezTo>
                    <a:pt x="2050827" y="771634"/>
                    <a:pt x="2045836" y="766643"/>
                    <a:pt x="2045836" y="760490"/>
                  </a:cubicBezTo>
                  <a:cubicBezTo>
                    <a:pt x="2045836" y="754337"/>
                    <a:pt x="2050827" y="749346"/>
                    <a:pt x="2056980" y="749346"/>
                  </a:cubicBezTo>
                  <a:cubicBezTo>
                    <a:pt x="2063134" y="749346"/>
                    <a:pt x="2068125" y="754337"/>
                    <a:pt x="2068125" y="760490"/>
                  </a:cubicBezTo>
                  <a:close/>
                  <a:moveTo>
                    <a:pt x="1326699" y="777254"/>
                  </a:moveTo>
                  <a:cubicBezTo>
                    <a:pt x="1334062" y="784769"/>
                    <a:pt x="1346120" y="784902"/>
                    <a:pt x="1353636" y="777540"/>
                  </a:cubicBezTo>
                  <a:cubicBezTo>
                    <a:pt x="1361151" y="770177"/>
                    <a:pt x="1361284" y="758118"/>
                    <a:pt x="1353921" y="750593"/>
                  </a:cubicBezTo>
                  <a:cubicBezTo>
                    <a:pt x="1347235" y="743773"/>
                    <a:pt x="1336538" y="742954"/>
                    <a:pt x="1328890" y="748679"/>
                  </a:cubicBezTo>
                  <a:lnTo>
                    <a:pt x="1202969" y="622758"/>
                  </a:lnTo>
                  <a:lnTo>
                    <a:pt x="1202969" y="527794"/>
                  </a:lnTo>
                  <a:cubicBezTo>
                    <a:pt x="1212351" y="526163"/>
                    <a:pt x="1218628" y="517236"/>
                    <a:pt x="1216999" y="507855"/>
                  </a:cubicBezTo>
                  <a:cubicBezTo>
                    <a:pt x="1215371" y="498475"/>
                    <a:pt x="1206446" y="492192"/>
                    <a:pt x="1197064" y="493823"/>
                  </a:cubicBezTo>
                  <a:cubicBezTo>
                    <a:pt x="1187681" y="495454"/>
                    <a:pt x="1181405" y="504381"/>
                    <a:pt x="1183033" y="513761"/>
                  </a:cubicBezTo>
                  <a:cubicBezTo>
                    <a:pt x="1184281" y="520932"/>
                    <a:pt x="1189891" y="526547"/>
                    <a:pt x="1197064" y="527794"/>
                  </a:cubicBezTo>
                  <a:lnTo>
                    <a:pt x="1197064" y="624663"/>
                  </a:lnTo>
                  <a:lnTo>
                    <a:pt x="1324794" y="752298"/>
                  </a:lnTo>
                  <a:cubicBezTo>
                    <a:pt x="1319107" y="759928"/>
                    <a:pt x="1319927" y="770577"/>
                    <a:pt x="1326699" y="777254"/>
                  </a:cubicBezTo>
                  <a:close/>
                  <a:moveTo>
                    <a:pt x="1330795" y="754203"/>
                  </a:moveTo>
                  <a:cubicBezTo>
                    <a:pt x="1325565" y="759461"/>
                    <a:pt x="1325594" y="767967"/>
                    <a:pt x="1330852" y="773196"/>
                  </a:cubicBezTo>
                  <a:cubicBezTo>
                    <a:pt x="1336109" y="778425"/>
                    <a:pt x="1344615" y="778397"/>
                    <a:pt x="1349845" y="773139"/>
                  </a:cubicBezTo>
                  <a:cubicBezTo>
                    <a:pt x="1355055" y="767900"/>
                    <a:pt x="1355055" y="759442"/>
                    <a:pt x="1349845" y="754203"/>
                  </a:cubicBezTo>
                  <a:cubicBezTo>
                    <a:pt x="1344568" y="748974"/>
                    <a:pt x="1336071" y="748974"/>
                    <a:pt x="1330795" y="754203"/>
                  </a:cubicBezTo>
                  <a:close/>
                  <a:moveTo>
                    <a:pt x="1658550" y="485027"/>
                  </a:moveTo>
                  <a:cubicBezTo>
                    <a:pt x="1664846" y="491198"/>
                    <a:pt x="1674923" y="491198"/>
                    <a:pt x="1681219" y="485027"/>
                  </a:cubicBezTo>
                  <a:cubicBezTo>
                    <a:pt x="1686782" y="478161"/>
                    <a:pt x="1685734" y="468085"/>
                    <a:pt x="1678867" y="462519"/>
                  </a:cubicBezTo>
                  <a:cubicBezTo>
                    <a:pt x="1673704" y="458333"/>
                    <a:pt x="1666484" y="457776"/>
                    <a:pt x="1660741" y="461119"/>
                  </a:cubicBezTo>
                  <a:lnTo>
                    <a:pt x="1475194" y="275191"/>
                  </a:lnTo>
                  <a:cubicBezTo>
                    <a:pt x="1482299" y="271516"/>
                    <a:pt x="1485071" y="262780"/>
                    <a:pt x="1481394" y="255679"/>
                  </a:cubicBezTo>
                  <a:cubicBezTo>
                    <a:pt x="1477727" y="248577"/>
                    <a:pt x="1468983" y="245800"/>
                    <a:pt x="1461887" y="249474"/>
                  </a:cubicBezTo>
                  <a:cubicBezTo>
                    <a:pt x="1454781" y="253149"/>
                    <a:pt x="1452010" y="261885"/>
                    <a:pt x="1455677" y="268986"/>
                  </a:cubicBezTo>
                  <a:cubicBezTo>
                    <a:pt x="1458153" y="273758"/>
                    <a:pt x="1463059" y="276770"/>
                    <a:pt x="1468431" y="276810"/>
                  </a:cubicBezTo>
                  <a:lnTo>
                    <a:pt x="1469860" y="276810"/>
                  </a:lnTo>
                  <a:lnTo>
                    <a:pt x="1657312" y="464167"/>
                  </a:lnTo>
                  <a:cubicBezTo>
                    <a:pt x="1652616" y="470548"/>
                    <a:pt x="1653264" y="479396"/>
                    <a:pt x="1658836" y="485027"/>
                  </a:cubicBezTo>
                  <a:close/>
                  <a:moveTo>
                    <a:pt x="1662074" y="465977"/>
                  </a:moveTo>
                  <a:cubicBezTo>
                    <a:pt x="1657712" y="470316"/>
                    <a:pt x="1657693" y="477372"/>
                    <a:pt x="1662027" y="481737"/>
                  </a:cubicBezTo>
                  <a:cubicBezTo>
                    <a:pt x="1666370" y="486101"/>
                    <a:pt x="1673428" y="486121"/>
                    <a:pt x="1677790" y="481782"/>
                  </a:cubicBezTo>
                  <a:cubicBezTo>
                    <a:pt x="1682153" y="477441"/>
                    <a:pt x="1682172" y="470385"/>
                    <a:pt x="1677838" y="466021"/>
                  </a:cubicBezTo>
                  <a:cubicBezTo>
                    <a:pt x="1677819" y="466006"/>
                    <a:pt x="1677809" y="465991"/>
                    <a:pt x="1677790" y="465977"/>
                  </a:cubicBezTo>
                  <a:cubicBezTo>
                    <a:pt x="1673504" y="461637"/>
                    <a:pt x="1666503" y="461596"/>
                    <a:pt x="1662169" y="465886"/>
                  </a:cubicBezTo>
                  <a:cubicBezTo>
                    <a:pt x="1662131" y="465916"/>
                    <a:pt x="1662103" y="465946"/>
                    <a:pt x="1662074" y="465977"/>
                  </a:cubicBezTo>
                  <a:close/>
                  <a:moveTo>
                    <a:pt x="1832667" y="768777"/>
                  </a:moveTo>
                  <a:cubicBezTo>
                    <a:pt x="1838820" y="768777"/>
                    <a:pt x="1843811" y="773768"/>
                    <a:pt x="1843811" y="779921"/>
                  </a:cubicBezTo>
                  <a:cubicBezTo>
                    <a:pt x="1843811" y="786074"/>
                    <a:pt x="1838820" y="791065"/>
                    <a:pt x="1832667" y="791065"/>
                  </a:cubicBezTo>
                  <a:cubicBezTo>
                    <a:pt x="1826514" y="791065"/>
                    <a:pt x="1821523" y="786074"/>
                    <a:pt x="1821523" y="779921"/>
                  </a:cubicBezTo>
                  <a:cubicBezTo>
                    <a:pt x="1821523" y="773768"/>
                    <a:pt x="1826514" y="768777"/>
                    <a:pt x="1832667" y="768777"/>
                  </a:cubicBezTo>
                  <a:close/>
                  <a:moveTo>
                    <a:pt x="1553775" y="834118"/>
                  </a:moveTo>
                  <a:cubicBezTo>
                    <a:pt x="1561138" y="841633"/>
                    <a:pt x="1573196" y="841767"/>
                    <a:pt x="1580712" y="834404"/>
                  </a:cubicBezTo>
                  <a:cubicBezTo>
                    <a:pt x="1588227" y="827041"/>
                    <a:pt x="1588360" y="814982"/>
                    <a:pt x="1580997" y="807458"/>
                  </a:cubicBezTo>
                  <a:cubicBezTo>
                    <a:pt x="1574311" y="800638"/>
                    <a:pt x="1563614" y="799818"/>
                    <a:pt x="1555966" y="805543"/>
                  </a:cubicBezTo>
                  <a:lnTo>
                    <a:pt x="1347368" y="596850"/>
                  </a:lnTo>
                  <a:lnTo>
                    <a:pt x="1347368" y="377775"/>
                  </a:lnTo>
                  <a:cubicBezTo>
                    <a:pt x="1356798" y="376145"/>
                    <a:pt x="1363132" y="367175"/>
                    <a:pt x="1361494" y="357740"/>
                  </a:cubicBezTo>
                  <a:cubicBezTo>
                    <a:pt x="1359865" y="348306"/>
                    <a:pt x="1350892" y="341980"/>
                    <a:pt x="1341463" y="343611"/>
                  </a:cubicBezTo>
                  <a:cubicBezTo>
                    <a:pt x="1332033" y="345242"/>
                    <a:pt x="1325699" y="354211"/>
                    <a:pt x="1327337" y="363646"/>
                  </a:cubicBezTo>
                  <a:cubicBezTo>
                    <a:pt x="1328585" y="370870"/>
                    <a:pt x="1334243" y="376526"/>
                    <a:pt x="1341463" y="377775"/>
                  </a:cubicBezTo>
                  <a:lnTo>
                    <a:pt x="1341463" y="599136"/>
                  </a:lnTo>
                  <a:lnTo>
                    <a:pt x="1551870" y="809448"/>
                  </a:lnTo>
                  <a:cubicBezTo>
                    <a:pt x="1546183" y="817078"/>
                    <a:pt x="1547003" y="827727"/>
                    <a:pt x="1553775" y="834404"/>
                  </a:cubicBezTo>
                  <a:close/>
                  <a:moveTo>
                    <a:pt x="1557871" y="811067"/>
                  </a:moveTo>
                  <a:cubicBezTo>
                    <a:pt x="1563128" y="805838"/>
                    <a:pt x="1571634" y="805867"/>
                    <a:pt x="1576863" y="811125"/>
                  </a:cubicBezTo>
                  <a:cubicBezTo>
                    <a:pt x="1582093" y="816382"/>
                    <a:pt x="1582064" y="824888"/>
                    <a:pt x="1576806" y="830117"/>
                  </a:cubicBezTo>
                  <a:cubicBezTo>
                    <a:pt x="1571568" y="835328"/>
                    <a:pt x="1563109" y="835328"/>
                    <a:pt x="1557871" y="830117"/>
                  </a:cubicBezTo>
                  <a:cubicBezTo>
                    <a:pt x="1552641" y="824841"/>
                    <a:pt x="1552641" y="816344"/>
                    <a:pt x="1557871" y="811067"/>
                  </a:cubicBezTo>
                  <a:close/>
                  <a:moveTo>
                    <a:pt x="1352131" y="972421"/>
                  </a:moveTo>
                  <a:cubicBezTo>
                    <a:pt x="1347797" y="976783"/>
                    <a:pt x="1347816" y="983841"/>
                    <a:pt x="1352178" y="988185"/>
                  </a:cubicBezTo>
                  <a:cubicBezTo>
                    <a:pt x="1356550" y="992519"/>
                    <a:pt x="1363608" y="992500"/>
                    <a:pt x="1367942" y="988128"/>
                  </a:cubicBezTo>
                  <a:cubicBezTo>
                    <a:pt x="1372257" y="983784"/>
                    <a:pt x="1372257" y="976764"/>
                    <a:pt x="1367942" y="972421"/>
                  </a:cubicBezTo>
                  <a:cubicBezTo>
                    <a:pt x="1363561" y="968087"/>
                    <a:pt x="1356512" y="968087"/>
                    <a:pt x="1352131" y="972421"/>
                  </a:cubicBezTo>
                  <a:close/>
                  <a:moveTo>
                    <a:pt x="1003706" y="837166"/>
                  </a:moveTo>
                  <a:cubicBezTo>
                    <a:pt x="996191" y="829803"/>
                    <a:pt x="984132" y="829917"/>
                    <a:pt x="976769" y="837433"/>
                  </a:cubicBezTo>
                  <a:cubicBezTo>
                    <a:pt x="969397" y="844948"/>
                    <a:pt x="969521" y="857007"/>
                    <a:pt x="977036" y="864369"/>
                  </a:cubicBezTo>
                  <a:cubicBezTo>
                    <a:pt x="983656" y="870865"/>
                    <a:pt x="993991" y="871647"/>
                    <a:pt x="1001515" y="866217"/>
                  </a:cubicBezTo>
                  <a:lnTo>
                    <a:pt x="1109338" y="974040"/>
                  </a:lnTo>
                  <a:cubicBezTo>
                    <a:pt x="1103795" y="981851"/>
                    <a:pt x="1105624" y="992671"/>
                    <a:pt x="1113434" y="998215"/>
                  </a:cubicBezTo>
                  <a:cubicBezTo>
                    <a:pt x="1121235" y="1003758"/>
                    <a:pt x="1132065" y="1001920"/>
                    <a:pt x="1137609" y="994119"/>
                  </a:cubicBezTo>
                  <a:cubicBezTo>
                    <a:pt x="1143152" y="986308"/>
                    <a:pt x="1141314" y="975488"/>
                    <a:pt x="1133513" y="969944"/>
                  </a:cubicBezTo>
                  <a:cubicBezTo>
                    <a:pt x="1127502" y="965677"/>
                    <a:pt x="1119444" y="965677"/>
                    <a:pt x="1113434" y="969944"/>
                  </a:cubicBezTo>
                  <a:lnTo>
                    <a:pt x="1005611" y="862122"/>
                  </a:lnTo>
                  <a:cubicBezTo>
                    <a:pt x="1011297" y="854492"/>
                    <a:pt x="1010478" y="843843"/>
                    <a:pt x="1003706" y="837166"/>
                  </a:cubicBezTo>
                  <a:close/>
                  <a:moveTo>
                    <a:pt x="999610" y="860216"/>
                  </a:moveTo>
                  <a:cubicBezTo>
                    <a:pt x="994353" y="865446"/>
                    <a:pt x="985847" y="865417"/>
                    <a:pt x="980617" y="860159"/>
                  </a:cubicBezTo>
                  <a:cubicBezTo>
                    <a:pt x="975388" y="854901"/>
                    <a:pt x="975417" y="846396"/>
                    <a:pt x="980675" y="841166"/>
                  </a:cubicBezTo>
                  <a:cubicBezTo>
                    <a:pt x="985913" y="835956"/>
                    <a:pt x="994372" y="835956"/>
                    <a:pt x="999610" y="841166"/>
                  </a:cubicBezTo>
                  <a:cubicBezTo>
                    <a:pt x="1004840" y="846443"/>
                    <a:pt x="1004840" y="854940"/>
                    <a:pt x="999610" y="860216"/>
                  </a:cubicBezTo>
                  <a:close/>
                  <a:moveTo>
                    <a:pt x="2980810" y="538176"/>
                  </a:moveTo>
                  <a:cubicBezTo>
                    <a:pt x="2976467" y="533812"/>
                    <a:pt x="2969418" y="533792"/>
                    <a:pt x="2965047" y="538132"/>
                  </a:cubicBezTo>
                  <a:cubicBezTo>
                    <a:pt x="2960684" y="542472"/>
                    <a:pt x="2960665" y="549528"/>
                    <a:pt x="2965009" y="553892"/>
                  </a:cubicBezTo>
                  <a:cubicBezTo>
                    <a:pt x="2969342" y="558257"/>
                    <a:pt x="2976400" y="558277"/>
                    <a:pt x="2980763" y="553936"/>
                  </a:cubicBezTo>
                  <a:cubicBezTo>
                    <a:pt x="2980782" y="553922"/>
                    <a:pt x="2980791" y="553907"/>
                    <a:pt x="2980810" y="553892"/>
                  </a:cubicBezTo>
                  <a:cubicBezTo>
                    <a:pt x="2985154" y="549602"/>
                    <a:pt x="2985192" y="542607"/>
                    <a:pt x="2980906" y="538267"/>
                  </a:cubicBezTo>
                  <a:cubicBezTo>
                    <a:pt x="2980867" y="538236"/>
                    <a:pt x="2980839" y="538207"/>
                    <a:pt x="2980810" y="538176"/>
                  </a:cubicBezTo>
                  <a:close/>
                  <a:moveTo>
                    <a:pt x="1550727" y="972421"/>
                  </a:moveTo>
                  <a:cubicBezTo>
                    <a:pt x="1550727" y="966268"/>
                    <a:pt x="1545736" y="961277"/>
                    <a:pt x="1539583" y="961277"/>
                  </a:cubicBezTo>
                  <a:cubicBezTo>
                    <a:pt x="1533429" y="961277"/>
                    <a:pt x="1528438" y="966268"/>
                    <a:pt x="1528438" y="972421"/>
                  </a:cubicBezTo>
                  <a:cubicBezTo>
                    <a:pt x="1528438" y="978574"/>
                    <a:pt x="1533429" y="983565"/>
                    <a:pt x="1539583" y="983565"/>
                  </a:cubicBezTo>
                  <a:cubicBezTo>
                    <a:pt x="1545736" y="983565"/>
                    <a:pt x="1550727" y="978574"/>
                    <a:pt x="1550727" y="972421"/>
                  </a:cubicBezTo>
                  <a:close/>
                  <a:moveTo>
                    <a:pt x="3078823" y="987852"/>
                  </a:moveTo>
                  <a:cubicBezTo>
                    <a:pt x="3083157" y="992214"/>
                    <a:pt x="3083137" y="999272"/>
                    <a:pt x="3078775" y="1003615"/>
                  </a:cubicBezTo>
                  <a:cubicBezTo>
                    <a:pt x="3074403" y="1007949"/>
                    <a:pt x="3067345" y="1007930"/>
                    <a:pt x="3063011" y="1003558"/>
                  </a:cubicBezTo>
                  <a:cubicBezTo>
                    <a:pt x="3058696" y="999215"/>
                    <a:pt x="3058696" y="992195"/>
                    <a:pt x="3063011" y="987852"/>
                  </a:cubicBezTo>
                  <a:cubicBezTo>
                    <a:pt x="3067412" y="983565"/>
                    <a:pt x="3074422" y="983565"/>
                    <a:pt x="3078823" y="987852"/>
                  </a:cubicBezTo>
                  <a:close/>
                  <a:moveTo>
                    <a:pt x="3279514" y="499695"/>
                  </a:moveTo>
                  <a:cubicBezTo>
                    <a:pt x="3273904" y="505296"/>
                    <a:pt x="3265055" y="505984"/>
                    <a:pt x="3258655" y="501314"/>
                  </a:cubicBezTo>
                  <a:lnTo>
                    <a:pt x="3044056" y="715913"/>
                  </a:lnTo>
                  <a:cubicBezTo>
                    <a:pt x="3048343" y="721780"/>
                    <a:pt x="3047647" y="729905"/>
                    <a:pt x="3042437" y="734963"/>
                  </a:cubicBezTo>
                  <a:cubicBezTo>
                    <a:pt x="3036798" y="740563"/>
                    <a:pt x="3027692" y="740525"/>
                    <a:pt x="3022101" y="734887"/>
                  </a:cubicBezTo>
                  <a:cubicBezTo>
                    <a:pt x="3016500" y="729257"/>
                    <a:pt x="3016529" y="720142"/>
                    <a:pt x="3022168" y="714551"/>
                  </a:cubicBezTo>
                  <a:cubicBezTo>
                    <a:pt x="3027102" y="709655"/>
                    <a:pt x="3034827" y="708979"/>
                    <a:pt x="3040532" y="712960"/>
                  </a:cubicBezTo>
                  <a:lnTo>
                    <a:pt x="3255226" y="498362"/>
                  </a:lnTo>
                  <a:cubicBezTo>
                    <a:pt x="3249930" y="491223"/>
                    <a:pt x="3251416" y="481140"/>
                    <a:pt x="3258560" y="475842"/>
                  </a:cubicBezTo>
                  <a:cubicBezTo>
                    <a:pt x="3265694" y="470544"/>
                    <a:pt x="3275781" y="472037"/>
                    <a:pt x="3281076" y="479176"/>
                  </a:cubicBezTo>
                  <a:cubicBezTo>
                    <a:pt x="3285839" y="485592"/>
                    <a:pt x="3285172" y="494532"/>
                    <a:pt x="3279514" y="500171"/>
                  </a:cubicBezTo>
                  <a:close/>
                  <a:moveTo>
                    <a:pt x="3260464" y="496266"/>
                  </a:moveTo>
                  <a:cubicBezTo>
                    <a:pt x="3264827" y="500604"/>
                    <a:pt x="3271885" y="500581"/>
                    <a:pt x="3276228" y="496215"/>
                  </a:cubicBezTo>
                  <a:cubicBezTo>
                    <a:pt x="3280562" y="491848"/>
                    <a:pt x="3280543" y="484792"/>
                    <a:pt x="3276171" y="480455"/>
                  </a:cubicBezTo>
                  <a:cubicBezTo>
                    <a:pt x="3271828" y="476137"/>
                    <a:pt x="3264808" y="476137"/>
                    <a:pt x="3260464" y="480455"/>
                  </a:cubicBezTo>
                  <a:cubicBezTo>
                    <a:pt x="3256073" y="484782"/>
                    <a:pt x="3255997" y="491834"/>
                    <a:pt x="3260274" y="496266"/>
                  </a:cubicBezTo>
                  <a:close/>
                </a:path>
              </a:pathLst>
            </a:custGeom>
            <a:solidFill>
              <a:srgbClr val="FBC9D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13" name="Google Shape;2413;p23"/>
            <p:cNvSpPr/>
            <p:nvPr/>
          </p:nvSpPr>
          <p:spPr>
            <a:xfrm>
              <a:off x="8403297" y="1795982"/>
              <a:ext cx="2925326" cy="1802593"/>
            </a:xfrm>
            <a:custGeom>
              <a:avLst/>
              <a:gdLst/>
              <a:ahLst/>
              <a:cxnLst/>
              <a:rect l="l" t="t" r="r" b="b"/>
              <a:pathLst>
                <a:path w="3489327" h="2150132" extrusionOk="0">
                  <a:moveTo>
                    <a:pt x="1760778" y="0"/>
                  </a:moveTo>
                  <a:cubicBezTo>
                    <a:pt x="2236609" y="0"/>
                    <a:pt x="2633608" y="242061"/>
                    <a:pt x="2725423" y="563850"/>
                  </a:cubicBezTo>
                  <a:lnTo>
                    <a:pt x="2741339" y="677077"/>
                  </a:lnTo>
                  <a:lnTo>
                    <a:pt x="2911333" y="718620"/>
                  </a:lnTo>
                  <a:cubicBezTo>
                    <a:pt x="3250996" y="831722"/>
                    <a:pt x="3489327" y="1096500"/>
                    <a:pt x="3489327" y="1405102"/>
                  </a:cubicBezTo>
                  <a:cubicBezTo>
                    <a:pt x="3489327" y="1816571"/>
                    <a:pt x="3065627" y="2150132"/>
                    <a:pt x="2542967" y="2150132"/>
                  </a:cubicBezTo>
                  <a:lnTo>
                    <a:pt x="2483399" y="2147764"/>
                  </a:lnTo>
                  <a:lnTo>
                    <a:pt x="2459918" y="2150131"/>
                  </a:lnTo>
                  <a:lnTo>
                    <a:pt x="946385" y="2150131"/>
                  </a:lnTo>
                  <a:lnTo>
                    <a:pt x="946360" y="2150132"/>
                  </a:lnTo>
                  <a:lnTo>
                    <a:pt x="946335" y="2150131"/>
                  </a:lnTo>
                  <a:lnTo>
                    <a:pt x="939854" y="2150131"/>
                  </a:lnTo>
                  <a:lnTo>
                    <a:pt x="935634" y="2149706"/>
                  </a:lnTo>
                  <a:lnTo>
                    <a:pt x="849600" y="2146286"/>
                  </a:lnTo>
                  <a:cubicBezTo>
                    <a:pt x="372393" y="2108133"/>
                    <a:pt x="0" y="1790854"/>
                    <a:pt x="0" y="1405102"/>
                  </a:cubicBezTo>
                  <a:cubicBezTo>
                    <a:pt x="0" y="1067569"/>
                    <a:pt x="285113" y="782461"/>
                    <a:pt x="676083" y="690899"/>
                  </a:cubicBezTo>
                  <a:lnTo>
                    <a:pt x="780558" y="674654"/>
                  </a:lnTo>
                  <a:lnTo>
                    <a:pt x="796133" y="563850"/>
                  </a:lnTo>
                  <a:cubicBezTo>
                    <a:pt x="887948" y="242061"/>
                    <a:pt x="1284947" y="0"/>
                    <a:pt x="1760778" y="0"/>
                  </a:cubicBezTo>
                  <a:close/>
                </a:path>
              </a:pathLst>
            </a:custGeom>
            <a:solidFill>
              <a:srgbClr val="FBE3ED"/>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a:solidFill>
                  <a:schemeClr val="dk1"/>
                </a:solidFill>
                <a:latin typeface="Calibri"/>
                <a:ea typeface="Calibri"/>
                <a:cs typeface="Calibri"/>
                <a:sym typeface="Calibri"/>
              </a:endParaRPr>
            </a:p>
          </p:txBody>
        </p:sp>
        <p:pic>
          <p:nvPicPr>
            <p:cNvPr id="2414" name="Google Shape;2414;p23"/>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9039067" y="3014006"/>
              <a:ext cx="1533624" cy="238178"/>
            </a:xfrm>
            <a:prstGeom prst="rect">
              <a:avLst/>
            </a:prstGeom>
            <a:noFill/>
            <a:ln>
              <a:noFill/>
            </a:ln>
          </p:spPr>
        </p:pic>
        <p:pic>
          <p:nvPicPr>
            <p:cNvPr id="2415" name="Google Shape;2415;p23" descr="Picture 19"/>
            <p:cNvPicPr preferRelativeResize="0"/>
            <p:nvPr/>
          </p:nvPicPr>
          <p:blipFill rotWithShape="1">
            <a:blip r:embed="rId4">
              <a:alphaModFix/>
            </a:blip>
            <a:srcRect/>
            <a:stretch/>
          </p:blipFill>
          <p:spPr>
            <a:xfrm>
              <a:off x="9256424" y="2017141"/>
              <a:ext cx="1098911" cy="892021"/>
            </a:xfrm>
            <a:prstGeom prst="rect">
              <a:avLst/>
            </a:prstGeom>
            <a:noFill/>
            <a:ln>
              <a:noFill/>
            </a:ln>
          </p:spPr>
        </p:pic>
      </p:grpSp>
      <p:sp>
        <p:nvSpPr>
          <p:cNvPr id="2416" name="Google Shape;2416;p23"/>
          <p:cNvSpPr/>
          <p:nvPr/>
        </p:nvSpPr>
        <p:spPr>
          <a:xfrm>
            <a:off x="7650348" y="3118933"/>
            <a:ext cx="1091783" cy="8617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lt2"/>
                </a:solidFill>
                <a:latin typeface="Calibri"/>
                <a:ea typeface="Calibri"/>
                <a:cs typeface="Calibri"/>
                <a:sym typeface="Calibri"/>
              </a:rPr>
              <a:t>3 Billion </a:t>
            </a:r>
            <a:endParaRPr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sz="1600" dirty="0">
                <a:solidFill>
                  <a:schemeClr val="dk1"/>
                </a:solidFill>
                <a:latin typeface="Calibri"/>
                <a:ea typeface="Calibri"/>
                <a:cs typeface="Calibri"/>
                <a:sym typeface="Calibri"/>
              </a:rPr>
              <a:t>Websites &amp; Files </a:t>
            </a:r>
            <a:endParaRPr sz="1600" dirty="0">
              <a:solidFill>
                <a:schemeClr val="dk1"/>
              </a:solidFill>
              <a:latin typeface="Calibri"/>
              <a:ea typeface="Calibri"/>
              <a:cs typeface="Calibri"/>
              <a:sym typeface="Calibri"/>
            </a:endParaRPr>
          </a:p>
        </p:txBody>
      </p:sp>
      <p:sp>
        <p:nvSpPr>
          <p:cNvPr id="2417" name="Google Shape;2417;p23"/>
          <p:cNvSpPr/>
          <p:nvPr/>
        </p:nvSpPr>
        <p:spPr>
          <a:xfrm>
            <a:off x="8610062" y="3128905"/>
            <a:ext cx="1151922" cy="8617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lt2"/>
                </a:solidFill>
                <a:latin typeface="Calibri"/>
                <a:ea typeface="Calibri"/>
                <a:cs typeface="Calibri"/>
                <a:sym typeface="Calibri"/>
              </a:rPr>
              <a:t>13 Million </a:t>
            </a:r>
            <a:r>
              <a:rPr lang="en-US" sz="1600" dirty="0">
                <a:solidFill>
                  <a:schemeClr val="dk1"/>
                </a:solidFill>
                <a:latin typeface="Calibri"/>
                <a:ea typeface="Calibri"/>
                <a:cs typeface="Calibri"/>
                <a:sym typeface="Calibri"/>
              </a:rPr>
              <a:t>Files Emulated</a:t>
            </a:r>
            <a:endParaRPr dirty="0">
              <a:latin typeface="Calibri" panose="020F0502020204030204" pitchFamily="34" charset="0"/>
              <a:cs typeface="Calibri" panose="020F0502020204030204" pitchFamily="34" charset="0"/>
            </a:endParaRPr>
          </a:p>
        </p:txBody>
      </p:sp>
      <p:sp>
        <p:nvSpPr>
          <p:cNvPr id="2418" name="Google Shape;2418;p23"/>
          <p:cNvSpPr/>
          <p:nvPr/>
        </p:nvSpPr>
        <p:spPr>
          <a:xfrm>
            <a:off x="9732109" y="3128905"/>
            <a:ext cx="1091783" cy="8617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lt2"/>
                </a:solidFill>
                <a:latin typeface="Calibri"/>
                <a:ea typeface="Calibri"/>
                <a:cs typeface="Calibri"/>
                <a:sym typeface="Calibri"/>
              </a:rPr>
              <a:t>150,000</a:t>
            </a:r>
            <a:endParaRPr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sz="1600" dirty="0">
                <a:solidFill>
                  <a:schemeClr val="dk1"/>
                </a:solidFill>
                <a:latin typeface="Calibri"/>
                <a:ea typeface="Calibri"/>
                <a:cs typeface="Calibri"/>
                <a:sym typeface="Calibri"/>
              </a:rPr>
              <a:t>Connected Networks</a:t>
            </a:r>
            <a:endParaRPr dirty="0">
              <a:latin typeface="Calibri" panose="020F0502020204030204" pitchFamily="34" charset="0"/>
              <a:cs typeface="Calibri" panose="020F0502020204030204" pitchFamily="34" charset="0"/>
            </a:endParaRPr>
          </a:p>
        </p:txBody>
      </p:sp>
      <p:sp>
        <p:nvSpPr>
          <p:cNvPr id="2419" name="Google Shape;2419;p23"/>
          <p:cNvSpPr/>
          <p:nvPr/>
        </p:nvSpPr>
        <p:spPr>
          <a:xfrm>
            <a:off x="10794016" y="3128905"/>
            <a:ext cx="1394809" cy="8617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lt2"/>
                </a:solidFill>
                <a:latin typeface="Calibri"/>
                <a:ea typeface="Calibri"/>
                <a:cs typeface="Calibri"/>
                <a:sym typeface="Calibri"/>
              </a:rPr>
              <a:t>2,000</a:t>
            </a:r>
            <a:endParaRPr dirty="0">
              <a:latin typeface="Calibri" panose="020F0502020204030204" pitchFamily="34" charset="0"/>
              <a:cs typeface="Calibri" panose="020F0502020204030204" pitchFamily="34" charset="0"/>
            </a:endParaRPr>
          </a:p>
          <a:p>
            <a:pPr marL="0" marR="0" lvl="0" indent="0" algn="l" rtl="0">
              <a:spcBef>
                <a:spcPts val="0"/>
              </a:spcBef>
              <a:spcAft>
                <a:spcPts val="0"/>
              </a:spcAft>
              <a:buNone/>
            </a:pPr>
            <a:r>
              <a:rPr lang="en-US" sz="1600" dirty="0">
                <a:solidFill>
                  <a:schemeClr val="dk1"/>
                </a:solidFill>
                <a:latin typeface="Calibri"/>
                <a:ea typeface="Calibri"/>
                <a:cs typeface="Calibri"/>
                <a:sym typeface="Calibri"/>
              </a:rPr>
              <a:t>Zero-Day Files Detected Daily</a:t>
            </a:r>
            <a:endParaRPr dirty="0">
              <a:latin typeface="Calibri" panose="020F0502020204030204" pitchFamily="34" charset="0"/>
              <a:cs typeface="Calibri" panose="020F0502020204030204" pitchFamily="34" charset="0"/>
            </a:endParaRPr>
          </a:p>
        </p:txBody>
      </p:sp>
      <p:grpSp>
        <p:nvGrpSpPr>
          <p:cNvPr id="2420" name="Google Shape;2420;p23"/>
          <p:cNvGrpSpPr/>
          <p:nvPr/>
        </p:nvGrpSpPr>
        <p:grpSpPr>
          <a:xfrm>
            <a:off x="7938676" y="4226344"/>
            <a:ext cx="3954700" cy="2224672"/>
            <a:chOff x="8029623" y="4226344"/>
            <a:chExt cx="3954700" cy="2224672"/>
          </a:xfrm>
        </p:grpSpPr>
        <p:sp>
          <p:nvSpPr>
            <p:cNvPr id="2421" name="Google Shape;2421;p23"/>
            <p:cNvSpPr/>
            <p:nvPr/>
          </p:nvSpPr>
          <p:spPr>
            <a:xfrm>
              <a:off x="8029623" y="4578163"/>
              <a:ext cx="3954700" cy="1872853"/>
            </a:xfrm>
            <a:prstGeom prst="round2DiagRect">
              <a:avLst>
                <a:gd name="adj1" fmla="val 16667"/>
                <a:gd name="adj2" fmla="val 0"/>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2000" b="1" dirty="0">
                <a:solidFill>
                  <a:schemeClr val="lt2"/>
                </a:solidFill>
                <a:latin typeface="Calibri"/>
                <a:ea typeface="Calibri"/>
                <a:cs typeface="Calibri"/>
                <a:sym typeface="Calibri"/>
              </a:endParaRPr>
            </a:p>
            <a:p>
              <a:pPr marL="0" marR="0" lvl="0" indent="0" algn="ctr" rtl="0">
                <a:spcBef>
                  <a:spcPts val="400"/>
                </a:spcBef>
                <a:spcAft>
                  <a:spcPts val="0"/>
                </a:spcAft>
                <a:buNone/>
              </a:pPr>
              <a:r>
                <a:rPr lang="en-US" sz="2000" b="1" dirty="0">
                  <a:solidFill>
                    <a:schemeClr val="lt2"/>
                  </a:solidFill>
                  <a:latin typeface="Calibri"/>
                  <a:ea typeface="Calibri"/>
                  <a:cs typeface="Calibri"/>
                  <a:sym typeface="Calibri"/>
                </a:rPr>
                <a:t>The industry’s best catch rate </a:t>
              </a:r>
              <a:endParaRPr dirty="0">
                <a:latin typeface="Calibri" panose="020F0502020204030204" pitchFamily="34" charset="0"/>
                <a:cs typeface="Calibri" panose="020F0502020204030204" pitchFamily="34" charset="0"/>
              </a:endParaRPr>
            </a:p>
            <a:p>
              <a:pPr marL="0" marR="0" lvl="0" indent="0" algn="ctr" rtl="0">
                <a:spcBef>
                  <a:spcPts val="0"/>
                </a:spcBef>
                <a:spcAft>
                  <a:spcPts val="0"/>
                </a:spcAft>
                <a:buNone/>
              </a:pPr>
              <a:r>
                <a:rPr lang="en-US" sz="2000" dirty="0">
                  <a:solidFill>
                    <a:schemeClr val="dk1"/>
                  </a:solidFill>
                  <a:latin typeface="Calibri"/>
                  <a:ea typeface="Calibri"/>
                  <a:cs typeface="Calibri"/>
                  <a:sym typeface="Calibri"/>
                </a:rPr>
                <a:t>Protecting against </a:t>
              </a:r>
              <a:r>
                <a:rPr lang="en-US" sz="2000" b="1" dirty="0">
                  <a:solidFill>
                    <a:schemeClr val="lt2"/>
                  </a:solidFill>
                  <a:latin typeface="Calibri"/>
                  <a:ea typeface="Calibri"/>
                  <a:cs typeface="Calibri"/>
                  <a:sym typeface="Calibri"/>
                </a:rPr>
                <a:t>25</a:t>
              </a:r>
              <a:r>
                <a:rPr lang="en-US" sz="2000" dirty="0">
                  <a:solidFill>
                    <a:schemeClr val="dk1"/>
                  </a:solidFill>
                  <a:latin typeface="Calibri"/>
                  <a:ea typeface="Calibri"/>
                  <a:cs typeface="Calibri"/>
                  <a:sym typeface="Calibri"/>
                </a:rPr>
                <a:t> out of NSA’s Top </a:t>
              </a:r>
              <a:r>
                <a:rPr lang="en-US" sz="2000" b="1" dirty="0">
                  <a:solidFill>
                    <a:schemeClr val="lt2"/>
                  </a:solidFill>
                  <a:latin typeface="Calibri"/>
                  <a:ea typeface="Calibri"/>
                  <a:cs typeface="Calibri"/>
                  <a:sym typeface="Calibri"/>
                </a:rPr>
                <a:t>25</a:t>
              </a:r>
              <a:r>
                <a:rPr lang="en-US" sz="2000" dirty="0">
                  <a:solidFill>
                    <a:schemeClr val="dk1"/>
                  </a:solidFill>
                  <a:latin typeface="Calibri"/>
                  <a:ea typeface="Calibri"/>
                  <a:cs typeface="Calibri"/>
                  <a:sym typeface="Calibri"/>
                </a:rPr>
                <a:t> Vulnerabilities </a:t>
              </a:r>
              <a:endParaRPr dirty="0">
                <a:latin typeface="Calibri" panose="020F0502020204030204" pitchFamily="34" charset="0"/>
                <a:cs typeface="Calibri" panose="020F0502020204030204" pitchFamily="34" charset="0"/>
              </a:endParaRPr>
            </a:p>
            <a:p>
              <a:pPr marL="0" marR="0" lvl="0" indent="0" algn="ctr" rtl="0">
                <a:spcBef>
                  <a:spcPts val="0"/>
                </a:spcBef>
                <a:spcAft>
                  <a:spcPts val="0"/>
                </a:spcAft>
                <a:buNone/>
              </a:pPr>
              <a:r>
                <a:rPr lang="en-US" sz="2000" dirty="0">
                  <a:solidFill>
                    <a:schemeClr val="dk1"/>
                  </a:solidFill>
                  <a:latin typeface="Calibri"/>
                  <a:ea typeface="Calibri"/>
                  <a:cs typeface="Calibri"/>
                  <a:sym typeface="Calibri"/>
                </a:rPr>
                <a:t>Being Exploited In the Wild</a:t>
              </a:r>
              <a:endParaRPr dirty="0">
                <a:latin typeface="Calibri" panose="020F0502020204030204" pitchFamily="34" charset="0"/>
                <a:cs typeface="Calibri" panose="020F0502020204030204" pitchFamily="34" charset="0"/>
              </a:endParaRPr>
            </a:p>
          </p:txBody>
        </p:sp>
        <p:cxnSp>
          <p:nvCxnSpPr>
            <p:cNvPr id="2422" name="Google Shape;2422;p23"/>
            <p:cNvCxnSpPr/>
            <p:nvPr/>
          </p:nvCxnSpPr>
          <p:spPr>
            <a:xfrm>
              <a:off x="8436862" y="4647372"/>
              <a:ext cx="3140222" cy="0"/>
            </a:xfrm>
            <a:prstGeom prst="straightConnector1">
              <a:avLst/>
            </a:prstGeom>
            <a:solidFill>
              <a:schemeClr val="lt1"/>
            </a:solidFill>
            <a:ln w="38100" cap="rnd" cmpd="sng">
              <a:solidFill>
                <a:srgbClr val="DBDBDB"/>
              </a:solidFill>
              <a:prstDash val="solid"/>
              <a:round/>
              <a:headEnd type="none" w="sm" len="sm"/>
              <a:tailEnd type="none" w="sm" len="sm"/>
            </a:ln>
          </p:spPr>
        </p:cxnSp>
        <p:grpSp>
          <p:nvGrpSpPr>
            <p:cNvPr id="2423" name="Google Shape;2423;p23"/>
            <p:cNvGrpSpPr/>
            <p:nvPr/>
          </p:nvGrpSpPr>
          <p:grpSpPr>
            <a:xfrm>
              <a:off x="9604697" y="4226344"/>
              <a:ext cx="804552" cy="810378"/>
              <a:chOff x="579239" y="4826511"/>
              <a:chExt cx="924469" cy="931164"/>
            </a:xfrm>
          </p:grpSpPr>
          <p:grpSp>
            <p:nvGrpSpPr>
              <p:cNvPr id="2424" name="Google Shape;2424;p23"/>
              <p:cNvGrpSpPr/>
              <p:nvPr/>
            </p:nvGrpSpPr>
            <p:grpSpPr>
              <a:xfrm>
                <a:off x="579239" y="4826511"/>
                <a:ext cx="924469" cy="931164"/>
                <a:chOff x="3900499" y="1219200"/>
                <a:chExt cx="4387824" cy="4419600"/>
              </a:xfrm>
            </p:grpSpPr>
            <p:sp>
              <p:nvSpPr>
                <p:cNvPr id="2425" name="Google Shape;2425;p23"/>
                <p:cNvSpPr/>
                <p:nvPr/>
              </p:nvSpPr>
              <p:spPr>
                <a:xfrm>
                  <a:off x="3900499" y="1219200"/>
                  <a:ext cx="4387824" cy="4419600"/>
                </a:xfrm>
                <a:custGeom>
                  <a:avLst/>
                  <a:gdLst/>
                  <a:ahLst/>
                  <a:cxnLst/>
                  <a:rect l="l" t="t" r="r" b="b"/>
                  <a:pathLst>
                    <a:path w="4387824" h="4419600" extrusionOk="0">
                      <a:moveTo>
                        <a:pt x="4251313" y="2209800"/>
                      </a:moveTo>
                      <a:lnTo>
                        <a:pt x="4387815" y="1943472"/>
                      </a:lnTo>
                      <a:lnTo>
                        <a:pt x="4191991" y="1717224"/>
                      </a:lnTo>
                      <a:lnTo>
                        <a:pt x="4260647" y="1425978"/>
                      </a:lnTo>
                      <a:lnTo>
                        <a:pt x="4016074" y="1253557"/>
                      </a:lnTo>
                      <a:lnTo>
                        <a:pt x="4012683" y="954348"/>
                      </a:lnTo>
                      <a:lnTo>
                        <a:pt x="3733943" y="845496"/>
                      </a:lnTo>
                      <a:lnTo>
                        <a:pt x="3659296" y="555727"/>
                      </a:lnTo>
                      <a:lnTo>
                        <a:pt x="3362668" y="516369"/>
                      </a:lnTo>
                      <a:lnTo>
                        <a:pt x="3221079" y="252746"/>
                      </a:lnTo>
                      <a:lnTo>
                        <a:pt x="2923651" y="285550"/>
                      </a:lnTo>
                      <a:lnTo>
                        <a:pt x="2722836" y="63722"/>
                      </a:lnTo>
                      <a:lnTo>
                        <a:pt x="2442058" y="167202"/>
                      </a:lnTo>
                      <a:lnTo>
                        <a:pt x="2193912" y="0"/>
                      </a:lnTo>
                      <a:lnTo>
                        <a:pt x="1945767" y="167202"/>
                      </a:lnTo>
                      <a:lnTo>
                        <a:pt x="1664980" y="63722"/>
                      </a:lnTo>
                      <a:lnTo>
                        <a:pt x="1464154" y="285550"/>
                      </a:lnTo>
                      <a:lnTo>
                        <a:pt x="1166736" y="252755"/>
                      </a:lnTo>
                      <a:lnTo>
                        <a:pt x="1025147" y="516379"/>
                      </a:lnTo>
                      <a:lnTo>
                        <a:pt x="728510" y="555736"/>
                      </a:lnTo>
                      <a:lnTo>
                        <a:pt x="653872" y="845515"/>
                      </a:lnTo>
                      <a:lnTo>
                        <a:pt x="375133" y="954367"/>
                      </a:lnTo>
                      <a:lnTo>
                        <a:pt x="371742" y="1253576"/>
                      </a:lnTo>
                      <a:lnTo>
                        <a:pt x="127178" y="1425988"/>
                      </a:lnTo>
                      <a:lnTo>
                        <a:pt x="195834" y="1717234"/>
                      </a:lnTo>
                      <a:lnTo>
                        <a:pt x="0" y="1943472"/>
                      </a:lnTo>
                      <a:lnTo>
                        <a:pt x="136512" y="2209800"/>
                      </a:lnTo>
                      <a:lnTo>
                        <a:pt x="10" y="2476129"/>
                      </a:lnTo>
                      <a:lnTo>
                        <a:pt x="195834" y="2702376"/>
                      </a:lnTo>
                      <a:lnTo>
                        <a:pt x="127178" y="2993622"/>
                      </a:lnTo>
                      <a:lnTo>
                        <a:pt x="371751" y="3166044"/>
                      </a:lnTo>
                      <a:lnTo>
                        <a:pt x="375142" y="3465252"/>
                      </a:lnTo>
                      <a:lnTo>
                        <a:pt x="653882" y="3574104"/>
                      </a:lnTo>
                      <a:lnTo>
                        <a:pt x="728529" y="3863874"/>
                      </a:lnTo>
                      <a:lnTo>
                        <a:pt x="1025157" y="3903231"/>
                      </a:lnTo>
                      <a:lnTo>
                        <a:pt x="1166746" y="4166854"/>
                      </a:lnTo>
                      <a:lnTo>
                        <a:pt x="1464173" y="4134050"/>
                      </a:lnTo>
                      <a:lnTo>
                        <a:pt x="1664989" y="4355878"/>
                      </a:lnTo>
                      <a:lnTo>
                        <a:pt x="1945767" y="4252399"/>
                      </a:lnTo>
                      <a:lnTo>
                        <a:pt x="2193912" y="4419600"/>
                      </a:lnTo>
                      <a:lnTo>
                        <a:pt x="2442058" y="4252399"/>
                      </a:lnTo>
                      <a:lnTo>
                        <a:pt x="2722845" y="4355878"/>
                      </a:lnTo>
                      <a:lnTo>
                        <a:pt x="2923670" y="4134050"/>
                      </a:lnTo>
                      <a:lnTo>
                        <a:pt x="3221088" y="4166845"/>
                      </a:lnTo>
                      <a:lnTo>
                        <a:pt x="3362677" y="3903221"/>
                      </a:lnTo>
                      <a:lnTo>
                        <a:pt x="3659315" y="3863864"/>
                      </a:lnTo>
                      <a:lnTo>
                        <a:pt x="3733952" y="3574085"/>
                      </a:lnTo>
                      <a:lnTo>
                        <a:pt x="4012692" y="3465233"/>
                      </a:lnTo>
                      <a:lnTo>
                        <a:pt x="4016083" y="3166024"/>
                      </a:lnTo>
                      <a:lnTo>
                        <a:pt x="4260647" y="2993612"/>
                      </a:lnTo>
                      <a:lnTo>
                        <a:pt x="4191991" y="2702367"/>
                      </a:lnTo>
                      <a:lnTo>
                        <a:pt x="4387825" y="2476129"/>
                      </a:lnTo>
                      <a:close/>
                    </a:path>
                  </a:pathLst>
                </a:custGeom>
                <a:gradFill>
                  <a:gsLst>
                    <a:gs pos="0">
                      <a:schemeClr val="lt2"/>
                    </a:gs>
                    <a:gs pos="74000">
                      <a:srgbClr val="F688B9"/>
                    </a:gs>
                    <a:gs pos="83000">
                      <a:srgbClr val="F688B9"/>
                    </a:gs>
                    <a:gs pos="100000">
                      <a:srgbClr val="F9AECF"/>
                    </a:gs>
                  </a:gsLst>
                  <a:lin ang="5400000" scaled="0"/>
                </a:gradFill>
                <a:ln>
                  <a:noFill/>
                </a:ln>
                <a:effectLst>
                  <a:outerShdw blurRad="114300" dist="76200" dir="2700000" algn="tl" rotWithShape="0">
                    <a:schemeClr val="dk1">
                      <a:alpha val="4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26" name="Google Shape;2426;p23"/>
                <p:cNvSpPr/>
                <p:nvPr/>
              </p:nvSpPr>
              <p:spPr>
                <a:xfrm>
                  <a:off x="4341812" y="1676400"/>
                  <a:ext cx="3505200" cy="3505200"/>
                </a:xfrm>
                <a:custGeom>
                  <a:avLst/>
                  <a:gdLst/>
                  <a:ahLst/>
                  <a:cxnLst/>
                  <a:rect l="l" t="t" r="r" b="b"/>
                  <a:pathLst>
                    <a:path w="3505200" h="3505200" extrusionOk="0">
                      <a:moveTo>
                        <a:pt x="3505200" y="1752600"/>
                      </a:moveTo>
                      <a:cubicBezTo>
                        <a:pt x="3505200" y="2720534"/>
                        <a:pt x="2720534" y="3505200"/>
                        <a:pt x="1752600" y="3505200"/>
                      </a:cubicBezTo>
                      <a:cubicBezTo>
                        <a:pt x="784666" y="3505200"/>
                        <a:pt x="0" y="2720534"/>
                        <a:pt x="0" y="1752600"/>
                      </a:cubicBezTo>
                      <a:cubicBezTo>
                        <a:pt x="0" y="784666"/>
                        <a:pt x="784666" y="0"/>
                        <a:pt x="1752600" y="0"/>
                      </a:cubicBezTo>
                      <a:cubicBezTo>
                        <a:pt x="2720534" y="0"/>
                        <a:pt x="3505200" y="784666"/>
                        <a:pt x="3505200" y="1752600"/>
                      </a:cubicBezTo>
                      <a:close/>
                    </a:path>
                  </a:pathLst>
                </a:custGeom>
                <a:gradFill>
                  <a:gsLst>
                    <a:gs pos="0">
                      <a:schemeClr val="lt2"/>
                    </a:gs>
                    <a:gs pos="51000">
                      <a:srgbClr val="F688B9"/>
                    </a:gs>
                    <a:gs pos="100000">
                      <a:schemeClr val="dk2"/>
                    </a:gs>
                  </a:gsLst>
                  <a:lin ang="16200000" scaled="0"/>
                </a:gradFill>
                <a:ln>
                  <a:noFill/>
                </a:ln>
                <a:effectLst>
                  <a:outerShdw blurRad="114300" dist="76200" dir="2700000" algn="tl" rotWithShape="0">
                    <a:schemeClr val="dk1">
                      <a:alpha val="4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27" name="Google Shape;2427;p23"/>
                <p:cNvSpPr/>
                <p:nvPr/>
              </p:nvSpPr>
              <p:spPr>
                <a:xfrm>
                  <a:off x="4570411" y="1905000"/>
                  <a:ext cx="3048000" cy="3048000"/>
                </a:xfrm>
                <a:custGeom>
                  <a:avLst/>
                  <a:gdLst/>
                  <a:ahLst/>
                  <a:cxnLst/>
                  <a:rect l="l" t="t" r="r" b="b"/>
                  <a:pathLst>
                    <a:path w="3048000" h="3048000" extrusionOk="0">
                      <a:moveTo>
                        <a:pt x="1521476" y="3048000"/>
                      </a:moveTo>
                      <a:cubicBezTo>
                        <a:pt x="1468317" y="3047914"/>
                        <a:pt x="1415196" y="3045076"/>
                        <a:pt x="1362323" y="3039523"/>
                      </a:cubicBezTo>
                      <a:lnTo>
                        <a:pt x="1378325" y="2887961"/>
                      </a:lnTo>
                      <a:cubicBezTo>
                        <a:pt x="1425959" y="2892971"/>
                        <a:pt x="1473822" y="2895514"/>
                        <a:pt x="1521724" y="2895581"/>
                      </a:cubicBezTo>
                      <a:close/>
                      <a:moveTo>
                        <a:pt x="1680639" y="3040056"/>
                      </a:moveTo>
                      <a:lnTo>
                        <a:pt x="1665161" y="2888437"/>
                      </a:lnTo>
                      <a:cubicBezTo>
                        <a:pt x="1712786" y="2883570"/>
                        <a:pt x="1760125" y="2876217"/>
                        <a:pt x="1806978" y="2866416"/>
                      </a:cubicBezTo>
                      <a:lnTo>
                        <a:pt x="1838211" y="3015577"/>
                      </a:lnTo>
                      <a:cubicBezTo>
                        <a:pt x="1786147" y="3026464"/>
                        <a:pt x="1733550" y="3034636"/>
                        <a:pt x="1680639" y="3040047"/>
                      </a:cubicBezTo>
                      <a:close/>
                      <a:moveTo>
                        <a:pt x="1204827" y="3014520"/>
                      </a:moveTo>
                      <a:cubicBezTo>
                        <a:pt x="1152782" y="3003404"/>
                        <a:pt x="1101347" y="2989574"/>
                        <a:pt x="1050750" y="2973086"/>
                      </a:cubicBezTo>
                      <a:lnTo>
                        <a:pt x="1098042" y="2828201"/>
                      </a:lnTo>
                      <a:cubicBezTo>
                        <a:pt x="1143543" y="2843041"/>
                        <a:pt x="1189796" y="2855481"/>
                        <a:pt x="1236602" y="2865473"/>
                      </a:cubicBezTo>
                      <a:close/>
                      <a:moveTo>
                        <a:pt x="1992468" y="2974629"/>
                      </a:moveTo>
                      <a:lnTo>
                        <a:pt x="1945681" y="2829592"/>
                      </a:lnTo>
                      <a:cubicBezTo>
                        <a:pt x="1991230" y="2814885"/>
                        <a:pt x="2035978" y="2797788"/>
                        <a:pt x="2079736" y="2778376"/>
                      </a:cubicBezTo>
                      <a:lnTo>
                        <a:pt x="2141553" y="2917679"/>
                      </a:lnTo>
                      <a:cubicBezTo>
                        <a:pt x="2092890" y="2939272"/>
                        <a:pt x="2043132" y="2958294"/>
                        <a:pt x="1992468" y="2974658"/>
                      </a:cubicBezTo>
                      <a:close/>
                      <a:moveTo>
                        <a:pt x="901903" y="2915603"/>
                      </a:moveTo>
                      <a:cubicBezTo>
                        <a:pt x="853364" y="2893857"/>
                        <a:pt x="805986" y="2869587"/>
                        <a:pt x="759981" y="2842889"/>
                      </a:cubicBezTo>
                      <a:lnTo>
                        <a:pt x="836495" y="2711082"/>
                      </a:lnTo>
                      <a:cubicBezTo>
                        <a:pt x="877891" y="2735104"/>
                        <a:pt x="920515" y="2756945"/>
                        <a:pt x="964197" y="2776509"/>
                      </a:cubicBezTo>
                      <a:close/>
                      <a:moveTo>
                        <a:pt x="2283781" y="2845346"/>
                      </a:moveTo>
                      <a:lnTo>
                        <a:pt x="2207686" y="2713291"/>
                      </a:lnTo>
                      <a:cubicBezTo>
                        <a:pt x="2249177" y="2689365"/>
                        <a:pt x="2289400" y="2663295"/>
                        <a:pt x="2328177" y="2635187"/>
                      </a:cubicBezTo>
                      <a:lnTo>
                        <a:pt x="2417617" y="2758564"/>
                      </a:lnTo>
                      <a:cubicBezTo>
                        <a:pt x="2374544" y="2789806"/>
                        <a:pt x="2329872" y="2818791"/>
                        <a:pt x="2283781" y="2845384"/>
                      </a:cubicBezTo>
                      <a:close/>
                      <a:moveTo>
                        <a:pt x="626431" y="2755735"/>
                      </a:moveTo>
                      <a:cubicBezTo>
                        <a:pt x="583473" y="2724379"/>
                        <a:pt x="542173" y="2690803"/>
                        <a:pt x="502701" y="2655160"/>
                      </a:cubicBezTo>
                      <a:lnTo>
                        <a:pt x="604876" y="2542070"/>
                      </a:lnTo>
                      <a:cubicBezTo>
                        <a:pt x="640413" y="2574189"/>
                        <a:pt x="677599" y="2604450"/>
                        <a:pt x="716280" y="2632710"/>
                      </a:cubicBezTo>
                      <a:close/>
                      <a:moveTo>
                        <a:pt x="2541670" y="2658428"/>
                      </a:moveTo>
                      <a:lnTo>
                        <a:pt x="2439867" y="2545080"/>
                      </a:lnTo>
                      <a:cubicBezTo>
                        <a:pt x="2475509" y="2513086"/>
                        <a:pt x="2509466" y="2479253"/>
                        <a:pt x="2541594" y="2443734"/>
                      </a:cubicBezTo>
                      <a:lnTo>
                        <a:pt x="2654618" y="2545909"/>
                      </a:lnTo>
                      <a:cubicBezTo>
                        <a:pt x="2618937" y="2585342"/>
                        <a:pt x="2581237" y="2622899"/>
                        <a:pt x="2541670" y="2658428"/>
                      </a:cubicBezTo>
                      <a:close/>
                      <a:moveTo>
                        <a:pt x="390125" y="2542308"/>
                      </a:moveTo>
                      <a:cubicBezTo>
                        <a:pt x="354568" y="2502742"/>
                        <a:pt x="321107" y="2461355"/>
                        <a:pt x="289855" y="2418312"/>
                      </a:cubicBezTo>
                      <a:lnTo>
                        <a:pt x="413195" y="2328777"/>
                      </a:lnTo>
                      <a:cubicBezTo>
                        <a:pt x="441331" y="2367534"/>
                        <a:pt x="471468" y="2404796"/>
                        <a:pt x="503472" y="2440429"/>
                      </a:cubicBezTo>
                      <a:close/>
                      <a:moveTo>
                        <a:pt x="2755297" y="2422208"/>
                      </a:moveTo>
                      <a:lnTo>
                        <a:pt x="2632234" y="2332291"/>
                      </a:lnTo>
                      <a:cubicBezTo>
                        <a:pt x="2660476" y="2293630"/>
                        <a:pt x="2686688" y="2253520"/>
                        <a:pt x="2710758" y="2212134"/>
                      </a:cubicBezTo>
                      <a:lnTo>
                        <a:pt x="2842508" y="2288724"/>
                      </a:lnTo>
                      <a:cubicBezTo>
                        <a:pt x="2815771" y="2334702"/>
                        <a:pt x="2786663" y="2379259"/>
                        <a:pt x="2755297" y="2422208"/>
                      </a:cubicBezTo>
                      <a:close/>
                      <a:moveTo>
                        <a:pt x="203035" y="2284476"/>
                      </a:moveTo>
                      <a:cubicBezTo>
                        <a:pt x="176451" y="2238375"/>
                        <a:pt x="152286" y="2190922"/>
                        <a:pt x="130645" y="2142296"/>
                      </a:cubicBezTo>
                      <a:lnTo>
                        <a:pt x="269910" y="2080384"/>
                      </a:lnTo>
                      <a:cubicBezTo>
                        <a:pt x="289369" y="2124142"/>
                        <a:pt x="311106" y="2166842"/>
                        <a:pt x="335023" y="2208333"/>
                      </a:cubicBezTo>
                      <a:close/>
                      <a:moveTo>
                        <a:pt x="2915288" y="2146840"/>
                      </a:moveTo>
                      <a:lnTo>
                        <a:pt x="2776223" y="2084499"/>
                      </a:lnTo>
                      <a:cubicBezTo>
                        <a:pt x="2795797" y="2040836"/>
                        <a:pt x="2813076" y="1996183"/>
                        <a:pt x="2827973" y="1950720"/>
                      </a:cubicBezTo>
                      <a:lnTo>
                        <a:pt x="2972819" y="1998088"/>
                      </a:lnTo>
                      <a:cubicBezTo>
                        <a:pt x="2956265" y="2048656"/>
                        <a:pt x="2937062" y="2098319"/>
                        <a:pt x="2915288" y="2146869"/>
                      </a:cubicBezTo>
                      <a:close/>
                      <a:moveTo>
                        <a:pt x="73638" y="1993278"/>
                      </a:moveTo>
                      <a:cubicBezTo>
                        <a:pt x="57283" y="1942624"/>
                        <a:pt x="43586" y="1891151"/>
                        <a:pt x="32623" y="1839058"/>
                      </a:cubicBezTo>
                      <a:lnTo>
                        <a:pt x="181766" y="1807693"/>
                      </a:lnTo>
                      <a:cubicBezTo>
                        <a:pt x="191624" y="1854546"/>
                        <a:pt x="203930" y="1900838"/>
                        <a:pt x="218656" y="1946396"/>
                      </a:cubicBezTo>
                      <a:close/>
                      <a:moveTo>
                        <a:pt x="3014329" y="1844040"/>
                      </a:moveTo>
                      <a:lnTo>
                        <a:pt x="2865292" y="1812169"/>
                      </a:lnTo>
                      <a:cubicBezTo>
                        <a:pt x="2875283" y="1765364"/>
                        <a:pt x="2882817" y="1718062"/>
                        <a:pt x="2887875" y="1670466"/>
                      </a:cubicBezTo>
                      <a:lnTo>
                        <a:pt x="3039428" y="1686535"/>
                      </a:lnTo>
                      <a:cubicBezTo>
                        <a:pt x="3033808" y="1739437"/>
                        <a:pt x="3025436" y="1792015"/>
                        <a:pt x="3014329" y="1844040"/>
                      </a:cubicBezTo>
                      <a:close/>
                      <a:moveTo>
                        <a:pt x="8049" y="1681496"/>
                      </a:moveTo>
                      <a:cubicBezTo>
                        <a:pt x="2686" y="1629165"/>
                        <a:pt x="-1" y="1576597"/>
                        <a:pt x="0" y="1524000"/>
                      </a:cubicBezTo>
                      <a:lnTo>
                        <a:pt x="0" y="1522400"/>
                      </a:lnTo>
                      <a:lnTo>
                        <a:pt x="152400" y="1522400"/>
                      </a:lnTo>
                      <a:lnTo>
                        <a:pt x="152400" y="1524000"/>
                      </a:lnTo>
                      <a:cubicBezTo>
                        <a:pt x="152400" y="1571397"/>
                        <a:pt x="154819" y="1618774"/>
                        <a:pt x="159649" y="1665923"/>
                      </a:cubicBezTo>
                      <a:close/>
                      <a:moveTo>
                        <a:pt x="3048000" y="1527200"/>
                      </a:moveTo>
                      <a:lnTo>
                        <a:pt x="2895600" y="1527200"/>
                      </a:lnTo>
                      <a:lnTo>
                        <a:pt x="2895600" y="1524000"/>
                      </a:lnTo>
                      <a:cubicBezTo>
                        <a:pt x="2895591" y="1476099"/>
                        <a:pt x="2893124" y="1428226"/>
                        <a:pt x="2888209" y="1380573"/>
                      </a:cubicBezTo>
                      <a:lnTo>
                        <a:pt x="3039790" y="1364837"/>
                      </a:lnTo>
                      <a:cubicBezTo>
                        <a:pt x="3045257" y="1417711"/>
                        <a:pt x="3048000" y="1470841"/>
                        <a:pt x="3048000" y="1524000"/>
                      </a:cubicBezTo>
                      <a:close/>
                      <a:moveTo>
                        <a:pt x="159963" y="1379077"/>
                      </a:moveTo>
                      <a:lnTo>
                        <a:pt x="8401" y="1363170"/>
                      </a:lnTo>
                      <a:cubicBezTo>
                        <a:pt x="13965" y="1310269"/>
                        <a:pt x="22288" y="1257681"/>
                        <a:pt x="33338" y="1205646"/>
                      </a:cubicBezTo>
                      <a:lnTo>
                        <a:pt x="182404" y="1237326"/>
                      </a:lnTo>
                      <a:cubicBezTo>
                        <a:pt x="172460" y="1284151"/>
                        <a:pt x="164963" y="1331471"/>
                        <a:pt x="159963" y="1379077"/>
                      </a:cubicBezTo>
                      <a:close/>
                      <a:moveTo>
                        <a:pt x="2865930" y="1238822"/>
                      </a:moveTo>
                      <a:cubicBezTo>
                        <a:pt x="2856033" y="1191978"/>
                        <a:pt x="2843679" y="1145686"/>
                        <a:pt x="2828925" y="1100138"/>
                      </a:cubicBezTo>
                      <a:lnTo>
                        <a:pt x="2973886" y="1053103"/>
                      </a:lnTo>
                      <a:cubicBezTo>
                        <a:pt x="2990298" y="1103738"/>
                        <a:pt x="3004052" y="1155192"/>
                        <a:pt x="3015072" y="1207265"/>
                      </a:cubicBezTo>
                      <a:close/>
                      <a:moveTo>
                        <a:pt x="219580" y="1098756"/>
                      </a:moveTo>
                      <a:lnTo>
                        <a:pt x="74676" y="1051560"/>
                      </a:lnTo>
                      <a:cubicBezTo>
                        <a:pt x="91173" y="1000963"/>
                        <a:pt x="110309" y="951271"/>
                        <a:pt x="132007" y="902684"/>
                      </a:cubicBezTo>
                      <a:lnTo>
                        <a:pt x="271148" y="964873"/>
                      </a:lnTo>
                      <a:cubicBezTo>
                        <a:pt x="251631" y="1008564"/>
                        <a:pt x="234420" y="1053256"/>
                        <a:pt x="219580" y="1098756"/>
                      </a:cubicBezTo>
                      <a:close/>
                      <a:moveTo>
                        <a:pt x="2777490" y="966197"/>
                      </a:moveTo>
                      <a:cubicBezTo>
                        <a:pt x="2757983" y="922468"/>
                        <a:pt x="2736199" y="879796"/>
                        <a:pt x="2712234" y="838343"/>
                      </a:cubicBezTo>
                      <a:lnTo>
                        <a:pt x="2844165" y="762000"/>
                      </a:lnTo>
                      <a:cubicBezTo>
                        <a:pt x="2870807" y="808073"/>
                        <a:pt x="2895009" y="855516"/>
                        <a:pt x="2916688" y="904123"/>
                      </a:cubicBezTo>
                      <a:close/>
                      <a:moveTo>
                        <a:pt x="336490" y="837143"/>
                      </a:moveTo>
                      <a:lnTo>
                        <a:pt x="204645" y="760695"/>
                      </a:lnTo>
                      <a:cubicBezTo>
                        <a:pt x="231334" y="714689"/>
                        <a:pt x="260404" y="670112"/>
                        <a:pt x="291722" y="627126"/>
                      </a:cubicBezTo>
                      <a:lnTo>
                        <a:pt x="414881" y="716909"/>
                      </a:lnTo>
                      <a:cubicBezTo>
                        <a:pt x="386677" y="755599"/>
                        <a:pt x="360512" y="795728"/>
                        <a:pt x="336490" y="837143"/>
                      </a:cubicBezTo>
                      <a:close/>
                      <a:moveTo>
                        <a:pt x="2633920" y="717995"/>
                      </a:moveTo>
                      <a:cubicBezTo>
                        <a:pt x="2605726" y="679266"/>
                        <a:pt x="2575550" y="642023"/>
                        <a:pt x="2543499" y="606419"/>
                      </a:cubicBezTo>
                      <a:lnTo>
                        <a:pt x="2656761" y="504501"/>
                      </a:lnTo>
                      <a:cubicBezTo>
                        <a:pt x="2692337" y="544020"/>
                        <a:pt x="2725846" y="585349"/>
                        <a:pt x="2757154" y="628326"/>
                      </a:cubicBezTo>
                      <a:close/>
                      <a:moveTo>
                        <a:pt x="505387" y="605447"/>
                      </a:moveTo>
                      <a:lnTo>
                        <a:pt x="392239" y="503358"/>
                      </a:lnTo>
                      <a:cubicBezTo>
                        <a:pt x="427882" y="463887"/>
                        <a:pt x="465534" y="426282"/>
                        <a:pt x="505063" y="390697"/>
                      </a:cubicBezTo>
                      <a:lnTo>
                        <a:pt x="606981" y="503987"/>
                      </a:lnTo>
                      <a:cubicBezTo>
                        <a:pt x="571386" y="536029"/>
                        <a:pt x="537477" y="569900"/>
                        <a:pt x="505387" y="605447"/>
                      </a:cubicBezTo>
                      <a:close/>
                      <a:moveTo>
                        <a:pt x="2441991" y="504825"/>
                      </a:moveTo>
                      <a:cubicBezTo>
                        <a:pt x="2406434" y="472773"/>
                        <a:pt x="2369239" y="442589"/>
                        <a:pt x="2330549" y="414395"/>
                      </a:cubicBezTo>
                      <a:lnTo>
                        <a:pt x="2420236" y="291179"/>
                      </a:lnTo>
                      <a:cubicBezTo>
                        <a:pt x="2463222" y="322497"/>
                        <a:pt x="2504551" y="356026"/>
                        <a:pt x="2544061" y="391639"/>
                      </a:cubicBezTo>
                      <a:close/>
                      <a:moveTo>
                        <a:pt x="718604" y="413604"/>
                      </a:moveTo>
                      <a:lnTo>
                        <a:pt x="629012" y="290312"/>
                      </a:lnTo>
                      <a:cubicBezTo>
                        <a:pt x="672065" y="259042"/>
                        <a:pt x="716718" y="230038"/>
                        <a:pt x="762781" y="203406"/>
                      </a:cubicBezTo>
                      <a:lnTo>
                        <a:pt x="838981" y="335385"/>
                      </a:lnTo>
                      <a:cubicBezTo>
                        <a:pt x="797519" y="359359"/>
                        <a:pt x="757342" y="385477"/>
                        <a:pt x="718604" y="413642"/>
                      </a:cubicBezTo>
                      <a:close/>
                      <a:moveTo>
                        <a:pt x="2210219" y="336090"/>
                      </a:moveTo>
                      <a:cubicBezTo>
                        <a:pt x="2168795" y="312125"/>
                        <a:pt x="2126142" y="290332"/>
                        <a:pt x="2082441" y="270805"/>
                      </a:cubicBezTo>
                      <a:lnTo>
                        <a:pt x="2144573" y="131645"/>
                      </a:lnTo>
                      <a:cubicBezTo>
                        <a:pt x="2193131" y="153333"/>
                        <a:pt x="2240537" y="177556"/>
                        <a:pt x="2286572" y="204187"/>
                      </a:cubicBezTo>
                      <a:close/>
                      <a:moveTo>
                        <a:pt x="966883" y="270243"/>
                      </a:moveTo>
                      <a:lnTo>
                        <a:pt x="904875" y="131016"/>
                      </a:lnTo>
                      <a:cubicBezTo>
                        <a:pt x="953510" y="109366"/>
                        <a:pt x="1003249" y="90287"/>
                        <a:pt x="1053884" y="73866"/>
                      </a:cubicBezTo>
                      <a:lnTo>
                        <a:pt x="1100842" y="218837"/>
                      </a:lnTo>
                      <a:cubicBezTo>
                        <a:pt x="1055322" y="233620"/>
                        <a:pt x="1010603" y="250774"/>
                        <a:pt x="966883" y="270243"/>
                      </a:cubicBezTo>
                      <a:close/>
                      <a:moveTo>
                        <a:pt x="1948520" y="219342"/>
                      </a:moveTo>
                      <a:cubicBezTo>
                        <a:pt x="1903000" y="204549"/>
                        <a:pt x="1856727" y="192148"/>
                        <a:pt x="1809912" y="182194"/>
                      </a:cubicBezTo>
                      <a:lnTo>
                        <a:pt x="1841554" y="33118"/>
                      </a:lnTo>
                      <a:cubicBezTo>
                        <a:pt x="1893599" y="44177"/>
                        <a:pt x="1945043" y="57960"/>
                        <a:pt x="1995649" y="74390"/>
                      </a:cubicBezTo>
                      <a:close/>
                      <a:moveTo>
                        <a:pt x="1239565" y="181908"/>
                      </a:moveTo>
                      <a:lnTo>
                        <a:pt x="1208132" y="32776"/>
                      </a:lnTo>
                      <a:cubicBezTo>
                        <a:pt x="1260186" y="21827"/>
                        <a:pt x="1312783" y="13598"/>
                        <a:pt x="1365695" y="8125"/>
                      </a:cubicBezTo>
                      <a:lnTo>
                        <a:pt x="1381335" y="159725"/>
                      </a:lnTo>
                      <a:cubicBezTo>
                        <a:pt x="1333719" y="164640"/>
                        <a:pt x="1286399" y="172050"/>
                        <a:pt x="1239565" y="181927"/>
                      </a:cubicBezTo>
                      <a:close/>
                      <a:moveTo>
                        <a:pt x="1668190" y="159877"/>
                      </a:moveTo>
                      <a:cubicBezTo>
                        <a:pt x="1620545" y="154924"/>
                        <a:pt x="1572673" y="152429"/>
                        <a:pt x="1524772" y="152400"/>
                      </a:cubicBezTo>
                      <a:lnTo>
                        <a:pt x="1524848" y="0"/>
                      </a:lnTo>
                      <a:cubicBezTo>
                        <a:pt x="1578007" y="30"/>
                        <a:pt x="1631128" y="2799"/>
                        <a:pt x="1684001" y="8296"/>
                      </a:cubicBezTo>
                      <a:close/>
                    </a:path>
                  </a:pathLst>
                </a:custGeom>
                <a:solidFill>
                  <a:schemeClr val="lt1"/>
                </a:solidFill>
                <a:ln>
                  <a:noFill/>
                </a:ln>
                <a:effectLst>
                  <a:outerShdw blurRad="114300" dist="76200" dir="2700000" algn="tl" rotWithShape="0">
                    <a:schemeClr val="dk1">
                      <a:alpha val="4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28" name="Google Shape;2428;p23"/>
                <p:cNvSpPr/>
                <p:nvPr/>
              </p:nvSpPr>
              <p:spPr>
                <a:xfrm>
                  <a:off x="4951412" y="2286000"/>
                  <a:ext cx="2286000" cy="2286000"/>
                </a:xfrm>
                <a:custGeom>
                  <a:avLst/>
                  <a:gdLst/>
                  <a:ahLst/>
                  <a:cxnLst/>
                  <a:rect l="l" t="t" r="r" b="b"/>
                  <a:pathLst>
                    <a:path w="2286000" h="2286000" extrusionOk="0">
                      <a:moveTo>
                        <a:pt x="2286000" y="1143000"/>
                      </a:moveTo>
                      <a:cubicBezTo>
                        <a:pt x="2286000" y="1774262"/>
                        <a:pt x="1774262" y="2286000"/>
                        <a:pt x="1143000" y="2286000"/>
                      </a:cubicBezTo>
                      <a:cubicBezTo>
                        <a:pt x="511739" y="2286000"/>
                        <a:pt x="0" y="1774262"/>
                        <a:pt x="0" y="1143000"/>
                      </a:cubicBezTo>
                      <a:cubicBezTo>
                        <a:pt x="0" y="511739"/>
                        <a:pt x="511739" y="0"/>
                        <a:pt x="1143000" y="0"/>
                      </a:cubicBezTo>
                      <a:cubicBezTo>
                        <a:pt x="1774262" y="0"/>
                        <a:pt x="2286000" y="511739"/>
                        <a:pt x="2286000" y="1143000"/>
                      </a:cubicBezTo>
                      <a:close/>
                    </a:path>
                  </a:pathLst>
                </a:custGeom>
                <a:solidFill>
                  <a:srgbClr val="DBDBDB"/>
                </a:solidFill>
                <a:ln>
                  <a:noFill/>
                </a:ln>
                <a:effectLst>
                  <a:outerShdw blurRad="114300" dist="76200" dir="2700000" algn="tl" rotWithShape="0">
                    <a:schemeClr val="dk1">
                      <a:alpha val="4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2429" name="Google Shape;2429;p23"/>
                <p:cNvSpPr/>
                <p:nvPr/>
              </p:nvSpPr>
              <p:spPr>
                <a:xfrm>
                  <a:off x="5165381" y="2921117"/>
                  <a:ext cx="2072145" cy="1650763"/>
                </a:xfrm>
                <a:custGeom>
                  <a:avLst/>
                  <a:gdLst/>
                  <a:ahLst/>
                  <a:cxnLst/>
                  <a:rect l="l" t="t" r="r" b="b"/>
                  <a:pathLst>
                    <a:path w="2072145" h="1650763" extrusionOk="0">
                      <a:moveTo>
                        <a:pt x="0" y="1173794"/>
                      </a:moveTo>
                      <a:cubicBezTo>
                        <a:pt x="367960" y="1686811"/>
                        <a:pt x="1082135" y="1804407"/>
                        <a:pt x="1595152" y="1436456"/>
                      </a:cubicBezTo>
                      <a:cubicBezTo>
                        <a:pt x="2050294" y="1110005"/>
                        <a:pt x="2201875" y="501872"/>
                        <a:pt x="1953187" y="0"/>
                      </a:cubicBezTo>
                      <a:cubicBezTo>
                        <a:pt x="1499349" y="651948"/>
                        <a:pt x="788680" y="1079030"/>
                        <a:pt x="0" y="1173794"/>
                      </a:cubicBezTo>
                      <a:close/>
                    </a:path>
                  </a:pathLst>
                </a:custGeom>
                <a:solidFill>
                  <a:srgbClr val="F2F2F2"/>
                </a:solidFill>
                <a:ln>
                  <a:noFill/>
                </a:ln>
                <a:effectLst>
                  <a:outerShdw blurRad="114300" dist="76200" dir="2700000" algn="tl" rotWithShape="0">
                    <a:schemeClr val="dk1">
                      <a:alpha val="4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pic>
            <p:nvPicPr>
              <p:cNvPr id="2430" name="Google Shape;2430;p23"/>
              <p:cNvPicPr preferRelativeResize="0"/>
              <p:nvPr/>
            </p:nvPicPr>
            <p:blipFill rotWithShape="1">
              <a:blip r:embed="rId5">
                <a:alphaModFix/>
              </a:blip>
              <a:srcRect/>
              <a:stretch/>
            </p:blipFill>
            <p:spPr>
              <a:xfrm>
                <a:off x="907331" y="5150742"/>
                <a:ext cx="282700" cy="282700"/>
              </a:xfrm>
              <a:prstGeom prst="rect">
                <a:avLst/>
              </a:prstGeom>
              <a:noFill/>
              <a:ln>
                <a:noFill/>
              </a:ln>
            </p:spPr>
          </p:pic>
        </p:grpSp>
      </p:grpSp>
      <p:grpSp>
        <p:nvGrpSpPr>
          <p:cNvPr id="2431" name="Google Shape;2431;p23"/>
          <p:cNvGrpSpPr/>
          <p:nvPr/>
        </p:nvGrpSpPr>
        <p:grpSpPr>
          <a:xfrm>
            <a:off x="133249" y="2848042"/>
            <a:ext cx="4071293" cy="3538681"/>
            <a:chOff x="-8096981" y="2957481"/>
            <a:chExt cx="3703493" cy="3218997"/>
          </a:xfrm>
        </p:grpSpPr>
        <p:grpSp>
          <p:nvGrpSpPr>
            <p:cNvPr id="2432" name="Google Shape;2432;p23"/>
            <p:cNvGrpSpPr/>
            <p:nvPr/>
          </p:nvGrpSpPr>
          <p:grpSpPr>
            <a:xfrm>
              <a:off x="-8096981" y="2957481"/>
              <a:ext cx="3703493" cy="3218997"/>
              <a:chOff x="3221491" y="8610476"/>
              <a:chExt cx="7890208" cy="6858000"/>
            </a:xfrm>
          </p:grpSpPr>
          <p:pic>
            <p:nvPicPr>
              <p:cNvPr id="2433" name="Google Shape;2433;p23"/>
              <p:cNvPicPr preferRelativeResize="0"/>
              <p:nvPr/>
            </p:nvPicPr>
            <p:blipFill rotWithShape="1">
              <a:blip r:embed="rId6">
                <a:alphaModFix/>
              </a:blip>
              <a:srcRect/>
              <a:stretch/>
            </p:blipFill>
            <p:spPr>
              <a:xfrm flipH="1">
                <a:off x="3221491" y="8610476"/>
                <a:ext cx="7890208" cy="6858000"/>
              </a:xfrm>
              <a:prstGeom prst="rect">
                <a:avLst/>
              </a:prstGeom>
              <a:noFill/>
              <a:ln>
                <a:noFill/>
              </a:ln>
            </p:spPr>
          </p:pic>
          <p:pic>
            <p:nvPicPr>
              <p:cNvPr id="2434" name="Google Shape;2434;p23"/>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flipH="1">
                <a:off x="3405332" y="8769644"/>
                <a:ext cx="7506053" cy="6520612"/>
              </a:xfrm>
              <a:custGeom>
                <a:avLst/>
                <a:gdLst/>
                <a:ahLst/>
                <a:cxnLst/>
                <a:rect l="l" t="t" r="r" b="b"/>
                <a:pathLst>
                  <a:path w="7506053" h="6520612" extrusionOk="0">
                    <a:moveTo>
                      <a:pt x="1392490" y="5207621"/>
                    </a:moveTo>
                    <a:cubicBezTo>
                      <a:pt x="1397875" y="5207621"/>
                      <a:pt x="1403260" y="5208918"/>
                      <a:pt x="1408204" y="5211511"/>
                    </a:cubicBezTo>
                    <a:lnTo>
                      <a:pt x="1829820" y="5464055"/>
                    </a:lnTo>
                    <a:cubicBezTo>
                      <a:pt x="1839059" y="5470317"/>
                      <a:pt x="1844897" y="5480776"/>
                      <a:pt x="1845536" y="5492236"/>
                    </a:cubicBezTo>
                    <a:lnTo>
                      <a:pt x="1845536" y="5998388"/>
                    </a:lnTo>
                    <a:cubicBezTo>
                      <a:pt x="1844975" y="6009899"/>
                      <a:pt x="1839123" y="6020441"/>
                      <a:pt x="1829820" y="6026701"/>
                    </a:cubicBezTo>
                    <a:lnTo>
                      <a:pt x="1408204" y="6279247"/>
                    </a:lnTo>
                    <a:cubicBezTo>
                      <a:pt x="1398316" y="6284433"/>
                      <a:pt x="1386665" y="6284433"/>
                      <a:pt x="1376775" y="6279247"/>
                    </a:cubicBezTo>
                    <a:lnTo>
                      <a:pt x="955160" y="6026701"/>
                    </a:lnTo>
                    <a:cubicBezTo>
                      <a:pt x="945972" y="6020403"/>
                      <a:pt x="940187" y="6009955"/>
                      <a:pt x="939573" y="5998523"/>
                    </a:cubicBezTo>
                    <a:lnTo>
                      <a:pt x="939573" y="5492236"/>
                    </a:lnTo>
                    <a:cubicBezTo>
                      <a:pt x="940210" y="5480803"/>
                      <a:pt x="945987" y="5470369"/>
                      <a:pt x="955160" y="5464055"/>
                    </a:cubicBezTo>
                    <a:lnTo>
                      <a:pt x="1376775" y="5211511"/>
                    </a:lnTo>
                    <a:cubicBezTo>
                      <a:pt x="1381720" y="5208918"/>
                      <a:pt x="1387105" y="5207621"/>
                      <a:pt x="1392490" y="5207621"/>
                    </a:cubicBezTo>
                    <a:close/>
                    <a:moveTo>
                      <a:pt x="2334100" y="5207621"/>
                    </a:moveTo>
                    <a:cubicBezTo>
                      <a:pt x="2339485" y="5207621"/>
                      <a:pt x="2344870" y="5208918"/>
                      <a:pt x="2349814" y="5211511"/>
                    </a:cubicBezTo>
                    <a:lnTo>
                      <a:pt x="2771431" y="5464055"/>
                    </a:lnTo>
                    <a:cubicBezTo>
                      <a:pt x="2780605" y="5470369"/>
                      <a:pt x="2786379" y="5480818"/>
                      <a:pt x="2787017" y="5492236"/>
                    </a:cubicBezTo>
                    <a:lnTo>
                      <a:pt x="2787017" y="5998388"/>
                    </a:lnTo>
                    <a:cubicBezTo>
                      <a:pt x="2786444" y="6009875"/>
                      <a:pt x="2780655" y="6020375"/>
                      <a:pt x="2771431" y="6026701"/>
                    </a:cubicBezTo>
                    <a:lnTo>
                      <a:pt x="2349814" y="6279247"/>
                    </a:lnTo>
                    <a:cubicBezTo>
                      <a:pt x="2339927" y="6284433"/>
                      <a:pt x="2328274" y="6284433"/>
                      <a:pt x="2318384" y="6279247"/>
                    </a:cubicBezTo>
                    <a:lnTo>
                      <a:pt x="1896768" y="6026701"/>
                    </a:lnTo>
                    <a:cubicBezTo>
                      <a:pt x="1887583" y="6020403"/>
                      <a:pt x="1881795" y="6009955"/>
                      <a:pt x="1881181" y="5998523"/>
                    </a:cubicBezTo>
                    <a:lnTo>
                      <a:pt x="1881181" y="5492236"/>
                    </a:lnTo>
                    <a:cubicBezTo>
                      <a:pt x="1881821" y="5480803"/>
                      <a:pt x="1887595" y="5470369"/>
                      <a:pt x="1896768" y="5464055"/>
                    </a:cubicBezTo>
                    <a:lnTo>
                      <a:pt x="2318384" y="5211511"/>
                    </a:lnTo>
                    <a:cubicBezTo>
                      <a:pt x="2323329" y="5208918"/>
                      <a:pt x="2328715" y="5207621"/>
                      <a:pt x="2334100" y="5207621"/>
                    </a:cubicBezTo>
                    <a:close/>
                    <a:moveTo>
                      <a:pt x="3275966" y="5207621"/>
                    </a:moveTo>
                    <a:cubicBezTo>
                      <a:pt x="3281351" y="5207621"/>
                      <a:pt x="3286735" y="5208918"/>
                      <a:pt x="3291679" y="5211511"/>
                    </a:cubicBezTo>
                    <a:lnTo>
                      <a:pt x="3713295" y="5464055"/>
                    </a:lnTo>
                    <a:cubicBezTo>
                      <a:pt x="3722469" y="5470369"/>
                      <a:pt x="3728246" y="5480818"/>
                      <a:pt x="3728882" y="5492236"/>
                    </a:cubicBezTo>
                    <a:lnTo>
                      <a:pt x="3728882" y="5998388"/>
                    </a:lnTo>
                    <a:cubicBezTo>
                      <a:pt x="3728310" y="6009875"/>
                      <a:pt x="3722521" y="6020375"/>
                      <a:pt x="3713295" y="6026701"/>
                    </a:cubicBezTo>
                    <a:lnTo>
                      <a:pt x="3291679" y="6279247"/>
                    </a:lnTo>
                    <a:cubicBezTo>
                      <a:pt x="3281792" y="6284433"/>
                      <a:pt x="3270140" y="6284433"/>
                      <a:pt x="3260250" y="6279247"/>
                    </a:cubicBezTo>
                    <a:lnTo>
                      <a:pt x="2838634" y="6026701"/>
                    </a:lnTo>
                    <a:cubicBezTo>
                      <a:pt x="2829358" y="6020468"/>
                      <a:pt x="2823520" y="6009994"/>
                      <a:pt x="2822921" y="5998523"/>
                    </a:cubicBezTo>
                    <a:lnTo>
                      <a:pt x="2822921" y="5492236"/>
                    </a:lnTo>
                    <a:cubicBezTo>
                      <a:pt x="2823559" y="5480803"/>
                      <a:pt x="2829332" y="5470369"/>
                      <a:pt x="2838505" y="5464055"/>
                    </a:cubicBezTo>
                    <a:lnTo>
                      <a:pt x="3260250" y="5211511"/>
                    </a:lnTo>
                    <a:cubicBezTo>
                      <a:pt x="3265195" y="5208918"/>
                      <a:pt x="3270581" y="5207621"/>
                      <a:pt x="3275966" y="5207621"/>
                    </a:cubicBezTo>
                    <a:close/>
                    <a:moveTo>
                      <a:pt x="4217575" y="5207621"/>
                    </a:moveTo>
                    <a:cubicBezTo>
                      <a:pt x="4222960" y="5207621"/>
                      <a:pt x="4228346" y="5208918"/>
                      <a:pt x="4233290" y="5211511"/>
                    </a:cubicBezTo>
                    <a:lnTo>
                      <a:pt x="4654906" y="5464055"/>
                    </a:lnTo>
                    <a:cubicBezTo>
                      <a:pt x="4664080" y="5470369"/>
                      <a:pt x="4669853" y="5480818"/>
                      <a:pt x="4670493" y="5492236"/>
                    </a:cubicBezTo>
                    <a:lnTo>
                      <a:pt x="4670493" y="5998388"/>
                    </a:lnTo>
                    <a:cubicBezTo>
                      <a:pt x="4669918" y="6009875"/>
                      <a:pt x="4664132" y="6020375"/>
                      <a:pt x="4654906" y="6026701"/>
                    </a:cubicBezTo>
                    <a:lnTo>
                      <a:pt x="4233290" y="6279247"/>
                    </a:lnTo>
                    <a:cubicBezTo>
                      <a:pt x="4223401" y="6284433"/>
                      <a:pt x="4211749" y="6284433"/>
                      <a:pt x="4201861" y="6279247"/>
                    </a:cubicBezTo>
                    <a:lnTo>
                      <a:pt x="3780245" y="6026701"/>
                    </a:lnTo>
                    <a:cubicBezTo>
                      <a:pt x="3770970" y="6020468"/>
                      <a:pt x="3765128" y="6009994"/>
                      <a:pt x="3764530" y="5998523"/>
                    </a:cubicBezTo>
                    <a:lnTo>
                      <a:pt x="3764530" y="5492236"/>
                    </a:lnTo>
                    <a:cubicBezTo>
                      <a:pt x="3765167" y="5480776"/>
                      <a:pt x="3771008" y="5470317"/>
                      <a:pt x="3780245" y="5464055"/>
                    </a:cubicBezTo>
                    <a:lnTo>
                      <a:pt x="4201861" y="5211511"/>
                    </a:lnTo>
                    <a:cubicBezTo>
                      <a:pt x="4206805" y="5208918"/>
                      <a:pt x="4212190" y="5207621"/>
                      <a:pt x="4217575" y="5207621"/>
                    </a:cubicBezTo>
                    <a:close/>
                    <a:moveTo>
                      <a:pt x="5159121" y="5207621"/>
                    </a:moveTo>
                    <a:cubicBezTo>
                      <a:pt x="5164487" y="5207621"/>
                      <a:pt x="5169853" y="5208918"/>
                      <a:pt x="5174771" y="5211511"/>
                    </a:cubicBezTo>
                    <a:lnTo>
                      <a:pt x="5596389" y="5464055"/>
                    </a:lnTo>
                    <a:cubicBezTo>
                      <a:pt x="5605600" y="5470356"/>
                      <a:pt x="5611428" y="5480791"/>
                      <a:pt x="5612103" y="5492236"/>
                    </a:cubicBezTo>
                    <a:lnTo>
                      <a:pt x="5612103" y="5998388"/>
                    </a:lnTo>
                    <a:cubicBezTo>
                      <a:pt x="5611477" y="6009887"/>
                      <a:pt x="5605650" y="6020389"/>
                      <a:pt x="5596389" y="6026701"/>
                    </a:cubicBezTo>
                    <a:lnTo>
                      <a:pt x="5174771" y="6279247"/>
                    </a:lnTo>
                    <a:cubicBezTo>
                      <a:pt x="5164935" y="6284433"/>
                      <a:pt x="5153307" y="6284433"/>
                      <a:pt x="5143471" y="6279247"/>
                    </a:cubicBezTo>
                    <a:lnTo>
                      <a:pt x="4721853" y="6026701"/>
                    </a:lnTo>
                    <a:cubicBezTo>
                      <a:pt x="4712578" y="6020468"/>
                      <a:pt x="4706739" y="6009994"/>
                      <a:pt x="4706138" y="5998523"/>
                    </a:cubicBezTo>
                    <a:lnTo>
                      <a:pt x="4706138" y="5492236"/>
                    </a:lnTo>
                    <a:cubicBezTo>
                      <a:pt x="4706778" y="5480776"/>
                      <a:pt x="4712617" y="5470317"/>
                      <a:pt x="4721853" y="5464055"/>
                    </a:cubicBezTo>
                    <a:lnTo>
                      <a:pt x="5143471" y="5211511"/>
                    </a:lnTo>
                    <a:cubicBezTo>
                      <a:pt x="5148389" y="5208918"/>
                      <a:pt x="5153755" y="5207621"/>
                      <a:pt x="5159121" y="5207621"/>
                    </a:cubicBezTo>
                    <a:close/>
                    <a:moveTo>
                      <a:pt x="6100348" y="5207621"/>
                    </a:moveTo>
                    <a:cubicBezTo>
                      <a:pt x="6105714" y="5207621"/>
                      <a:pt x="6111080" y="5208918"/>
                      <a:pt x="6115999" y="5211511"/>
                    </a:cubicBezTo>
                    <a:lnTo>
                      <a:pt x="6537615" y="5464055"/>
                    </a:lnTo>
                    <a:cubicBezTo>
                      <a:pt x="6546827" y="5470356"/>
                      <a:pt x="6552653" y="5480791"/>
                      <a:pt x="6553331" y="5492236"/>
                    </a:cubicBezTo>
                    <a:lnTo>
                      <a:pt x="6553331" y="5998388"/>
                    </a:lnTo>
                    <a:cubicBezTo>
                      <a:pt x="6552705" y="6009887"/>
                      <a:pt x="6546879" y="6020389"/>
                      <a:pt x="6537615" y="6026701"/>
                    </a:cubicBezTo>
                    <a:lnTo>
                      <a:pt x="6115999" y="6279247"/>
                    </a:lnTo>
                    <a:cubicBezTo>
                      <a:pt x="6106161" y="6284433"/>
                      <a:pt x="6094536" y="6284433"/>
                      <a:pt x="6084696" y="6279247"/>
                    </a:cubicBezTo>
                    <a:lnTo>
                      <a:pt x="5663080" y="6026701"/>
                    </a:lnTo>
                    <a:cubicBezTo>
                      <a:pt x="5653805" y="6020468"/>
                      <a:pt x="5647966" y="6009994"/>
                      <a:pt x="5647366" y="5998523"/>
                    </a:cubicBezTo>
                    <a:lnTo>
                      <a:pt x="5647366" y="5492236"/>
                    </a:lnTo>
                    <a:cubicBezTo>
                      <a:pt x="5648005" y="5480776"/>
                      <a:pt x="5653842" y="5470317"/>
                      <a:pt x="5663080" y="5464055"/>
                    </a:cubicBezTo>
                    <a:lnTo>
                      <a:pt x="6084696" y="5211511"/>
                    </a:lnTo>
                    <a:cubicBezTo>
                      <a:pt x="6089616" y="5208918"/>
                      <a:pt x="6094982" y="5207621"/>
                      <a:pt x="6100348" y="5207621"/>
                    </a:cubicBezTo>
                    <a:close/>
                    <a:moveTo>
                      <a:pt x="7041957" y="5207621"/>
                    </a:moveTo>
                    <a:cubicBezTo>
                      <a:pt x="7047323" y="5207621"/>
                      <a:pt x="7052689" y="5208918"/>
                      <a:pt x="7057607" y="5211511"/>
                    </a:cubicBezTo>
                    <a:lnTo>
                      <a:pt x="7479226" y="5464055"/>
                    </a:lnTo>
                    <a:cubicBezTo>
                      <a:pt x="7488437" y="5470356"/>
                      <a:pt x="7494263" y="5480791"/>
                      <a:pt x="7494939" y="5492236"/>
                    </a:cubicBezTo>
                    <a:lnTo>
                      <a:pt x="7494939" y="5998388"/>
                    </a:lnTo>
                    <a:cubicBezTo>
                      <a:pt x="7494314" y="6009887"/>
                      <a:pt x="7488488" y="6020389"/>
                      <a:pt x="7479226" y="6026701"/>
                    </a:cubicBezTo>
                    <a:lnTo>
                      <a:pt x="7057607" y="6279247"/>
                    </a:lnTo>
                    <a:cubicBezTo>
                      <a:pt x="7047770" y="6284433"/>
                      <a:pt x="7036144" y="6284433"/>
                      <a:pt x="7026306" y="6279247"/>
                    </a:cubicBezTo>
                    <a:lnTo>
                      <a:pt x="6604692" y="6026701"/>
                    </a:lnTo>
                    <a:cubicBezTo>
                      <a:pt x="6595415" y="6020468"/>
                      <a:pt x="6589576" y="6009994"/>
                      <a:pt x="6588976" y="5998523"/>
                    </a:cubicBezTo>
                    <a:lnTo>
                      <a:pt x="6588976" y="5492236"/>
                    </a:lnTo>
                    <a:cubicBezTo>
                      <a:pt x="6589615" y="5480776"/>
                      <a:pt x="6595453" y="5470317"/>
                      <a:pt x="6604692" y="5464055"/>
                    </a:cubicBezTo>
                    <a:lnTo>
                      <a:pt x="7026306" y="5211511"/>
                    </a:lnTo>
                    <a:cubicBezTo>
                      <a:pt x="7031225" y="5208918"/>
                      <a:pt x="7036591" y="5207621"/>
                      <a:pt x="7041957" y="5207621"/>
                    </a:cubicBezTo>
                    <a:close/>
                    <a:moveTo>
                      <a:pt x="3746770" y="4359235"/>
                    </a:moveTo>
                    <a:cubicBezTo>
                      <a:pt x="3752238" y="4359141"/>
                      <a:pt x="3757643" y="4360457"/>
                      <a:pt x="3762487" y="4363089"/>
                    </a:cubicBezTo>
                    <a:lnTo>
                      <a:pt x="4184101" y="4615635"/>
                    </a:lnTo>
                    <a:cubicBezTo>
                      <a:pt x="4193299" y="4621989"/>
                      <a:pt x="4199075" y="4632476"/>
                      <a:pt x="4199687" y="4643947"/>
                    </a:cubicBezTo>
                    <a:lnTo>
                      <a:pt x="4199687" y="5150103"/>
                    </a:lnTo>
                    <a:cubicBezTo>
                      <a:pt x="4199075" y="5161533"/>
                      <a:pt x="4193288" y="5171979"/>
                      <a:pt x="4184101" y="5178282"/>
                    </a:cubicBezTo>
                    <a:lnTo>
                      <a:pt x="3762487" y="5430825"/>
                    </a:lnTo>
                    <a:cubicBezTo>
                      <a:pt x="3757669" y="5433565"/>
                      <a:pt x="3752251" y="5434933"/>
                      <a:pt x="3746770" y="5434815"/>
                    </a:cubicBezTo>
                    <a:cubicBezTo>
                      <a:pt x="3741289" y="5434922"/>
                      <a:pt x="3735872" y="5433539"/>
                      <a:pt x="3731055" y="5430825"/>
                    </a:cubicBezTo>
                    <a:lnTo>
                      <a:pt x="3309439" y="5178282"/>
                    </a:lnTo>
                    <a:cubicBezTo>
                      <a:pt x="3300151" y="5172059"/>
                      <a:pt x="3294313" y="5161572"/>
                      <a:pt x="3293726" y="5150103"/>
                    </a:cubicBezTo>
                    <a:lnTo>
                      <a:pt x="3293726" y="4643947"/>
                    </a:lnTo>
                    <a:cubicBezTo>
                      <a:pt x="3294324" y="4632449"/>
                      <a:pt x="3300164" y="4621921"/>
                      <a:pt x="3309439" y="4615635"/>
                    </a:cubicBezTo>
                    <a:lnTo>
                      <a:pt x="3731055" y="4363089"/>
                    </a:lnTo>
                    <a:cubicBezTo>
                      <a:pt x="3735910" y="4360485"/>
                      <a:pt x="3741300" y="4359157"/>
                      <a:pt x="3746770" y="4359235"/>
                    </a:cubicBezTo>
                    <a:close/>
                    <a:moveTo>
                      <a:pt x="921685" y="4359203"/>
                    </a:moveTo>
                    <a:cubicBezTo>
                      <a:pt x="927070" y="4359203"/>
                      <a:pt x="932456" y="4360498"/>
                      <a:pt x="937401" y="4363089"/>
                    </a:cubicBezTo>
                    <a:lnTo>
                      <a:pt x="1359017" y="4615635"/>
                    </a:lnTo>
                    <a:cubicBezTo>
                      <a:pt x="1368292" y="4621921"/>
                      <a:pt x="1374131" y="4632449"/>
                      <a:pt x="1374732" y="4643947"/>
                    </a:cubicBezTo>
                    <a:lnTo>
                      <a:pt x="1374732" y="5150103"/>
                    </a:lnTo>
                    <a:cubicBezTo>
                      <a:pt x="1374131" y="5161572"/>
                      <a:pt x="1368292" y="5172046"/>
                      <a:pt x="1359017" y="5178282"/>
                    </a:cubicBezTo>
                    <a:lnTo>
                      <a:pt x="937401" y="5430825"/>
                    </a:lnTo>
                    <a:cubicBezTo>
                      <a:pt x="927511" y="5436011"/>
                      <a:pt x="915858" y="5436011"/>
                      <a:pt x="905969" y="5430825"/>
                    </a:cubicBezTo>
                    <a:lnTo>
                      <a:pt x="484353" y="5178282"/>
                    </a:lnTo>
                    <a:cubicBezTo>
                      <a:pt x="475130" y="5172019"/>
                      <a:pt x="469342" y="5161547"/>
                      <a:pt x="468769" y="5150103"/>
                    </a:cubicBezTo>
                    <a:lnTo>
                      <a:pt x="468769" y="4643947"/>
                    </a:lnTo>
                    <a:cubicBezTo>
                      <a:pt x="469379" y="4632476"/>
                      <a:pt x="475156" y="4621989"/>
                      <a:pt x="484353" y="4615635"/>
                    </a:cubicBezTo>
                    <a:lnTo>
                      <a:pt x="905969" y="4363089"/>
                    </a:lnTo>
                    <a:cubicBezTo>
                      <a:pt x="910914" y="4360498"/>
                      <a:pt x="916299" y="4359203"/>
                      <a:pt x="921685" y="4359203"/>
                    </a:cubicBezTo>
                    <a:close/>
                    <a:moveTo>
                      <a:pt x="1863295" y="4359203"/>
                    </a:moveTo>
                    <a:cubicBezTo>
                      <a:pt x="1868679" y="4359203"/>
                      <a:pt x="1874064" y="4360498"/>
                      <a:pt x="1879009" y="4363089"/>
                    </a:cubicBezTo>
                    <a:lnTo>
                      <a:pt x="2300628" y="4615635"/>
                    </a:lnTo>
                    <a:cubicBezTo>
                      <a:pt x="2309901" y="4621921"/>
                      <a:pt x="2315742" y="4632449"/>
                      <a:pt x="2316341" y="4643947"/>
                    </a:cubicBezTo>
                    <a:lnTo>
                      <a:pt x="2316341" y="5150103"/>
                    </a:lnTo>
                    <a:cubicBezTo>
                      <a:pt x="2315742" y="5161572"/>
                      <a:pt x="2309901" y="5172046"/>
                      <a:pt x="2300628" y="5178282"/>
                    </a:cubicBezTo>
                    <a:lnTo>
                      <a:pt x="1879009" y="5430825"/>
                    </a:lnTo>
                    <a:cubicBezTo>
                      <a:pt x="1869119" y="5436011"/>
                      <a:pt x="1857470" y="5436011"/>
                      <a:pt x="1847580" y="5430825"/>
                    </a:cubicBezTo>
                    <a:lnTo>
                      <a:pt x="1425964" y="5178282"/>
                    </a:lnTo>
                    <a:cubicBezTo>
                      <a:pt x="1416741" y="5172019"/>
                      <a:pt x="1410952" y="5161547"/>
                      <a:pt x="1410377" y="5150103"/>
                    </a:cubicBezTo>
                    <a:lnTo>
                      <a:pt x="1410377" y="4643947"/>
                    </a:lnTo>
                    <a:cubicBezTo>
                      <a:pt x="1410990" y="4632476"/>
                      <a:pt x="1416764" y="4621989"/>
                      <a:pt x="1425964" y="4615635"/>
                    </a:cubicBezTo>
                    <a:lnTo>
                      <a:pt x="1847580" y="4363089"/>
                    </a:lnTo>
                    <a:cubicBezTo>
                      <a:pt x="1852525" y="4360498"/>
                      <a:pt x="1857910" y="4359203"/>
                      <a:pt x="1863295" y="4359203"/>
                    </a:cubicBezTo>
                    <a:close/>
                    <a:moveTo>
                      <a:pt x="2805033" y="4359203"/>
                    </a:moveTo>
                    <a:cubicBezTo>
                      <a:pt x="2810418" y="4359203"/>
                      <a:pt x="2815803" y="4360498"/>
                      <a:pt x="2820747" y="4363089"/>
                    </a:cubicBezTo>
                    <a:lnTo>
                      <a:pt x="3242364" y="4615635"/>
                    </a:lnTo>
                    <a:cubicBezTo>
                      <a:pt x="3251563" y="4621989"/>
                      <a:pt x="3257338" y="4632476"/>
                      <a:pt x="3257952" y="4643947"/>
                    </a:cubicBezTo>
                    <a:lnTo>
                      <a:pt x="3257952" y="5150103"/>
                    </a:lnTo>
                    <a:cubicBezTo>
                      <a:pt x="3257338" y="5161533"/>
                      <a:pt x="3251550" y="5171979"/>
                      <a:pt x="3242364" y="5178282"/>
                    </a:cubicBezTo>
                    <a:lnTo>
                      <a:pt x="2820747" y="5430825"/>
                    </a:lnTo>
                    <a:cubicBezTo>
                      <a:pt x="2810859" y="5436011"/>
                      <a:pt x="2799207" y="5436011"/>
                      <a:pt x="2789318" y="5430825"/>
                    </a:cubicBezTo>
                    <a:lnTo>
                      <a:pt x="2367702" y="5178282"/>
                    </a:lnTo>
                    <a:cubicBezTo>
                      <a:pt x="2358414" y="5172059"/>
                      <a:pt x="2352573" y="5161572"/>
                      <a:pt x="2351986" y="5150103"/>
                    </a:cubicBezTo>
                    <a:lnTo>
                      <a:pt x="2352114" y="4643947"/>
                    </a:lnTo>
                    <a:cubicBezTo>
                      <a:pt x="2352728" y="4632476"/>
                      <a:pt x="2358502" y="4621989"/>
                      <a:pt x="2367702" y="4615635"/>
                    </a:cubicBezTo>
                    <a:lnTo>
                      <a:pt x="2789318" y="4363089"/>
                    </a:lnTo>
                    <a:cubicBezTo>
                      <a:pt x="2794263" y="4360498"/>
                      <a:pt x="2799648" y="4359203"/>
                      <a:pt x="2805033" y="4359203"/>
                    </a:cubicBezTo>
                    <a:close/>
                    <a:moveTo>
                      <a:pt x="4688253" y="4359203"/>
                    </a:moveTo>
                    <a:cubicBezTo>
                      <a:pt x="4693638" y="4359203"/>
                      <a:pt x="4699022" y="4360498"/>
                      <a:pt x="4703966" y="4363089"/>
                    </a:cubicBezTo>
                    <a:lnTo>
                      <a:pt x="5125586" y="4615635"/>
                    </a:lnTo>
                    <a:cubicBezTo>
                      <a:pt x="5134808" y="4621974"/>
                      <a:pt x="5140635" y="4632463"/>
                      <a:pt x="5141299" y="4643947"/>
                    </a:cubicBezTo>
                    <a:lnTo>
                      <a:pt x="5141299" y="5150103"/>
                    </a:lnTo>
                    <a:cubicBezTo>
                      <a:pt x="5140635" y="5161547"/>
                      <a:pt x="5134808" y="5171995"/>
                      <a:pt x="5125586" y="5178282"/>
                    </a:cubicBezTo>
                    <a:lnTo>
                      <a:pt x="4703966" y="5430825"/>
                    </a:lnTo>
                    <a:cubicBezTo>
                      <a:pt x="4694129" y="5436011"/>
                      <a:pt x="4682502" y="5436011"/>
                      <a:pt x="4672666" y="5430825"/>
                    </a:cubicBezTo>
                    <a:lnTo>
                      <a:pt x="4251050" y="5178282"/>
                    </a:lnTo>
                    <a:cubicBezTo>
                      <a:pt x="4241759" y="5172059"/>
                      <a:pt x="4235921" y="5161572"/>
                      <a:pt x="4235334" y="5150103"/>
                    </a:cubicBezTo>
                    <a:lnTo>
                      <a:pt x="4235205" y="4643947"/>
                    </a:lnTo>
                    <a:cubicBezTo>
                      <a:pt x="4235807" y="4632449"/>
                      <a:pt x="4241645" y="4621921"/>
                      <a:pt x="4250921" y="4615635"/>
                    </a:cubicBezTo>
                    <a:lnTo>
                      <a:pt x="4672537" y="4363089"/>
                    </a:lnTo>
                    <a:cubicBezTo>
                      <a:pt x="4677482" y="4360498"/>
                      <a:pt x="4682867" y="4359203"/>
                      <a:pt x="4688253" y="4359203"/>
                    </a:cubicBezTo>
                    <a:close/>
                    <a:moveTo>
                      <a:pt x="5629479" y="4359203"/>
                    </a:moveTo>
                    <a:cubicBezTo>
                      <a:pt x="5634865" y="4359203"/>
                      <a:pt x="5640250" y="4360498"/>
                      <a:pt x="5645194" y="4363089"/>
                    </a:cubicBezTo>
                    <a:lnTo>
                      <a:pt x="6066810" y="4615635"/>
                    </a:lnTo>
                    <a:cubicBezTo>
                      <a:pt x="6076034" y="4621974"/>
                      <a:pt x="6081861" y="4632463"/>
                      <a:pt x="6082525" y="4643947"/>
                    </a:cubicBezTo>
                    <a:lnTo>
                      <a:pt x="6082525" y="5150103"/>
                    </a:lnTo>
                    <a:cubicBezTo>
                      <a:pt x="6081861" y="5161547"/>
                      <a:pt x="6076034" y="5171995"/>
                      <a:pt x="6066810" y="5178282"/>
                    </a:cubicBezTo>
                    <a:lnTo>
                      <a:pt x="5645194" y="5430825"/>
                    </a:lnTo>
                    <a:cubicBezTo>
                      <a:pt x="5635356" y="5436011"/>
                      <a:pt x="5623729" y="5436011"/>
                      <a:pt x="5613891" y="5430825"/>
                    </a:cubicBezTo>
                    <a:lnTo>
                      <a:pt x="5192276" y="5178282"/>
                    </a:lnTo>
                    <a:cubicBezTo>
                      <a:pt x="5182988" y="5172059"/>
                      <a:pt x="5177149" y="5161572"/>
                      <a:pt x="5176560" y="5150103"/>
                    </a:cubicBezTo>
                    <a:lnTo>
                      <a:pt x="5176434" y="4643947"/>
                    </a:lnTo>
                    <a:cubicBezTo>
                      <a:pt x="5177033" y="4632449"/>
                      <a:pt x="5182871" y="4621921"/>
                      <a:pt x="5192147" y="4615635"/>
                    </a:cubicBezTo>
                    <a:lnTo>
                      <a:pt x="5613763" y="4363089"/>
                    </a:lnTo>
                    <a:cubicBezTo>
                      <a:pt x="5618708" y="4360498"/>
                      <a:pt x="5624094" y="4359203"/>
                      <a:pt x="5629479" y="4359203"/>
                    </a:cubicBezTo>
                    <a:close/>
                    <a:moveTo>
                      <a:pt x="6571154" y="4359203"/>
                    </a:moveTo>
                    <a:cubicBezTo>
                      <a:pt x="6576519" y="4359203"/>
                      <a:pt x="6581885" y="4360498"/>
                      <a:pt x="6586804" y="4363089"/>
                    </a:cubicBezTo>
                    <a:lnTo>
                      <a:pt x="7008419" y="4615635"/>
                    </a:lnTo>
                    <a:cubicBezTo>
                      <a:pt x="7017645" y="4621974"/>
                      <a:pt x="7023471" y="4632463"/>
                      <a:pt x="7024134" y="4643947"/>
                    </a:cubicBezTo>
                    <a:lnTo>
                      <a:pt x="7024134" y="5150103"/>
                    </a:lnTo>
                    <a:cubicBezTo>
                      <a:pt x="7023471" y="5161547"/>
                      <a:pt x="7017645" y="5171995"/>
                      <a:pt x="7008419" y="5178282"/>
                    </a:cubicBezTo>
                    <a:lnTo>
                      <a:pt x="6586804" y="5430825"/>
                    </a:lnTo>
                    <a:cubicBezTo>
                      <a:pt x="6576967" y="5436011"/>
                      <a:pt x="6565341" y="5436011"/>
                      <a:pt x="6555503" y="5430825"/>
                    </a:cubicBezTo>
                    <a:lnTo>
                      <a:pt x="6133885" y="5178282"/>
                    </a:lnTo>
                    <a:cubicBezTo>
                      <a:pt x="6124597" y="5172059"/>
                      <a:pt x="6118758" y="5161572"/>
                      <a:pt x="6118171" y="5150103"/>
                    </a:cubicBezTo>
                    <a:lnTo>
                      <a:pt x="6118171" y="4643947"/>
                    </a:lnTo>
                    <a:cubicBezTo>
                      <a:pt x="6118771" y="4632449"/>
                      <a:pt x="6124611" y="4621921"/>
                      <a:pt x="6133885" y="4615635"/>
                    </a:cubicBezTo>
                    <a:lnTo>
                      <a:pt x="6555503" y="4363089"/>
                    </a:lnTo>
                    <a:cubicBezTo>
                      <a:pt x="6560422" y="4360498"/>
                      <a:pt x="6565788" y="4359203"/>
                      <a:pt x="6571154" y="4359203"/>
                    </a:cubicBezTo>
                    <a:close/>
                    <a:moveTo>
                      <a:pt x="1392746" y="3510914"/>
                    </a:moveTo>
                    <a:cubicBezTo>
                      <a:pt x="1398131" y="3510914"/>
                      <a:pt x="1403516" y="3512209"/>
                      <a:pt x="1408459" y="3514800"/>
                    </a:cubicBezTo>
                    <a:lnTo>
                      <a:pt x="1830078" y="3767347"/>
                    </a:lnTo>
                    <a:cubicBezTo>
                      <a:pt x="1839353" y="3773583"/>
                      <a:pt x="1845192" y="3784055"/>
                      <a:pt x="1845791" y="3795525"/>
                    </a:cubicBezTo>
                    <a:lnTo>
                      <a:pt x="1845791" y="4301681"/>
                    </a:lnTo>
                    <a:cubicBezTo>
                      <a:pt x="1845192" y="4313177"/>
                      <a:pt x="1839353" y="4323706"/>
                      <a:pt x="1830078" y="4329992"/>
                    </a:cubicBezTo>
                    <a:lnTo>
                      <a:pt x="1408459" y="4582540"/>
                    </a:lnTo>
                    <a:cubicBezTo>
                      <a:pt x="1398572" y="4587722"/>
                      <a:pt x="1386920" y="4587722"/>
                      <a:pt x="1377031" y="4582540"/>
                    </a:cubicBezTo>
                    <a:lnTo>
                      <a:pt x="955415" y="4329992"/>
                    </a:lnTo>
                    <a:cubicBezTo>
                      <a:pt x="946215" y="4323639"/>
                      <a:pt x="940441" y="4313153"/>
                      <a:pt x="939828" y="4301681"/>
                    </a:cubicBezTo>
                    <a:lnTo>
                      <a:pt x="939828" y="3795525"/>
                    </a:lnTo>
                    <a:cubicBezTo>
                      <a:pt x="940441" y="3784097"/>
                      <a:pt x="946229" y="3773646"/>
                      <a:pt x="955415" y="3767347"/>
                    </a:cubicBezTo>
                    <a:lnTo>
                      <a:pt x="1377031" y="3514800"/>
                    </a:lnTo>
                    <a:cubicBezTo>
                      <a:pt x="1381975" y="3512209"/>
                      <a:pt x="1387361" y="3510914"/>
                      <a:pt x="1392746" y="3510914"/>
                    </a:cubicBezTo>
                    <a:close/>
                    <a:moveTo>
                      <a:pt x="2334355" y="3510914"/>
                    </a:moveTo>
                    <a:cubicBezTo>
                      <a:pt x="2339740" y="3510914"/>
                      <a:pt x="2345126" y="3512209"/>
                      <a:pt x="2350070" y="3514800"/>
                    </a:cubicBezTo>
                    <a:lnTo>
                      <a:pt x="2771686" y="3767347"/>
                    </a:lnTo>
                    <a:cubicBezTo>
                      <a:pt x="2780872" y="3773646"/>
                      <a:pt x="2786660" y="3784097"/>
                      <a:pt x="2787273" y="3795525"/>
                    </a:cubicBezTo>
                    <a:lnTo>
                      <a:pt x="2787273" y="4301681"/>
                    </a:lnTo>
                    <a:cubicBezTo>
                      <a:pt x="2786660" y="4313153"/>
                      <a:pt x="2780886" y="4323639"/>
                      <a:pt x="2771686" y="4329992"/>
                    </a:cubicBezTo>
                    <a:lnTo>
                      <a:pt x="2350070" y="4582540"/>
                    </a:lnTo>
                    <a:cubicBezTo>
                      <a:pt x="2340181" y="4587722"/>
                      <a:pt x="2328529" y="4587722"/>
                      <a:pt x="2318641" y="4582540"/>
                    </a:cubicBezTo>
                    <a:lnTo>
                      <a:pt x="1897023" y="4329992"/>
                    </a:lnTo>
                    <a:cubicBezTo>
                      <a:pt x="1887825" y="4323639"/>
                      <a:pt x="1882049" y="4313153"/>
                      <a:pt x="1881439" y="4301681"/>
                    </a:cubicBezTo>
                    <a:lnTo>
                      <a:pt x="1881439" y="3795525"/>
                    </a:lnTo>
                    <a:cubicBezTo>
                      <a:pt x="1882049" y="3784097"/>
                      <a:pt x="1887838" y="3773646"/>
                      <a:pt x="1897023" y="3767347"/>
                    </a:cubicBezTo>
                    <a:lnTo>
                      <a:pt x="2318641" y="3514800"/>
                    </a:lnTo>
                    <a:cubicBezTo>
                      <a:pt x="2323585" y="3512209"/>
                      <a:pt x="2328970" y="3510914"/>
                      <a:pt x="2334355" y="3510914"/>
                    </a:cubicBezTo>
                    <a:close/>
                    <a:moveTo>
                      <a:pt x="3275966" y="3510914"/>
                    </a:moveTo>
                    <a:cubicBezTo>
                      <a:pt x="3281351" y="3510914"/>
                      <a:pt x="3286735" y="3512209"/>
                      <a:pt x="3291679" y="3514800"/>
                    </a:cubicBezTo>
                    <a:lnTo>
                      <a:pt x="3713295" y="3767347"/>
                    </a:lnTo>
                    <a:cubicBezTo>
                      <a:pt x="3722483" y="3773646"/>
                      <a:pt x="3728272" y="3784097"/>
                      <a:pt x="3728882" y="3795525"/>
                    </a:cubicBezTo>
                    <a:lnTo>
                      <a:pt x="3728882" y="4301681"/>
                    </a:lnTo>
                    <a:cubicBezTo>
                      <a:pt x="3728272" y="4313153"/>
                      <a:pt x="3722495" y="4323639"/>
                      <a:pt x="3713295" y="4329992"/>
                    </a:cubicBezTo>
                    <a:lnTo>
                      <a:pt x="3291679" y="4582540"/>
                    </a:lnTo>
                    <a:cubicBezTo>
                      <a:pt x="3281792" y="4587722"/>
                      <a:pt x="3270140" y="4587722"/>
                      <a:pt x="3260250" y="4582540"/>
                    </a:cubicBezTo>
                    <a:lnTo>
                      <a:pt x="2838634" y="4329992"/>
                    </a:lnTo>
                    <a:cubicBezTo>
                      <a:pt x="2829358" y="4323706"/>
                      <a:pt x="2823520" y="4313177"/>
                      <a:pt x="2822921" y="4301681"/>
                    </a:cubicBezTo>
                    <a:lnTo>
                      <a:pt x="2822921" y="3795525"/>
                    </a:lnTo>
                    <a:cubicBezTo>
                      <a:pt x="2823533" y="3784097"/>
                      <a:pt x="2829320" y="3773646"/>
                      <a:pt x="2838505" y="3767347"/>
                    </a:cubicBezTo>
                    <a:lnTo>
                      <a:pt x="3260250" y="3514800"/>
                    </a:lnTo>
                    <a:cubicBezTo>
                      <a:pt x="3265195" y="3512209"/>
                      <a:pt x="3270581" y="3510914"/>
                      <a:pt x="3275966" y="3510914"/>
                    </a:cubicBezTo>
                    <a:close/>
                    <a:moveTo>
                      <a:pt x="4217575" y="3510914"/>
                    </a:moveTo>
                    <a:cubicBezTo>
                      <a:pt x="4222960" y="3510914"/>
                      <a:pt x="4228346" y="3512209"/>
                      <a:pt x="4233290" y="3514800"/>
                    </a:cubicBezTo>
                    <a:lnTo>
                      <a:pt x="4654906" y="3767347"/>
                    </a:lnTo>
                    <a:cubicBezTo>
                      <a:pt x="4664144" y="3773595"/>
                      <a:pt x="4669944" y="3784081"/>
                      <a:pt x="4670493" y="3795525"/>
                    </a:cubicBezTo>
                    <a:lnTo>
                      <a:pt x="4670493" y="4301681"/>
                    </a:lnTo>
                    <a:cubicBezTo>
                      <a:pt x="4669944" y="4313165"/>
                      <a:pt x="4664144" y="4323678"/>
                      <a:pt x="4654906" y="4329992"/>
                    </a:cubicBezTo>
                    <a:lnTo>
                      <a:pt x="4233290" y="4582540"/>
                    </a:lnTo>
                    <a:cubicBezTo>
                      <a:pt x="4223401" y="4587722"/>
                      <a:pt x="4211749" y="4587722"/>
                      <a:pt x="4201861" y="4582540"/>
                    </a:cubicBezTo>
                    <a:lnTo>
                      <a:pt x="3780245" y="4329992"/>
                    </a:lnTo>
                    <a:cubicBezTo>
                      <a:pt x="3770970" y="4323706"/>
                      <a:pt x="3765128" y="4313177"/>
                      <a:pt x="3764530" y="4301681"/>
                    </a:cubicBezTo>
                    <a:lnTo>
                      <a:pt x="3764530" y="3795525"/>
                    </a:lnTo>
                    <a:cubicBezTo>
                      <a:pt x="3765128" y="3784055"/>
                      <a:pt x="3770970" y="3773583"/>
                      <a:pt x="3780245" y="3767347"/>
                    </a:cubicBezTo>
                    <a:lnTo>
                      <a:pt x="4201861" y="3514800"/>
                    </a:lnTo>
                    <a:cubicBezTo>
                      <a:pt x="4206805" y="3512209"/>
                      <a:pt x="4212190" y="3510914"/>
                      <a:pt x="4217575" y="3510914"/>
                    </a:cubicBezTo>
                    <a:close/>
                    <a:moveTo>
                      <a:pt x="5159121" y="3510914"/>
                    </a:moveTo>
                    <a:cubicBezTo>
                      <a:pt x="5164487" y="3510914"/>
                      <a:pt x="5169853" y="3512209"/>
                      <a:pt x="5174771" y="3514800"/>
                    </a:cubicBezTo>
                    <a:lnTo>
                      <a:pt x="5596389" y="3767347"/>
                    </a:lnTo>
                    <a:cubicBezTo>
                      <a:pt x="5605613" y="3773634"/>
                      <a:pt x="5611439" y="3784081"/>
                      <a:pt x="5612103" y="3795525"/>
                    </a:cubicBezTo>
                    <a:lnTo>
                      <a:pt x="5612103" y="4301681"/>
                    </a:lnTo>
                    <a:cubicBezTo>
                      <a:pt x="5611439" y="4313165"/>
                      <a:pt x="5605613" y="4323651"/>
                      <a:pt x="5596389" y="4329992"/>
                    </a:cubicBezTo>
                    <a:lnTo>
                      <a:pt x="5174771" y="4582540"/>
                    </a:lnTo>
                    <a:cubicBezTo>
                      <a:pt x="5164935" y="4587722"/>
                      <a:pt x="5153307" y="4587722"/>
                      <a:pt x="5143471" y="4582540"/>
                    </a:cubicBezTo>
                    <a:lnTo>
                      <a:pt x="4721853" y="4329992"/>
                    </a:lnTo>
                    <a:cubicBezTo>
                      <a:pt x="4712578" y="4323706"/>
                      <a:pt x="4706739" y="4313177"/>
                      <a:pt x="4706138" y="4301681"/>
                    </a:cubicBezTo>
                    <a:lnTo>
                      <a:pt x="4706138" y="3795525"/>
                    </a:lnTo>
                    <a:cubicBezTo>
                      <a:pt x="4706739" y="3784055"/>
                      <a:pt x="4712578" y="3773583"/>
                      <a:pt x="4721853" y="3767347"/>
                    </a:cubicBezTo>
                    <a:lnTo>
                      <a:pt x="5143471" y="3514800"/>
                    </a:lnTo>
                    <a:cubicBezTo>
                      <a:pt x="5148389" y="3512209"/>
                      <a:pt x="5153755" y="3510914"/>
                      <a:pt x="5159121" y="3510914"/>
                    </a:cubicBezTo>
                    <a:close/>
                    <a:moveTo>
                      <a:pt x="6100348" y="3510914"/>
                    </a:moveTo>
                    <a:cubicBezTo>
                      <a:pt x="6105714" y="3510914"/>
                      <a:pt x="6111080" y="3512209"/>
                      <a:pt x="6115999" y="3514800"/>
                    </a:cubicBezTo>
                    <a:lnTo>
                      <a:pt x="6537615" y="3767347"/>
                    </a:lnTo>
                    <a:cubicBezTo>
                      <a:pt x="6546841" y="3773634"/>
                      <a:pt x="6552665" y="3784081"/>
                      <a:pt x="6553331" y="3795525"/>
                    </a:cubicBezTo>
                    <a:lnTo>
                      <a:pt x="6553331" y="4301681"/>
                    </a:lnTo>
                    <a:cubicBezTo>
                      <a:pt x="6552665" y="4313165"/>
                      <a:pt x="6546841" y="4323651"/>
                      <a:pt x="6537615" y="4329992"/>
                    </a:cubicBezTo>
                    <a:lnTo>
                      <a:pt x="6115999" y="4582540"/>
                    </a:lnTo>
                    <a:cubicBezTo>
                      <a:pt x="6106161" y="4587722"/>
                      <a:pt x="6094536" y="4587722"/>
                      <a:pt x="6084696" y="4582540"/>
                    </a:cubicBezTo>
                    <a:lnTo>
                      <a:pt x="5663080" y="4329992"/>
                    </a:lnTo>
                    <a:cubicBezTo>
                      <a:pt x="5653805" y="4323706"/>
                      <a:pt x="5647966" y="4313177"/>
                      <a:pt x="5647366" y="4301681"/>
                    </a:cubicBezTo>
                    <a:lnTo>
                      <a:pt x="5647366" y="3795525"/>
                    </a:lnTo>
                    <a:cubicBezTo>
                      <a:pt x="5647966" y="3784055"/>
                      <a:pt x="5653805" y="3773583"/>
                      <a:pt x="5663080" y="3767347"/>
                    </a:cubicBezTo>
                    <a:lnTo>
                      <a:pt x="6084696" y="3514800"/>
                    </a:lnTo>
                    <a:cubicBezTo>
                      <a:pt x="6089616" y="3512209"/>
                      <a:pt x="6094982" y="3510914"/>
                      <a:pt x="6100348" y="3510914"/>
                    </a:cubicBezTo>
                    <a:close/>
                    <a:moveTo>
                      <a:pt x="7041957" y="3510914"/>
                    </a:moveTo>
                    <a:cubicBezTo>
                      <a:pt x="7047323" y="3510914"/>
                      <a:pt x="7052689" y="3512209"/>
                      <a:pt x="7057607" y="3514800"/>
                    </a:cubicBezTo>
                    <a:lnTo>
                      <a:pt x="7479226" y="3767347"/>
                    </a:lnTo>
                    <a:cubicBezTo>
                      <a:pt x="7488450" y="3773634"/>
                      <a:pt x="7494276" y="3784081"/>
                      <a:pt x="7494939" y="3795525"/>
                    </a:cubicBezTo>
                    <a:lnTo>
                      <a:pt x="7494939" y="4301681"/>
                    </a:lnTo>
                    <a:cubicBezTo>
                      <a:pt x="7494276" y="4313165"/>
                      <a:pt x="7488450" y="4323651"/>
                      <a:pt x="7479226" y="4329992"/>
                    </a:cubicBezTo>
                    <a:lnTo>
                      <a:pt x="7057607" y="4582540"/>
                    </a:lnTo>
                    <a:cubicBezTo>
                      <a:pt x="7047770" y="4587722"/>
                      <a:pt x="7036144" y="4587722"/>
                      <a:pt x="7026306" y="4582540"/>
                    </a:cubicBezTo>
                    <a:lnTo>
                      <a:pt x="6604692" y="4329992"/>
                    </a:lnTo>
                    <a:cubicBezTo>
                      <a:pt x="6595415" y="4323706"/>
                      <a:pt x="6589576" y="4313177"/>
                      <a:pt x="6588976" y="4301681"/>
                    </a:cubicBezTo>
                    <a:lnTo>
                      <a:pt x="6588976" y="3795525"/>
                    </a:lnTo>
                    <a:cubicBezTo>
                      <a:pt x="6589576" y="3784055"/>
                      <a:pt x="6595415" y="3773583"/>
                      <a:pt x="6604692" y="3767347"/>
                    </a:cubicBezTo>
                    <a:lnTo>
                      <a:pt x="7026306" y="3514800"/>
                    </a:lnTo>
                    <a:cubicBezTo>
                      <a:pt x="7031225" y="3512209"/>
                      <a:pt x="7036591" y="3510914"/>
                      <a:pt x="7041957" y="3510914"/>
                    </a:cubicBezTo>
                    <a:close/>
                    <a:moveTo>
                      <a:pt x="3746770" y="2662525"/>
                    </a:moveTo>
                    <a:cubicBezTo>
                      <a:pt x="3752238" y="2662366"/>
                      <a:pt x="3757656" y="2663696"/>
                      <a:pt x="3762487" y="2666381"/>
                    </a:cubicBezTo>
                    <a:lnTo>
                      <a:pt x="4184101" y="2918925"/>
                    </a:lnTo>
                    <a:cubicBezTo>
                      <a:pt x="4193299" y="2925279"/>
                      <a:pt x="4199075" y="2935768"/>
                      <a:pt x="4199687" y="2947237"/>
                    </a:cubicBezTo>
                    <a:lnTo>
                      <a:pt x="4199687" y="3453391"/>
                    </a:lnTo>
                    <a:cubicBezTo>
                      <a:pt x="4199049" y="3464809"/>
                      <a:pt x="4193275" y="3475257"/>
                      <a:pt x="4184101" y="3481571"/>
                    </a:cubicBezTo>
                    <a:lnTo>
                      <a:pt x="3762487" y="3734119"/>
                    </a:lnTo>
                    <a:cubicBezTo>
                      <a:pt x="3757656" y="3736803"/>
                      <a:pt x="3752238" y="3738132"/>
                      <a:pt x="3746770" y="3737972"/>
                    </a:cubicBezTo>
                    <a:cubicBezTo>
                      <a:pt x="3741300" y="3738117"/>
                      <a:pt x="3735884" y="3736787"/>
                      <a:pt x="3731055" y="3734119"/>
                    </a:cubicBezTo>
                    <a:lnTo>
                      <a:pt x="3309439" y="3481571"/>
                    </a:lnTo>
                    <a:cubicBezTo>
                      <a:pt x="3300203" y="3475311"/>
                      <a:pt x="3294362" y="3464851"/>
                      <a:pt x="3293726" y="3453391"/>
                    </a:cubicBezTo>
                    <a:lnTo>
                      <a:pt x="3293726" y="2947237"/>
                    </a:lnTo>
                    <a:cubicBezTo>
                      <a:pt x="3294324" y="2935740"/>
                      <a:pt x="3300164" y="2925211"/>
                      <a:pt x="3309439" y="2918925"/>
                    </a:cubicBezTo>
                    <a:lnTo>
                      <a:pt x="3731055" y="2666381"/>
                    </a:lnTo>
                    <a:cubicBezTo>
                      <a:pt x="3735884" y="2663707"/>
                      <a:pt x="3741300" y="2662379"/>
                      <a:pt x="3746770" y="2662525"/>
                    </a:cubicBezTo>
                    <a:close/>
                    <a:moveTo>
                      <a:pt x="921940" y="2662492"/>
                    </a:moveTo>
                    <a:cubicBezTo>
                      <a:pt x="927325" y="2662492"/>
                      <a:pt x="932710" y="2663788"/>
                      <a:pt x="937655" y="2666381"/>
                    </a:cubicBezTo>
                    <a:lnTo>
                      <a:pt x="1359270" y="2918925"/>
                    </a:lnTo>
                    <a:cubicBezTo>
                      <a:pt x="1368546" y="2925211"/>
                      <a:pt x="1374387" y="2935740"/>
                      <a:pt x="1374986" y="2947237"/>
                    </a:cubicBezTo>
                    <a:lnTo>
                      <a:pt x="1374986" y="3453391"/>
                    </a:lnTo>
                    <a:cubicBezTo>
                      <a:pt x="1374348" y="3464851"/>
                      <a:pt x="1368509" y="3475311"/>
                      <a:pt x="1359270" y="3481571"/>
                    </a:cubicBezTo>
                    <a:lnTo>
                      <a:pt x="937655" y="3734119"/>
                    </a:lnTo>
                    <a:cubicBezTo>
                      <a:pt x="927766" y="3739301"/>
                      <a:pt x="916115" y="3739301"/>
                      <a:pt x="906226" y="3734119"/>
                    </a:cubicBezTo>
                    <a:lnTo>
                      <a:pt x="484610" y="3481571"/>
                    </a:lnTo>
                    <a:cubicBezTo>
                      <a:pt x="475437" y="3475257"/>
                      <a:pt x="469663" y="3464809"/>
                      <a:pt x="469023" y="3453391"/>
                    </a:cubicBezTo>
                    <a:lnTo>
                      <a:pt x="469023" y="2947237"/>
                    </a:lnTo>
                    <a:cubicBezTo>
                      <a:pt x="469637" y="2935768"/>
                      <a:pt x="475411" y="2925279"/>
                      <a:pt x="484610" y="2918925"/>
                    </a:cubicBezTo>
                    <a:lnTo>
                      <a:pt x="906226" y="2666381"/>
                    </a:lnTo>
                    <a:cubicBezTo>
                      <a:pt x="911170" y="2663788"/>
                      <a:pt x="916555" y="2662492"/>
                      <a:pt x="921940" y="2662492"/>
                    </a:cubicBezTo>
                    <a:close/>
                    <a:moveTo>
                      <a:pt x="1863551" y="2662492"/>
                    </a:moveTo>
                    <a:cubicBezTo>
                      <a:pt x="1868936" y="2662492"/>
                      <a:pt x="1874321" y="2663788"/>
                      <a:pt x="1879266" y="2666381"/>
                    </a:cubicBezTo>
                    <a:lnTo>
                      <a:pt x="2300881" y="2918925"/>
                    </a:lnTo>
                    <a:cubicBezTo>
                      <a:pt x="2310158" y="2925211"/>
                      <a:pt x="2315995" y="2935740"/>
                      <a:pt x="2316598" y="2947237"/>
                    </a:cubicBezTo>
                    <a:lnTo>
                      <a:pt x="2316598" y="3453391"/>
                    </a:lnTo>
                    <a:cubicBezTo>
                      <a:pt x="2315958" y="3464851"/>
                      <a:pt x="2310120" y="3475311"/>
                      <a:pt x="2300881" y="3481571"/>
                    </a:cubicBezTo>
                    <a:lnTo>
                      <a:pt x="1879266" y="3734119"/>
                    </a:lnTo>
                    <a:cubicBezTo>
                      <a:pt x="1869377" y="3739301"/>
                      <a:pt x="1857724" y="3739301"/>
                      <a:pt x="1847837" y="3734119"/>
                    </a:cubicBezTo>
                    <a:lnTo>
                      <a:pt x="1426218" y="3481571"/>
                    </a:lnTo>
                    <a:cubicBezTo>
                      <a:pt x="1417045" y="3475257"/>
                      <a:pt x="1411271" y="3464809"/>
                      <a:pt x="1410631" y="3453391"/>
                    </a:cubicBezTo>
                    <a:lnTo>
                      <a:pt x="1410631" y="2947237"/>
                    </a:lnTo>
                    <a:cubicBezTo>
                      <a:pt x="1411245" y="2935768"/>
                      <a:pt x="1417022" y="2925279"/>
                      <a:pt x="1426218" y="2918925"/>
                    </a:cubicBezTo>
                    <a:lnTo>
                      <a:pt x="1847837" y="2666381"/>
                    </a:lnTo>
                    <a:cubicBezTo>
                      <a:pt x="1852781" y="2663788"/>
                      <a:pt x="1858166" y="2662492"/>
                      <a:pt x="1863551" y="2662492"/>
                    </a:cubicBezTo>
                    <a:close/>
                    <a:moveTo>
                      <a:pt x="2805288" y="2662492"/>
                    </a:moveTo>
                    <a:cubicBezTo>
                      <a:pt x="2810673" y="2662492"/>
                      <a:pt x="2816059" y="2663788"/>
                      <a:pt x="2821003" y="2666381"/>
                    </a:cubicBezTo>
                    <a:lnTo>
                      <a:pt x="3242619" y="2918925"/>
                    </a:lnTo>
                    <a:cubicBezTo>
                      <a:pt x="3251819" y="2925279"/>
                      <a:pt x="3257592" y="2935768"/>
                      <a:pt x="3258206" y="2947237"/>
                    </a:cubicBezTo>
                    <a:lnTo>
                      <a:pt x="3258206" y="3453391"/>
                    </a:lnTo>
                    <a:cubicBezTo>
                      <a:pt x="3257566" y="3464809"/>
                      <a:pt x="3251793" y="3475257"/>
                      <a:pt x="3242619" y="3481571"/>
                    </a:cubicBezTo>
                    <a:lnTo>
                      <a:pt x="2821003" y="3734119"/>
                    </a:lnTo>
                    <a:cubicBezTo>
                      <a:pt x="2811114" y="3739301"/>
                      <a:pt x="2799461" y="3739301"/>
                      <a:pt x="2789574" y="3734119"/>
                    </a:cubicBezTo>
                    <a:lnTo>
                      <a:pt x="2367956" y="3481571"/>
                    </a:lnTo>
                    <a:cubicBezTo>
                      <a:pt x="2358721" y="3475311"/>
                      <a:pt x="2352880" y="3464851"/>
                      <a:pt x="2352242" y="3453391"/>
                    </a:cubicBezTo>
                    <a:lnTo>
                      <a:pt x="2352371" y="2947237"/>
                    </a:lnTo>
                    <a:cubicBezTo>
                      <a:pt x="2352983" y="2935768"/>
                      <a:pt x="2358759" y="2925279"/>
                      <a:pt x="2367956" y="2918925"/>
                    </a:cubicBezTo>
                    <a:lnTo>
                      <a:pt x="2789574" y="2666381"/>
                    </a:lnTo>
                    <a:cubicBezTo>
                      <a:pt x="2794518" y="2663788"/>
                      <a:pt x="2799903" y="2662492"/>
                      <a:pt x="2805288" y="2662492"/>
                    </a:cubicBezTo>
                    <a:close/>
                    <a:moveTo>
                      <a:pt x="4688253" y="2662492"/>
                    </a:moveTo>
                    <a:cubicBezTo>
                      <a:pt x="4693638" y="2662492"/>
                      <a:pt x="4699022" y="2663788"/>
                      <a:pt x="4703966" y="2666381"/>
                    </a:cubicBezTo>
                    <a:lnTo>
                      <a:pt x="5125586" y="2918925"/>
                    </a:lnTo>
                    <a:cubicBezTo>
                      <a:pt x="5134808" y="2925266"/>
                      <a:pt x="5140635" y="2935753"/>
                      <a:pt x="5141299" y="2947237"/>
                    </a:cubicBezTo>
                    <a:lnTo>
                      <a:pt x="5141299" y="3453391"/>
                    </a:lnTo>
                    <a:cubicBezTo>
                      <a:pt x="5140621" y="3464837"/>
                      <a:pt x="5134793" y="3475271"/>
                      <a:pt x="5125586" y="3481571"/>
                    </a:cubicBezTo>
                    <a:lnTo>
                      <a:pt x="4703966" y="3734119"/>
                    </a:lnTo>
                    <a:cubicBezTo>
                      <a:pt x="4694129" y="3739301"/>
                      <a:pt x="4682502" y="3739301"/>
                      <a:pt x="4672666" y="3734119"/>
                    </a:cubicBezTo>
                    <a:lnTo>
                      <a:pt x="4251050" y="3481571"/>
                    </a:lnTo>
                    <a:cubicBezTo>
                      <a:pt x="4241812" y="3475311"/>
                      <a:pt x="4235973" y="3464851"/>
                      <a:pt x="4235334" y="3453391"/>
                    </a:cubicBezTo>
                    <a:lnTo>
                      <a:pt x="4235205" y="2947237"/>
                    </a:lnTo>
                    <a:cubicBezTo>
                      <a:pt x="4235807" y="2935740"/>
                      <a:pt x="4241645" y="2925211"/>
                      <a:pt x="4250921" y="2918925"/>
                    </a:cubicBezTo>
                    <a:lnTo>
                      <a:pt x="4672537" y="2666381"/>
                    </a:lnTo>
                    <a:cubicBezTo>
                      <a:pt x="4677482" y="2663788"/>
                      <a:pt x="4682867" y="2662492"/>
                      <a:pt x="4688253" y="2662492"/>
                    </a:cubicBezTo>
                    <a:close/>
                    <a:moveTo>
                      <a:pt x="5629479" y="2662492"/>
                    </a:moveTo>
                    <a:cubicBezTo>
                      <a:pt x="5634865" y="2662492"/>
                      <a:pt x="5640250" y="2663788"/>
                      <a:pt x="5645194" y="2666381"/>
                    </a:cubicBezTo>
                    <a:lnTo>
                      <a:pt x="6066810" y="2918925"/>
                    </a:lnTo>
                    <a:cubicBezTo>
                      <a:pt x="6076034" y="2925266"/>
                      <a:pt x="6081861" y="2935753"/>
                      <a:pt x="6082525" y="2947237"/>
                    </a:cubicBezTo>
                    <a:lnTo>
                      <a:pt x="6082525" y="3453391"/>
                    </a:lnTo>
                    <a:cubicBezTo>
                      <a:pt x="6081849" y="3464837"/>
                      <a:pt x="6076021" y="3475271"/>
                      <a:pt x="6066810" y="3481571"/>
                    </a:cubicBezTo>
                    <a:lnTo>
                      <a:pt x="5645194" y="3734119"/>
                    </a:lnTo>
                    <a:cubicBezTo>
                      <a:pt x="5635356" y="3739301"/>
                      <a:pt x="5623729" y="3739301"/>
                      <a:pt x="5613891" y="3734119"/>
                    </a:cubicBezTo>
                    <a:lnTo>
                      <a:pt x="5192276" y="3481571"/>
                    </a:lnTo>
                    <a:cubicBezTo>
                      <a:pt x="5183037" y="3475311"/>
                      <a:pt x="5177200" y="3464851"/>
                      <a:pt x="5176560" y="3453391"/>
                    </a:cubicBezTo>
                    <a:lnTo>
                      <a:pt x="5176434" y="2947237"/>
                    </a:lnTo>
                    <a:cubicBezTo>
                      <a:pt x="5177033" y="2935740"/>
                      <a:pt x="5182871" y="2925211"/>
                      <a:pt x="5192147" y="2918925"/>
                    </a:cubicBezTo>
                    <a:lnTo>
                      <a:pt x="5613763" y="2666381"/>
                    </a:lnTo>
                    <a:cubicBezTo>
                      <a:pt x="5618708" y="2663788"/>
                      <a:pt x="5624094" y="2662492"/>
                      <a:pt x="5629479" y="2662492"/>
                    </a:cubicBezTo>
                    <a:close/>
                    <a:moveTo>
                      <a:pt x="6572048" y="2662492"/>
                    </a:moveTo>
                    <a:cubicBezTo>
                      <a:pt x="6577413" y="2662492"/>
                      <a:pt x="6582779" y="2663788"/>
                      <a:pt x="6587698" y="2666381"/>
                    </a:cubicBezTo>
                    <a:lnTo>
                      <a:pt x="7009314" y="2918925"/>
                    </a:lnTo>
                    <a:cubicBezTo>
                      <a:pt x="7018540" y="2925266"/>
                      <a:pt x="7024366" y="2935753"/>
                      <a:pt x="7025029" y="2947237"/>
                    </a:cubicBezTo>
                    <a:lnTo>
                      <a:pt x="7025029" y="3453925"/>
                    </a:lnTo>
                    <a:cubicBezTo>
                      <a:pt x="7024351" y="3465369"/>
                      <a:pt x="7018525" y="3475803"/>
                      <a:pt x="7009314" y="3482103"/>
                    </a:cubicBezTo>
                    <a:lnTo>
                      <a:pt x="6587698" y="3734651"/>
                    </a:lnTo>
                    <a:cubicBezTo>
                      <a:pt x="6577860" y="3739833"/>
                      <a:pt x="6566235" y="3739833"/>
                      <a:pt x="6556398" y="3734651"/>
                    </a:cubicBezTo>
                    <a:lnTo>
                      <a:pt x="6134779" y="3482103"/>
                    </a:lnTo>
                    <a:cubicBezTo>
                      <a:pt x="6125058" y="3475936"/>
                      <a:pt x="6118847" y="3465209"/>
                      <a:pt x="6118171" y="3453391"/>
                    </a:cubicBezTo>
                    <a:lnTo>
                      <a:pt x="6119065" y="2947237"/>
                    </a:lnTo>
                    <a:cubicBezTo>
                      <a:pt x="6119665" y="2935740"/>
                      <a:pt x="6125504" y="2925211"/>
                      <a:pt x="6134779" y="2918925"/>
                    </a:cubicBezTo>
                    <a:lnTo>
                      <a:pt x="6556398" y="2666381"/>
                    </a:lnTo>
                    <a:cubicBezTo>
                      <a:pt x="6561316" y="2663788"/>
                      <a:pt x="6566682" y="2662492"/>
                      <a:pt x="6572048" y="2662492"/>
                    </a:cubicBezTo>
                    <a:close/>
                    <a:moveTo>
                      <a:pt x="1391851" y="1814072"/>
                    </a:moveTo>
                    <a:cubicBezTo>
                      <a:pt x="1397237" y="1814072"/>
                      <a:pt x="1402622" y="1815368"/>
                      <a:pt x="1407567" y="1817959"/>
                    </a:cubicBezTo>
                    <a:lnTo>
                      <a:pt x="1829183" y="2070506"/>
                    </a:lnTo>
                    <a:cubicBezTo>
                      <a:pt x="1838752" y="2076619"/>
                      <a:pt x="1844885" y="2087161"/>
                      <a:pt x="1845662" y="2098818"/>
                    </a:cubicBezTo>
                    <a:lnTo>
                      <a:pt x="1845662" y="2604307"/>
                    </a:lnTo>
                    <a:cubicBezTo>
                      <a:pt x="1845051" y="2615740"/>
                      <a:pt x="1839263" y="2626187"/>
                      <a:pt x="1830078" y="2632485"/>
                    </a:cubicBezTo>
                    <a:lnTo>
                      <a:pt x="1408459" y="2885695"/>
                    </a:lnTo>
                    <a:cubicBezTo>
                      <a:pt x="1398546" y="2890747"/>
                      <a:pt x="1386946" y="2890747"/>
                      <a:pt x="1377031" y="2885695"/>
                    </a:cubicBezTo>
                    <a:lnTo>
                      <a:pt x="955415" y="2633151"/>
                    </a:lnTo>
                    <a:cubicBezTo>
                      <a:pt x="946229" y="2626783"/>
                      <a:pt x="940467" y="2616297"/>
                      <a:pt x="939828" y="2604839"/>
                    </a:cubicBezTo>
                    <a:lnTo>
                      <a:pt x="939828" y="2098818"/>
                    </a:lnTo>
                    <a:cubicBezTo>
                      <a:pt x="940441" y="2087347"/>
                      <a:pt x="946215" y="2076860"/>
                      <a:pt x="955415" y="2070506"/>
                    </a:cubicBezTo>
                    <a:lnTo>
                      <a:pt x="1376135" y="1817959"/>
                    </a:lnTo>
                    <a:cubicBezTo>
                      <a:pt x="1381080" y="1815368"/>
                      <a:pt x="1386466" y="1814072"/>
                      <a:pt x="1391851" y="1814072"/>
                    </a:cubicBezTo>
                    <a:close/>
                    <a:moveTo>
                      <a:pt x="2334484" y="1814072"/>
                    </a:moveTo>
                    <a:cubicBezTo>
                      <a:pt x="2339869" y="1814072"/>
                      <a:pt x="2345254" y="1815368"/>
                      <a:pt x="2350199" y="1817959"/>
                    </a:cubicBezTo>
                    <a:lnTo>
                      <a:pt x="2771815" y="2070506"/>
                    </a:lnTo>
                    <a:cubicBezTo>
                      <a:pt x="2781013" y="2076860"/>
                      <a:pt x="2786788" y="2087347"/>
                      <a:pt x="2787402" y="2098818"/>
                    </a:cubicBezTo>
                    <a:lnTo>
                      <a:pt x="2787402" y="2604307"/>
                    </a:lnTo>
                    <a:cubicBezTo>
                      <a:pt x="2786788" y="2615740"/>
                      <a:pt x="2781000" y="2626187"/>
                      <a:pt x="2771815" y="2632485"/>
                    </a:cubicBezTo>
                    <a:lnTo>
                      <a:pt x="2350199" y="2885695"/>
                    </a:lnTo>
                    <a:cubicBezTo>
                      <a:pt x="2340283" y="2890747"/>
                      <a:pt x="2328684" y="2890747"/>
                      <a:pt x="2318768" y="2885695"/>
                    </a:cubicBezTo>
                    <a:lnTo>
                      <a:pt x="1897152" y="2633151"/>
                    </a:lnTo>
                    <a:cubicBezTo>
                      <a:pt x="1887902" y="2626823"/>
                      <a:pt x="1882076" y="2616323"/>
                      <a:pt x="1881439" y="2604839"/>
                    </a:cubicBezTo>
                    <a:lnTo>
                      <a:pt x="1881439" y="2098818"/>
                    </a:lnTo>
                    <a:cubicBezTo>
                      <a:pt x="1882049" y="2087347"/>
                      <a:pt x="1887825" y="2076860"/>
                      <a:pt x="1897023" y="2070506"/>
                    </a:cubicBezTo>
                    <a:lnTo>
                      <a:pt x="2318768" y="1817959"/>
                    </a:lnTo>
                    <a:cubicBezTo>
                      <a:pt x="2323713" y="1815368"/>
                      <a:pt x="2329098" y="1814072"/>
                      <a:pt x="2334484" y="1814072"/>
                    </a:cubicBezTo>
                    <a:close/>
                    <a:moveTo>
                      <a:pt x="3275838" y="1814072"/>
                    </a:moveTo>
                    <a:cubicBezTo>
                      <a:pt x="3281223" y="1814072"/>
                      <a:pt x="3286609" y="1815368"/>
                      <a:pt x="3291553" y="1817959"/>
                    </a:cubicBezTo>
                    <a:lnTo>
                      <a:pt x="3713169" y="2070506"/>
                    </a:lnTo>
                    <a:cubicBezTo>
                      <a:pt x="3722366" y="2076860"/>
                      <a:pt x="3728143" y="2087347"/>
                      <a:pt x="3728756" y="2098818"/>
                    </a:cubicBezTo>
                    <a:lnTo>
                      <a:pt x="3728756" y="2604307"/>
                    </a:lnTo>
                    <a:cubicBezTo>
                      <a:pt x="3728143" y="2615740"/>
                      <a:pt x="3722355" y="2626187"/>
                      <a:pt x="3713169" y="2632485"/>
                    </a:cubicBezTo>
                    <a:lnTo>
                      <a:pt x="3291553" y="2885695"/>
                    </a:lnTo>
                    <a:cubicBezTo>
                      <a:pt x="3281637" y="2890747"/>
                      <a:pt x="3270037" y="2890747"/>
                      <a:pt x="3260121" y="2885695"/>
                    </a:cubicBezTo>
                    <a:lnTo>
                      <a:pt x="2838505" y="2633151"/>
                    </a:lnTo>
                    <a:cubicBezTo>
                      <a:pt x="2829256" y="2626823"/>
                      <a:pt x="2823430" y="2616323"/>
                      <a:pt x="2822792" y="2604839"/>
                    </a:cubicBezTo>
                    <a:lnTo>
                      <a:pt x="2822792" y="2098818"/>
                    </a:lnTo>
                    <a:cubicBezTo>
                      <a:pt x="2823391" y="2087318"/>
                      <a:pt x="2829230" y="2076792"/>
                      <a:pt x="2838505" y="2070506"/>
                    </a:cubicBezTo>
                    <a:lnTo>
                      <a:pt x="3260121" y="1817959"/>
                    </a:lnTo>
                    <a:cubicBezTo>
                      <a:pt x="3265066" y="1815368"/>
                      <a:pt x="3270452" y="1814072"/>
                      <a:pt x="3275838" y="1814072"/>
                    </a:cubicBezTo>
                    <a:close/>
                    <a:moveTo>
                      <a:pt x="4217702" y="1814072"/>
                    </a:moveTo>
                    <a:cubicBezTo>
                      <a:pt x="4223087" y="1814072"/>
                      <a:pt x="4228472" y="1815368"/>
                      <a:pt x="4233416" y="1817959"/>
                    </a:cubicBezTo>
                    <a:lnTo>
                      <a:pt x="4655034" y="2070506"/>
                    </a:lnTo>
                    <a:cubicBezTo>
                      <a:pt x="4664232" y="2076860"/>
                      <a:pt x="4670009" y="2087347"/>
                      <a:pt x="4670621" y="2098818"/>
                    </a:cubicBezTo>
                    <a:lnTo>
                      <a:pt x="4670621" y="2605503"/>
                    </a:lnTo>
                    <a:cubicBezTo>
                      <a:pt x="4670009" y="2616935"/>
                      <a:pt x="4664220" y="2627382"/>
                      <a:pt x="4655034" y="2633683"/>
                    </a:cubicBezTo>
                    <a:lnTo>
                      <a:pt x="4233416" y="2886227"/>
                    </a:lnTo>
                    <a:cubicBezTo>
                      <a:pt x="4223518" y="2891358"/>
                      <a:pt x="4211888" y="2891358"/>
                      <a:pt x="4201987" y="2886227"/>
                    </a:cubicBezTo>
                    <a:lnTo>
                      <a:pt x="3780372" y="2633018"/>
                    </a:lnTo>
                    <a:cubicBezTo>
                      <a:pt x="3771095" y="2626783"/>
                      <a:pt x="3765258" y="2616308"/>
                      <a:pt x="3764654" y="2604839"/>
                    </a:cubicBezTo>
                    <a:lnTo>
                      <a:pt x="3764654" y="2098818"/>
                    </a:lnTo>
                    <a:cubicBezTo>
                      <a:pt x="3765258" y="2087318"/>
                      <a:pt x="3771095" y="2076792"/>
                      <a:pt x="3780372" y="2070506"/>
                    </a:cubicBezTo>
                    <a:lnTo>
                      <a:pt x="4201987" y="1817959"/>
                    </a:lnTo>
                    <a:cubicBezTo>
                      <a:pt x="4206932" y="1815368"/>
                      <a:pt x="4212317" y="1814072"/>
                      <a:pt x="4217702" y="1814072"/>
                    </a:cubicBezTo>
                    <a:close/>
                    <a:moveTo>
                      <a:pt x="5159250" y="1814072"/>
                    </a:moveTo>
                    <a:cubicBezTo>
                      <a:pt x="5164615" y="1814072"/>
                      <a:pt x="5169981" y="1815368"/>
                      <a:pt x="5174900" y="1817959"/>
                    </a:cubicBezTo>
                    <a:lnTo>
                      <a:pt x="5596515" y="2070506"/>
                    </a:lnTo>
                    <a:cubicBezTo>
                      <a:pt x="5605741" y="2076845"/>
                      <a:pt x="5611567" y="2087333"/>
                      <a:pt x="5612231" y="2098818"/>
                    </a:cubicBezTo>
                    <a:lnTo>
                      <a:pt x="5612231" y="2605503"/>
                    </a:lnTo>
                    <a:cubicBezTo>
                      <a:pt x="5611567" y="2616947"/>
                      <a:pt x="5605741" y="2627395"/>
                      <a:pt x="5596515" y="2633683"/>
                    </a:cubicBezTo>
                    <a:lnTo>
                      <a:pt x="5174900" y="2886227"/>
                    </a:lnTo>
                    <a:cubicBezTo>
                      <a:pt x="5165051" y="2891347"/>
                      <a:pt x="5153448" y="2891347"/>
                      <a:pt x="5143600" y="2886227"/>
                    </a:cubicBezTo>
                    <a:lnTo>
                      <a:pt x="4721980" y="2633018"/>
                    </a:lnTo>
                    <a:cubicBezTo>
                      <a:pt x="4712704" y="2626783"/>
                      <a:pt x="4706866" y="2616308"/>
                      <a:pt x="4706267" y="2604839"/>
                    </a:cubicBezTo>
                    <a:lnTo>
                      <a:pt x="4706267" y="2098818"/>
                    </a:lnTo>
                    <a:cubicBezTo>
                      <a:pt x="4706866" y="2087318"/>
                      <a:pt x="4712704" y="2076792"/>
                      <a:pt x="4721980" y="2070506"/>
                    </a:cubicBezTo>
                    <a:lnTo>
                      <a:pt x="5143600" y="1817959"/>
                    </a:lnTo>
                    <a:cubicBezTo>
                      <a:pt x="5148518" y="1815368"/>
                      <a:pt x="5153884" y="1814072"/>
                      <a:pt x="5159250" y="1814072"/>
                    </a:cubicBezTo>
                    <a:close/>
                    <a:moveTo>
                      <a:pt x="6100858" y="1814072"/>
                    </a:moveTo>
                    <a:cubicBezTo>
                      <a:pt x="6106224" y="1814072"/>
                      <a:pt x="6111591" y="1815368"/>
                      <a:pt x="6116511" y="1817959"/>
                    </a:cubicBezTo>
                    <a:lnTo>
                      <a:pt x="6538127" y="2070506"/>
                    </a:lnTo>
                    <a:cubicBezTo>
                      <a:pt x="6547350" y="2076845"/>
                      <a:pt x="6553176" y="2087333"/>
                      <a:pt x="6553840" y="2098818"/>
                    </a:cubicBezTo>
                    <a:lnTo>
                      <a:pt x="6553840" y="2605503"/>
                    </a:lnTo>
                    <a:cubicBezTo>
                      <a:pt x="6553176" y="2616947"/>
                      <a:pt x="6547350" y="2627395"/>
                      <a:pt x="6538127" y="2633683"/>
                    </a:cubicBezTo>
                    <a:lnTo>
                      <a:pt x="6116511" y="2886227"/>
                    </a:lnTo>
                    <a:cubicBezTo>
                      <a:pt x="6106659" y="2891347"/>
                      <a:pt x="6095059" y="2891347"/>
                      <a:pt x="6085206" y="2886227"/>
                    </a:cubicBezTo>
                    <a:lnTo>
                      <a:pt x="5663592" y="2633018"/>
                    </a:lnTo>
                    <a:cubicBezTo>
                      <a:pt x="5654315" y="2626783"/>
                      <a:pt x="5648478" y="2616308"/>
                      <a:pt x="5647877" y="2604839"/>
                    </a:cubicBezTo>
                    <a:lnTo>
                      <a:pt x="5647877" y="2098818"/>
                    </a:lnTo>
                    <a:cubicBezTo>
                      <a:pt x="5648478" y="2087318"/>
                      <a:pt x="5654315" y="2076792"/>
                      <a:pt x="5663592" y="2070506"/>
                    </a:cubicBezTo>
                    <a:lnTo>
                      <a:pt x="6085206" y="1817959"/>
                    </a:lnTo>
                    <a:cubicBezTo>
                      <a:pt x="6090125" y="1815368"/>
                      <a:pt x="6095491" y="1814072"/>
                      <a:pt x="6100858" y="1814072"/>
                    </a:cubicBezTo>
                    <a:close/>
                    <a:moveTo>
                      <a:pt x="7042469" y="1814072"/>
                    </a:moveTo>
                    <a:cubicBezTo>
                      <a:pt x="7047835" y="1814072"/>
                      <a:pt x="7053201" y="1815368"/>
                      <a:pt x="7058119" y="1817959"/>
                    </a:cubicBezTo>
                    <a:lnTo>
                      <a:pt x="7479735" y="2070506"/>
                    </a:lnTo>
                    <a:cubicBezTo>
                      <a:pt x="7488961" y="2076845"/>
                      <a:pt x="7494787" y="2087333"/>
                      <a:pt x="7495451" y="2098818"/>
                    </a:cubicBezTo>
                    <a:lnTo>
                      <a:pt x="7495451" y="2605503"/>
                    </a:lnTo>
                    <a:cubicBezTo>
                      <a:pt x="7494787" y="2616947"/>
                      <a:pt x="7488961" y="2627395"/>
                      <a:pt x="7479735" y="2633683"/>
                    </a:cubicBezTo>
                    <a:lnTo>
                      <a:pt x="7058119" y="2886227"/>
                    </a:lnTo>
                    <a:cubicBezTo>
                      <a:pt x="7048270" y="2891347"/>
                      <a:pt x="7036668" y="2891347"/>
                      <a:pt x="7026819" y="2886227"/>
                    </a:cubicBezTo>
                    <a:lnTo>
                      <a:pt x="6605203" y="2633018"/>
                    </a:lnTo>
                    <a:cubicBezTo>
                      <a:pt x="6595927" y="2626783"/>
                      <a:pt x="6590086" y="2616308"/>
                      <a:pt x="6589488" y="2604839"/>
                    </a:cubicBezTo>
                    <a:lnTo>
                      <a:pt x="6589488" y="2098818"/>
                    </a:lnTo>
                    <a:cubicBezTo>
                      <a:pt x="6590086" y="2087318"/>
                      <a:pt x="6595927" y="2076792"/>
                      <a:pt x="6605203" y="2070506"/>
                    </a:cubicBezTo>
                    <a:lnTo>
                      <a:pt x="7026819" y="1817959"/>
                    </a:lnTo>
                    <a:cubicBezTo>
                      <a:pt x="7031737" y="1815368"/>
                      <a:pt x="7037103" y="1814072"/>
                      <a:pt x="7042469" y="1814072"/>
                    </a:cubicBezTo>
                    <a:close/>
                    <a:moveTo>
                      <a:pt x="4688124" y="966049"/>
                    </a:moveTo>
                    <a:cubicBezTo>
                      <a:pt x="4693510" y="966049"/>
                      <a:pt x="4698895" y="967346"/>
                      <a:pt x="4703839" y="969938"/>
                    </a:cubicBezTo>
                    <a:lnTo>
                      <a:pt x="5125457" y="1222482"/>
                    </a:lnTo>
                    <a:cubicBezTo>
                      <a:pt x="5134679" y="1228678"/>
                      <a:pt x="5140582" y="1239005"/>
                      <a:pt x="5141426" y="1250396"/>
                    </a:cubicBezTo>
                    <a:lnTo>
                      <a:pt x="5141426" y="1756551"/>
                    </a:lnTo>
                    <a:cubicBezTo>
                      <a:pt x="5140762" y="1768035"/>
                      <a:pt x="5134937" y="1778522"/>
                      <a:pt x="5125711" y="1784863"/>
                    </a:cubicBezTo>
                    <a:lnTo>
                      <a:pt x="4704095" y="2037407"/>
                    </a:lnTo>
                    <a:cubicBezTo>
                      <a:pt x="4694257" y="2042593"/>
                      <a:pt x="4682631" y="2042593"/>
                      <a:pt x="4672794" y="2037407"/>
                    </a:cubicBezTo>
                    <a:lnTo>
                      <a:pt x="4251176" y="1784863"/>
                    </a:lnTo>
                    <a:cubicBezTo>
                      <a:pt x="4241900" y="1778577"/>
                      <a:pt x="4236061" y="1768048"/>
                      <a:pt x="4235463" y="1756551"/>
                    </a:cubicBezTo>
                    <a:lnTo>
                      <a:pt x="4235079" y="1250661"/>
                    </a:lnTo>
                    <a:cubicBezTo>
                      <a:pt x="4235679" y="1239191"/>
                      <a:pt x="4241517" y="1228717"/>
                      <a:pt x="4250792" y="1222482"/>
                    </a:cubicBezTo>
                    <a:lnTo>
                      <a:pt x="4672408" y="969938"/>
                    </a:lnTo>
                    <a:cubicBezTo>
                      <a:pt x="4677353" y="967346"/>
                      <a:pt x="4682739" y="966049"/>
                      <a:pt x="4688124" y="966049"/>
                    </a:cubicBezTo>
                    <a:close/>
                    <a:moveTo>
                      <a:pt x="3746640" y="965684"/>
                    </a:moveTo>
                    <a:cubicBezTo>
                      <a:pt x="3752111" y="965591"/>
                      <a:pt x="3757516" y="966906"/>
                      <a:pt x="3762358" y="969540"/>
                    </a:cubicBezTo>
                    <a:lnTo>
                      <a:pt x="4183973" y="1222084"/>
                    </a:lnTo>
                    <a:cubicBezTo>
                      <a:pt x="4193173" y="1228437"/>
                      <a:pt x="4198948" y="1238923"/>
                      <a:pt x="4199561" y="1250396"/>
                    </a:cubicBezTo>
                    <a:lnTo>
                      <a:pt x="4199561" y="1756551"/>
                    </a:lnTo>
                    <a:cubicBezTo>
                      <a:pt x="4198948" y="1768023"/>
                      <a:pt x="4193173" y="1778510"/>
                      <a:pt x="4183973" y="1784863"/>
                    </a:cubicBezTo>
                    <a:lnTo>
                      <a:pt x="3762358" y="2037407"/>
                    </a:lnTo>
                    <a:cubicBezTo>
                      <a:pt x="3757503" y="2040041"/>
                      <a:pt x="3752111" y="2041355"/>
                      <a:pt x="3746640" y="2041263"/>
                    </a:cubicBezTo>
                    <a:cubicBezTo>
                      <a:pt x="3741174" y="2041343"/>
                      <a:pt x="3735781" y="2040014"/>
                      <a:pt x="3730929" y="2037407"/>
                    </a:cubicBezTo>
                    <a:lnTo>
                      <a:pt x="3309309" y="1784863"/>
                    </a:lnTo>
                    <a:cubicBezTo>
                      <a:pt x="3300037" y="1778577"/>
                      <a:pt x="3294197" y="1768048"/>
                      <a:pt x="3293596" y="1756551"/>
                    </a:cubicBezTo>
                    <a:lnTo>
                      <a:pt x="3293596" y="1250262"/>
                    </a:lnTo>
                    <a:cubicBezTo>
                      <a:pt x="3294197" y="1238793"/>
                      <a:pt x="3300037" y="1228319"/>
                      <a:pt x="3309309" y="1222084"/>
                    </a:cubicBezTo>
                    <a:lnTo>
                      <a:pt x="3730929" y="969540"/>
                    </a:lnTo>
                    <a:cubicBezTo>
                      <a:pt x="3735781" y="966933"/>
                      <a:pt x="3741174" y="965604"/>
                      <a:pt x="3746640" y="965684"/>
                    </a:cubicBezTo>
                    <a:close/>
                    <a:moveTo>
                      <a:pt x="921940" y="965651"/>
                    </a:moveTo>
                    <a:cubicBezTo>
                      <a:pt x="927325" y="965651"/>
                      <a:pt x="932710" y="966947"/>
                      <a:pt x="937655" y="969540"/>
                    </a:cubicBezTo>
                    <a:lnTo>
                      <a:pt x="1359270" y="1222084"/>
                    </a:lnTo>
                    <a:cubicBezTo>
                      <a:pt x="1368546" y="1228370"/>
                      <a:pt x="1374387" y="1238899"/>
                      <a:pt x="1374986" y="1250396"/>
                    </a:cubicBezTo>
                    <a:lnTo>
                      <a:pt x="1374986" y="1756551"/>
                    </a:lnTo>
                    <a:cubicBezTo>
                      <a:pt x="1374387" y="1768048"/>
                      <a:pt x="1368546" y="1778577"/>
                      <a:pt x="1359270" y="1784863"/>
                    </a:cubicBezTo>
                    <a:lnTo>
                      <a:pt x="937655" y="2037407"/>
                    </a:lnTo>
                    <a:cubicBezTo>
                      <a:pt x="927766" y="2042593"/>
                      <a:pt x="916115" y="2042593"/>
                      <a:pt x="906226" y="2037407"/>
                    </a:cubicBezTo>
                    <a:lnTo>
                      <a:pt x="484610" y="1784863"/>
                    </a:lnTo>
                    <a:cubicBezTo>
                      <a:pt x="475411" y="1778510"/>
                      <a:pt x="469637" y="1768023"/>
                      <a:pt x="469023" y="1756551"/>
                    </a:cubicBezTo>
                    <a:lnTo>
                      <a:pt x="469023" y="1250262"/>
                    </a:lnTo>
                    <a:cubicBezTo>
                      <a:pt x="469637" y="1238832"/>
                      <a:pt x="475422" y="1228385"/>
                      <a:pt x="484610" y="1222084"/>
                    </a:cubicBezTo>
                    <a:lnTo>
                      <a:pt x="906226" y="969540"/>
                    </a:lnTo>
                    <a:cubicBezTo>
                      <a:pt x="911170" y="966947"/>
                      <a:pt x="916555" y="965651"/>
                      <a:pt x="921940" y="965651"/>
                    </a:cubicBezTo>
                    <a:close/>
                    <a:moveTo>
                      <a:pt x="1863551" y="965651"/>
                    </a:moveTo>
                    <a:cubicBezTo>
                      <a:pt x="1868936" y="965651"/>
                      <a:pt x="1874321" y="966947"/>
                      <a:pt x="1879266" y="969540"/>
                    </a:cubicBezTo>
                    <a:lnTo>
                      <a:pt x="2300881" y="1222084"/>
                    </a:lnTo>
                    <a:cubicBezTo>
                      <a:pt x="2310158" y="1228370"/>
                      <a:pt x="2315995" y="1238899"/>
                      <a:pt x="2316598" y="1250396"/>
                    </a:cubicBezTo>
                    <a:lnTo>
                      <a:pt x="2316598" y="1756551"/>
                    </a:lnTo>
                    <a:cubicBezTo>
                      <a:pt x="2315995" y="1768048"/>
                      <a:pt x="2310158" y="1778577"/>
                      <a:pt x="2300881" y="1784863"/>
                    </a:cubicBezTo>
                    <a:lnTo>
                      <a:pt x="1879266" y="2037407"/>
                    </a:lnTo>
                    <a:cubicBezTo>
                      <a:pt x="1869377" y="2042593"/>
                      <a:pt x="1857724" y="2042593"/>
                      <a:pt x="1847837" y="2037407"/>
                    </a:cubicBezTo>
                    <a:lnTo>
                      <a:pt x="1426218" y="1784863"/>
                    </a:lnTo>
                    <a:cubicBezTo>
                      <a:pt x="1417022" y="1778510"/>
                      <a:pt x="1411245" y="1768023"/>
                      <a:pt x="1410631" y="1756551"/>
                    </a:cubicBezTo>
                    <a:lnTo>
                      <a:pt x="1410631" y="1250262"/>
                    </a:lnTo>
                    <a:cubicBezTo>
                      <a:pt x="1411245" y="1238832"/>
                      <a:pt x="1417033" y="1228385"/>
                      <a:pt x="1426218" y="1222084"/>
                    </a:cubicBezTo>
                    <a:lnTo>
                      <a:pt x="1847837" y="969540"/>
                    </a:lnTo>
                    <a:cubicBezTo>
                      <a:pt x="1852781" y="966947"/>
                      <a:pt x="1858166" y="965651"/>
                      <a:pt x="1863551" y="965651"/>
                    </a:cubicBezTo>
                    <a:close/>
                    <a:moveTo>
                      <a:pt x="2805288" y="965651"/>
                    </a:moveTo>
                    <a:cubicBezTo>
                      <a:pt x="2810673" y="965651"/>
                      <a:pt x="2816059" y="966947"/>
                      <a:pt x="2821003" y="969540"/>
                    </a:cubicBezTo>
                    <a:lnTo>
                      <a:pt x="3242619" y="1222084"/>
                    </a:lnTo>
                    <a:cubicBezTo>
                      <a:pt x="3251819" y="1228437"/>
                      <a:pt x="3257592" y="1238923"/>
                      <a:pt x="3258206" y="1250396"/>
                    </a:cubicBezTo>
                    <a:lnTo>
                      <a:pt x="3258206" y="1756551"/>
                    </a:lnTo>
                    <a:cubicBezTo>
                      <a:pt x="3257592" y="1768023"/>
                      <a:pt x="3251819" y="1778510"/>
                      <a:pt x="3242619" y="1784863"/>
                    </a:cubicBezTo>
                    <a:lnTo>
                      <a:pt x="2821003" y="2037407"/>
                    </a:lnTo>
                    <a:cubicBezTo>
                      <a:pt x="2811114" y="2042593"/>
                      <a:pt x="2799461" y="2042593"/>
                      <a:pt x="2789574" y="2037407"/>
                    </a:cubicBezTo>
                    <a:lnTo>
                      <a:pt x="2367956" y="1784863"/>
                    </a:lnTo>
                    <a:cubicBezTo>
                      <a:pt x="2358680" y="1778577"/>
                      <a:pt x="2352842" y="1768048"/>
                      <a:pt x="2352242" y="1756551"/>
                    </a:cubicBezTo>
                    <a:lnTo>
                      <a:pt x="2352371" y="1250262"/>
                    </a:lnTo>
                    <a:cubicBezTo>
                      <a:pt x="2352983" y="1238832"/>
                      <a:pt x="2358770" y="1228385"/>
                      <a:pt x="2367956" y="1222084"/>
                    </a:cubicBezTo>
                    <a:lnTo>
                      <a:pt x="2789574" y="969540"/>
                    </a:lnTo>
                    <a:cubicBezTo>
                      <a:pt x="2794518" y="966947"/>
                      <a:pt x="2799903" y="965651"/>
                      <a:pt x="2805288" y="965651"/>
                    </a:cubicBezTo>
                    <a:close/>
                    <a:moveTo>
                      <a:pt x="5629479" y="965651"/>
                    </a:moveTo>
                    <a:cubicBezTo>
                      <a:pt x="5634865" y="965651"/>
                      <a:pt x="5640250" y="966947"/>
                      <a:pt x="5645194" y="969540"/>
                    </a:cubicBezTo>
                    <a:lnTo>
                      <a:pt x="6066810" y="1222084"/>
                    </a:lnTo>
                    <a:cubicBezTo>
                      <a:pt x="6076034" y="1228425"/>
                      <a:pt x="6081861" y="1238912"/>
                      <a:pt x="6082525" y="1250396"/>
                    </a:cubicBezTo>
                    <a:lnTo>
                      <a:pt x="6082525" y="1756551"/>
                    </a:lnTo>
                    <a:cubicBezTo>
                      <a:pt x="6081861" y="1768035"/>
                      <a:pt x="6076034" y="1778522"/>
                      <a:pt x="6066810" y="1784863"/>
                    </a:cubicBezTo>
                    <a:lnTo>
                      <a:pt x="5645194" y="2037407"/>
                    </a:lnTo>
                    <a:cubicBezTo>
                      <a:pt x="5635356" y="2042593"/>
                      <a:pt x="5623729" y="2042593"/>
                      <a:pt x="5613891" y="2037407"/>
                    </a:cubicBezTo>
                    <a:lnTo>
                      <a:pt x="5192276" y="1784863"/>
                    </a:lnTo>
                    <a:cubicBezTo>
                      <a:pt x="5183000" y="1778577"/>
                      <a:pt x="5177162" y="1768048"/>
                      <a:pt x="5176560" y="1756551"/>
                    </a:cubicBezTo>
                    <a:lnTo>
                      <a:pt x="5176560" y="1250396"/>
                    </a:lnTo>
                    <a:cubicBezTo>
                      <a:pt x="5177098" y="1238912"/>
                      <a:pt x="5182887" y="1228370"/>
                      <a:pt x="5192147" y="1222084"/>
                    </a:cubicBezTo>
                    <a:lnTo>
                      <a:pt x="5613763" y="969540"/>
                    </a:lnTo>
                    <a:cubicBezTo>
                      <a:pt x="5618708" y="966947"/>
                      <a:pt x="5624094" y="965651"/>
                      <a:pt x="5629479" y="965651"/>
                    </a:cubicBezTo>
                    <a:close/>
                    <a:moveTo>
                      <a:pt x="6571664" y="965651"/>
                    </a:moveTo>
                    <a:cubicBezTo>
                      <a:pt x="6577030" y="965651"/>
                      <a:pt x="6582396" y="966947"/>
                      <a:pt x="6587314" y="969540"/>
                    </a:cubicBezTo>
                    <a:lnTo>
                      <a:pt x="7008931" y="1222084"/>
                    </a:lnTo>
                    <a:cubicBezTo>
                      <a:pt x="7018156" y="1228425"/>
                      <a:pt x="7023981" y="1238912"/>
                      <a:pt x="7024647" y="1250396"/>
                    </a:cubicBezTo>
                    <a:lnTo>
                      <a:pt x="7024647" y="1756551"/>
                    </a:lnTo>
                    <a:cubicBezTo>
                      <a:pt x="7023981" y="1768035"/>
                      <a:pt x="7018156" y="1778522"/>
                      <a:pt x="7008931" y="1784863"/>
                    </a:cubicBezTo>
                    <a:lnTo>
                      <a:pt x="6587314" y="2037407"/>
                    </a:lnTo>
                    <a:cubicBezTo>
                      <a:pt x="6577478" y="2042593"/>
                      <a:pt x="6565851" y="2042593"/>
                      <a:pt x="6556011" y="2037407"/>
                    </a:cubicBezTo>
                    <a:lnTo>
                      <a:pt x="6134395" y="1784863"/>
                    </a:lnTo>
                    <a:cubicBezTo>
                      <a:pt x="6125120" y="1778577"/>
                      <a:pt x="6119282" y="1768048"/>
                      <a:pt x="6118683" y="1756551"/>
                    </a:cubicBezTo>
                    <a:lnTo>
                      <a:pt x="6118683" y="1250262"/>
                    </a:lnTo>
                    <a:cubicBezTo>
                      <a:pt x="6119282" y="1238793"/>
                      <a:pt x="6125120" y="1228319"/>
                      <a:pt x="6134395" y="1222084"/>
                    </a:cubicBezTo>
                    <a:lnTo>
                      <a:pt x="6556011" y="969540"/>
                    </a:lnTo>
                    <a:cubicBezTo>
                      <a:pt x="6560931" y="966947"/>
                      <a:pt x="6566298" y="965651"/>
                      <a:pt x="6571664" y="965651"/>
                    </a:cubicBezTo>
                    <a:close/>
                    <a:moveTo>
                      <a:pt x="5159051" y="117093"/>
                    </a:moveTo>
                    <a:cubicBezTo>
                      <a:pt x="5164417" y="117185"/>
                      <a:pt x="5169764" y="118573"/>
                      <a:pt x="5174644" y="121251"/>
                    </a:cubicBezTo>
                    <a:lnTo>
                      <a:pt x="5596261" y="373796"/>
                    </a:lnTo>
                    <a:cubicBezTo>
                      <a:pt x="5605484" y="380082"/>
                      <a:pt x="5611311" y="390532"/>
                      <a:pt x="5611978" y="401973"/>
                    </a:cubicBezTo>
                    <a:lnTo>
                      <a:pt x="5611978" y="907597"/>
                    </a:lnTo>
                    <a:cubicBezTo>
                      <a:pt x="5611311" y="919081"/>
                      <a:pt x="5605484" y="929570"/>
                      <a:pt x="5596261" y="935909"/>
                    </a:cubicBezTo>
                    <a:lnTo>
                      <a:pt x="5174644" y="1188455"/>
                    </a:lnTo>
                    <a:cubicBezTo>
                      <a:pt x="5164808" y="1193639"/>
                      <a:pt x="5153181" y="1193639"/>
                      <a:pt x="5143342" y="1188455"/>
                    </a:cubicBezTo>
                    <a:lnTo>
                      <a:pt x="4721726" y="935909"/>
                    </a:lnTo>
                    <a:cubicBezTo>
                      <a:pt x="4712450" y="929623"/>
                      <a:pt x="4706612" y="919096"/>
                      <a:pt x="4706011" y="907597"/>
                    </a:cubicBezTo>
                    <a:lnTo>
                      <a:pt x="4706011" y="401445"/>
                    </a:lnTo>
                    <a:cubicBezTo>
                      <a:pt x="4706612" y="389972"/>
                      <a:pt x="4712450" y="379498"/>
                      <a:pt x="4721726" y="373263"/>
                    </a:cubicBezTo>
                    <a:lnTo>
                      <a:pt x="5143342" y="120719"/>
                    </a:lnTo>
                    <a:cubicBezTo>
                      <a:pt x="5148300" y="118208"/>
                      <a:pt x="5153685" y="117002"/>
                      <a:pt x="5159051" y="117093"/>
                    </a:cubicBezTo>
                    <a:close/>
                    <a:moveTo>
                      <a:pt x="6100660" y="117093"/>
                    </a:moveTo>
                    <a:cubicBezTo>
                      <a:pt x="6106026" y="117185"/>
                      <a:pt x="6111373" y="118573"/>
                      <a:pt x="6116255" y="121251"/>
                    </a:cubicBezTo>
                    <a:lnTo>
                      <a:pt x="6537869" y="373796"/>
                    </a:lnTo>
                    <a:cubicBezTo>
                      <a:pt x="6547095" y="380082"/>
                      <a:pt x="6552921" y="390532"/>
                      <a:pt x="6553584" y="401973"/>
                    </a:cubicBezTo>
                    <a:lnTo>
                      <a:pt x="6553584" y="907597"/>
                    </a:lnTo>
                    <a:cubicBezTo>
                      <a:pt x="6552921" y="919081"/>
                      <a:pt x="6547095" y="929570"/>
                      <a:pt x="6537869" y="935909"/>
                    </a:cubicBezTo>
                    <a:lnTo>
                      <a:pt x="6116255" y="1188455"/>
                    </a:lnTo>
                    <a:cubicBezTo>
                      <a:pt x="6106417" y="1193639"/>
                      <a:pt x="6094790" y="1193639"/>
                      <a:pt x="6084953" y="1188455"/>
                    </a:cubicBezTo>
                    <a:lnTo>
                      <a:pt x="5663337" y="935909"/>
                    </a:lnTo>
                    <a:cubicBezTo>
                      <a:pt x="5654062" y="929623"/>
                      <a:pt x="5648221" y="919096"/>
                      <a:pt x="5647621" y="907597"/>
                    </a:cubicBezTo>
                    <a:lnTo>
                      <a:pt x="5647621" y="401445"/>
                    </a:lnTo>
                    <a:cubicBezTo>
                      <a:pt x="5648221" y="389972"/>
                      <a:pt x="5654062" y="379498"/>
                      <a:pt x="5663337" y="373263"/>
                    </a:cubicBezTo>
                    <a:lnTo>
                      <a:pt x="6084953" y="120719"/>
                    </a:lnTo>
                    <a:cubicBezTo>
                      <a:pt x="6089910" y="118208"/>
                      <a:pt x="6095294" y="117002"/>
                      <a:pt x="6100660" y="117093"/>
                    </a:cubicBezTo>
                    <a:close/>
                    <a:moveTo>
                      <a:pt x="1392552" y="117092"/>
                    </a:moveTo>
                    <a:cubicBezTo>
                      <a:pt x="1397939" y="117183"/>
                      <a:pt x="1403305" y="118572"/>
                      <a:pt x="1408204" y="121251"/>
                    </a:cubicBezTo>
                    <a:lnTo>
                      <a:pt x="1829820" y="373796"/>
                    </a:lnTo>
                    <a:cubicBezTo>
                      <a:pt x="1839096" y="380030"/>
                      <a:pt x="1844934" y="390504"/>
                      <a:pt x="1845536" y="401973"/>
                    </a:cubicBezTo>
                    <a:lnTo>
                      <a:pt x="1845536" y="907597"/>
                    </a:lnTo>
                    <a:cubicBezTo>
                      <a:pt x="1844934" y="919096"/>
                      <a:pt x="1839096" y="929623"/>
                      <a:pt x="1829820" y="935909"/>
                    </a:cubicBezTo>
                    <a:lnTo>
                      <a:pt x="1408204" y="1188455"/>
                    </a:lnTo>
                    <a:cubicBezTo>
                      <a:pt x="1398316" y="1193639"/>
                      <a:pt x="1386665" y="1193639"/>
                      <a:pt x="1376775" y="1188455"/>
                    </a:cubicBezTo>
                    <a:lnTo>
                      <a:pt x="955160" y="935909"/>
                    </a:lnTo>
                    <a:cubicBezTo>
                      <a:pt x="945961" y="929555"/>
                      <a:pt x="940187" y="919068"/>
                      <a:pt x="939573" y="907597"/>
                    </a:cubicBezTo>
                    <a:lnTo>
                      <a:pt x="939573" y="401445"/>
                    </a:lnTo>
                    <a:cubicBezTo>
                      <a:pt x="940187" y="390012"/>
                      <a:pt x="945972" y="379565"/>
                      <a:pt x="955160" y="373263"/>
                    </a:cubicBezTo>
                    <a:lnTo>
                      <a:pt x="1376775" y="120719"/>
                    </a:lnTo>
                    <a:cubicBezTo>
                      <a:pt x="1381758" y="118207"/>
                      <a:pt x="1387166" y="117001"/>
                      <a:pt x="1392552" y="117092"/>
                    </a:cubicBezTo>
                    <a:close/>
                    <a:moveTo>
                      <a:pt x="3275900" y="117092"/>
                    </a:moveTo>
                    <a:cubicBezTo>
                      <a:pt x="3281287" y="117183"/>
                      <a:pt x="3286653" y="118572"/>
                      <a:pt x="3291553" y="121251"/>
                    </a:cubicBezTo>
                    <a:lnTo>
                      <a:pt x="3713169" y="373796"/>
                    </a:lnTo>
                    <a:cubicBezTo>
                      <a:pt x="3722355" y="380097"/>
                      <a:pt x="3728143" y="390544"/>
                      <a:pt x="3728756" y="401973"/>
                    </a:cubicBezTo>
                    <a:lnTo>
                      <a:pt x="3728756" y="907597"/>
                    </a:lnTo>
                    <a:cubicBezTo>
                      <a:pt x="3728143" y="919068"/>
                      <a:pt x="3722366" y="929555"/>
                      <a:pt x="3713169" y="935909"/>
                    </a:cubicBezTo>
                    <a:lnTo>
                      <a:pt x="3291553" y="1188455"/>
                    </a:lnTo>
                    <a:cubicBezTo>
                      <a:pt x="3281664" y="1193639"/>
                      <a:pt x="3270011" y="1193639"/>
                      <a:pt x="3260121" y="1188455"/>
                    </a:cubicBezTo>
                    <a:lnTo>
                      <a:pt x="2838505" y="935909"/>
                    </a:lnTo>
                    <a:cubicBezTo>
                      <a:pt x="2829309" y="929555"/>
                      <a:pt x="2823533" y="919068"/>
                      <a:pt x="2822921" y="907597"/>
                    </a:cubicBezTo>
                    <a:lnTo>
                      <a:pt x="2822921" y="401445"/>
                    </a:lnTo>
                    <a:cubicBezTo>
                      <a:pt x="2823533" y="390012"/>
                      <a:pt x="2829320" y="379565"/>
                      <a:pt x="2838505" y="373263"/>
                    </a:cubicBezTo>
                    <a:lnTo>
                      <a:pt x="3260121" y="120719"/>
                    </a:lnTo>
                    <a:cubicBezTo>
                      <a:pt x="3265105" y="118207"/>
                      <a:pt x="3270513" y="117001"/>
                      <a:pt x="3275900" y="117092"/>
                    </a:cubicBezTo>
                    <a:close/>
                    <a:moveTo>
                      <a:pt x="4217381" y="117092"/>
                    </a:moveTo>
                    <a:cubicBezTo>
                      <a:pt x="4222768" y="117183"/>
                      <a:pt x="4228133" y="118572"/>
                      <a:pt x="4233033" y="121251"/>
                    </a:cubicBezTo>
                    <a:lnTo>
                      <a:pt x="4654650" y="373796"/>
                    </a:lnTo>
                    <a:cubicBezTo>
                      <a:pt x="4663836" y="380097"/>
                      <a:pt x="4669625" y="390544"/>
                      <a:pt x="4670237" y="401973"/>
                    </a:cubicBezTo>
                    <a:lnTo>
                      <a:pt x="4670237" y="907597"/>
                    </a:lnTo>
                    <a:cubicBezTo>
                      <a:pt x="4669625" y="919068"/>
                      <a:pt x="4663848" y="929555"/>
                      <a:pt x="4654650" y="935909"/>
                    </a:cubicBezTo>
                    <a:lnTo>
                      <a:pt x="4233033" y="1188455"/>
                    </a:lnTo>
                    <a:cubicBezTo>
                      <a:pt x="4223145" y="1193639"/>
                      <a:pt x="4211493" y="1193639"/>
                      <a:pt x="4201605" y="1188455"/>
                    </a:cubicBezTo>
                    <a:lnTo>
                      <a:pt x="3779988" y="935909"/>
                    </a:lnTo>
                    <a:cubicBezTo>
                      <a:pt x="3770713" y="929623"/>
                      <a:pt x="3764875" y="919096"/>
                      <a:pt x="3764276" y="907597"/>
                    </a:cubicBezTo>
                    <a:lnTo>
                      <a:pt x="3764276" y="401445"/>
                    </a:lnTo>
                    <a:cubicBezTo>
                      <a:pt x="3764875" y="389972"/>
                      <a:pt x="3770713" y="379498"/>
                      <a:pt x="3779988" y="373263"/>
                    </a:cubicBezTo>
                    <a:lnTo>
                      <a:pt x="4201605" y="120719"/>
                    </a:lnTo>
                    <a:cubicBezTo>
                      <a:pt x="4206587" y="118207"/>
                      <a:pt x="4211995" y="117001"/>
                      <a:pt x="4217381" y="117092"/>
                    </a:cubicBezTo>
                    <a:close/>
                    <a:moveTo>
                      <a:pt x="7042214" y="116828"/>
                    </a:moveTo>
                    <a:cubicBezTo>
                      <a:pt x="7047580" y="116828"/>
                      <a:pt x="7052946" y="118125"/>
                      <a:pt x="7057864" y="120719"/>
                    </a:cubicBezTo>
                    <a:lnTo>
                      <a:pt x="7479481" y="373796"/>
                    </a:lnTo>
                    <a:cubicBezTo>
                      <a:pt x="7488703" y="380082"/>
                      <a:pt x="7494531" y="390532"/>
                      <a:pt x="7495197" y="401973"/>
                    </a:cubicBezTo>
                    <a:lnTo>
                      <a:pt x="7495197" y="907597"/>
                    </a:lnTo>
                    <a:cubicBezTo>
                      <a:pt x="7494531" y="919081"/>
                      <a:pt x="7488703" y="929570"/>
                      <a:pt x="7479481" y="935909"/>
                    </a:cubicBezTo>
                    <a:lnTo>
                      <a:pt x="7057864" y="1188455"/>
                    </a:lnTo>
                    <a:cubicBezTo>
                      <a:pt x="7048027" y="1193639"/>
                      <a:pt x="7036402" y="1193639"/>
                      <a:pt x="7026562" y="1188455"/>
                    </a:cubicBezTo>
                    <a:lnTo>
                      <a:pt x="6604946" y="935909"/>
                    </a:lnTo>
                    <a:cubicBezTo>
                      <a:pt x="6595670" y="929623"/>
                      <a:pt x="6589832" y="919096"/>
                      <a:pt x="6589232" y="907597"/>
                    </a:cubicBezTo>
                    <a:lnTo>
                      <a:pt x="6589232" y="401445"/>
                    </a:lnTo>
                    <a:cubicBezTo>
                      <a:pt x="6589832" y="389972"/>
                      <a:pt x="6595670" y="379498"/>
                      <a:pt x="6604946" y="373263"/>
                    </a:cubicBezTo>
                    <a:lnTo>
                      <a:pt x="7026562" y="120719"/>
                    </a:lnTo>
                    <a:cubicBezTo>
                      <a:pt x="7031482" y="118125"/>
                      <a:pt x="7036848" y="116828"/>
                      <a:pt x="7042214" y="116828"/>
                    </a:cubicBezTo>
                    <a:close/>
                    <a:moveTo>
                      <a:pt x="2334100" y="116827"/>
                    </a:moveTo>
                    <a:cubicBezTo>
                      <a:pt x="2339485" y="116827"/>
                      <a:pt x="2344870" y="118124"/>
                      <a:pt x="2349814" y="120719"/>
                    </a:cubicBezTo>
                    <a:lnTo>
                      <a:pt x="2771431" y="373796"/>
                    </a:lnTo>
                    <a:cubicBezTo>
                      <a:pt x="2780708" y="380030"/>
                      <a:pt x="2786545" y="390504"/>
                      <a:pt x="2787146" y="401973"/>
                    </a:cubicBezTo>
                    <a:lnTo>
                      <a:pt x="2787146" y="907597"/>
                    </a:lnTo>
                    <a:cubicBezTo>
                      <a:pt x="2786545" y="919096"/>
                      <a:pt x="2780708" y="929623"/>
                      <a:pt x="2771431" y="935909"/>
                    </a:cubicBezTo>
                    <a:lnTo>
                      <a:pt x="2349814" y="1188455"/>
                    </a:lnTo>
                    <a:cubicBezTo>
                      <a:pt x="2339927" y="1193639"/>
                      <a:pt x="2328274" y="1193639"/>
                      <a:pt x="2318384" y="1188455"/>
                    </a:cubicBezTo>
                    <a:lnTo>
                      <a:pt x="1896768" y="935909"/>
                    </a:lnTo>
                    <a:cubicBezTo>
                      <a:pt x="1887569" y="929555"/>
                      <a:pt x="1881795" y="919068"/>
                      <a:pt x="1881181" y="907597"/>
                    </a:cubicBezTo>
                    <a:lnTo>
                      <a:pt x="1881181" y="401445"/>
                    </a:lnTo>
                    <a:cubicBezTo>
                      <a:pt x="1881795" y="390012"/>
                      <a:pt x="1887583" y="379565"/>
                      <a:pt x="1896768" y="373263"/>
                    </a:cubicBezTo>
                    <a:lnTo>
                      <a:pt x="2318384" y="120719"/>
                    </a:lnTo>
                    <a:cubicBezTo>
                      <a:pt x="2323329" y="118124"/>
                      <a:pt x="2328715" y="116827"/>
                      <a:pt x="2334100" y="116827"/>
                    </a:cubicBezTo>
                    <a:close/>
                    <a:moveTo>
                      <a:pt x="7059779" y="0"/>
                    </a:moveTo>
                    <a:lnTo>
                      <a:pt x="7024924" y="0"/>
                    </a:lnTo>
                    <a:lnTo>
                      <a:pt x="7025029" y="59840"/>
                    </a:lnTo>
                    <a:cubicBezTo>
                      <a:pt x="7024366" y="71290"/>
                      <a:pt x="7018540" y="81740"/>
                      <a:pt x="7009314" y="88021"/>
                    </a:cubicBezTo>
                    <a:lnTo>
                      <a:pt x="6587698" y="340566"/>
                    </a:lnTo>
                    <a:cubicBezTo>
                      <a:pt x="6577860" y="345751"/>
                      <a:pt x="6566235" y="345751"/>
                      <a:pt x="6556398" y="340566"/>
                    </a:cubicBezTo>
                    <a:lnTo>
                      <a:pt x="6134779" y="88021"/>
                    </a:lnTo>
                    <a:cubicBezTo>
                      <a:pt x="6125172" y="81997"/>
                      <a:pt x="6118976" y="71486"/>
                      <a:pt x="6118171" y="59840"/>
                    </a:cubicBezTo>
                    <a:lnTo>
                      <a:pt x="6118171" y="0"/>
                    </a:lnTo>
                    <a:lnTo>
                      <a:pt x="6082525" y="0"/>
                    </a:lnTo>
                    <a:lnTo>
                      <a:pt x="6082525" y="59840"/>
                    </a:lnTo>
                    <a:cubicBezTo>
                      <a:pt x="6081861" y="71290"/>
                      <a:pt x="6076034" y="81740"/>
                      <a:pt x="6066810" y="88021"/>
                    </a:cubicBezTo>
                    <a:lnTo>
                      <a:pt x="5645194" y="340566"/>
                    </a:lnTo>
                    <a:cubicBezTo>
                      <a:pt x="5635356" y="345751"/>
                      <a:pt x="5623729" y="345751"/>
                      <a:pt x="5613891" y="340566"/>
                    </a:cubicBezTo>
                    <a:lnTo>
                      <a:pt x="5192276" y="88021"/>
                    </a:lnTo>
                    <a:cubicBezTo>
                      <a:pt x="5183000" y="81785"/>
                      <a:pt x="5177162" y="71311"/>
                      <a:pt x="5176560" y="59840"/>
                    </a:cubicBezTo>
                    <a:lnTo>
                      <a:pt x="5176560" y="0"/>
                    </a:lnTo>
                    <a:lnTo>
                      <a:pt x="5141140" y="0"/>
                    </a:lnTo>
                    <a:lnTo>
                      <a:pt x="5141170" y="59840"/>
                    </a:lnTo>
                    <a:cubicBezTo>
                      <a:pt x="5140506" y="71290"/>
                      <a:pt x="5134679" y="81740"/>
                      <a:pt x="5125457" y="88021"/>
                    </a:cubicBezTo>
                    <a:lnTo>
                      <a:pt x="4703839" y="340566"/>
                    </a:lnTo>
                    <a:cubicBezTo>
                      <a:pt x="4693999" y="345751"/>
                      <a:pt x="4682374" y="345751"/>
                      <a:pt x="4672537" y="340566"/>
                    </a:cubicBezTo>
                    <a:lnTo>
                      <a:pt x="4250921" y="88021"/>
                    </a:lnTo>
                    <a:cubicBezTo>
                      <a:pt x="4241645" y="81785"/>
                      <a:pt x="4235807" y="71311"/>
                      <a:pt x="4235205" y="59840"/>
                    </a:cubicBezTo>
                    <a:lnTo>
                      <a:pt x="4235205" y="0"/>
                    </a:lnTo>
                    <a:lnTo>
                      <a:pt x="4199177" y="0"/>
                    </a:lnTo>
                    <a:lnTo>
                      <a:pt x="4199177" y="59840"/>
                    </a:lnTo>
                    <a:cubicBezTo>
                      <a:pt x="4198564" y="71273"/>
                      <a:pt x="4192775" y="81725"/>
                      <a:pt x="4183591" y="88021"/>
                    </a:cubicBezTo>
                    <a:lnTo>
                      <a:pt x="3761975" y="340566"/>
                    </a:lnTo>
                    <a:cubicBezTo>
                      <a:pt x="3757157" y="343306"/>
                      <a:pt x="3751740" y="344674"/>
                      <a:pt x="3746259" y="344553"/>
                    </a:cubicBezTo>
                    <a:cubicBezTo>
                      <a:pt x="3740778" y="344659"/>
                      <a:pt x="3735360" y="343278"/>
                      <a:pt x="3730546" y="340566"/>
                    </a:cubicBezTo>
                    <a:lnTo>
                      <a:pt x="3308927" y="88021"/>
                    </a:lnTo>
                    <a:cubicBezTo>
                      <a:pt x="3299652" y="81785"/>
                      <a:pt x="3293814" y="71311"/>
                      <a:pt x="3293213" y="59840"/>
                    </a:cubicBezTo>
                    <a:lnTo>
                      <a:pt x="3293213" y="0"/>
                    </a:lnTo>
                    <a:lnTo>
                      <a:pt x="3257042" y="0"/>
                    </a:lnTo>
                    <a:lnTo>
                      <a:pt x="3257057" y="59840"/>
                    </a:lnTo>
                    <a:cubicBezTo>
                      <a:pt x="3256444" y="71273"/>
                      <a:pt x="3250655" y="81725"/>
                      <a:pt x="3241470" y="88021"/>
                    </a:cubicBezTo>
                    <a:lnTo>
                      <a:pt x="2819853" y="340566"/>
                    </a:lnTo>
                    <a:cubicBezTo>
                      <a:pt x="2809965" y="345751"/>
                      <a:pt x="2798312" y="345751"/>
                      <a:pt x="2788422" y="340566"/>
                    </a:cubicBezTo>
                    <a:lnTo>
                      <a:pt x="2366806" y="88021"/>
                    </a:lnTo>
                    <a:cubicBezTo>
                      <a:pt x="2357531" y="81785"/>
                      <a:pt x="2351693" y="71311"/>
                      <a:pt x="2351091" y="59840"/>
                    </a:cubicBezTo>
                    <a:lnTo>
                      <a:pt x="2351091" y="0"/>
                    </a:lnTo>
                    <a:lnTo>
                      <a:pt x="2315958" y="0"/>
                    </a:lnTo>
                    <a:lnTo>
                      <a:pt x="2315958" y="59840"/>
                    </a:lnTo>
                    <a:cubicBezTo>
                      <a:pt x="2315356" y="71311"/>
                      <a:pt x="2309518" y="81785"/>
                      <a:pt x="2300243" y="88021"/>
                    </a:cubicBezTo>
                    <a:lnTo>
                      <a:pt x="1878627" y="340566"/>
                    </a:lnTo>
                    <a:cubicBezTo>
                      <a:pt x="1868737" y="345751"/>
                      <a:pt x="1857086" y="345751"/>
                      <a:pt x="1847196" y="340566"/>
                    </a:cubicBezTo>
                    <a:lnTo>
                      <a:pt x="1425581" y="88021"/>
                    </a:lnTo>
                    <a:cubicBezTo>
                      <a:pt x="1416393" y="81725"/>
                      <a:pt x="1410608" y="71273"/>
                      <a:pt x="1409994" y="59840"/>
                    </a:cubicBezTo>
                    <a:lnTo>
                      <a:pt x="1409994" y="0"/>
                    </a:lnTo>
                    <a:lnTo>
                      <a:pt x="1374348" y="0"/>
                    </a:lnTo>
                    <a:lnTo>
                      <a:pt x="1374348" y="59840"/>
                    </a:lnTo>
                    <a:cubicBezTo>
                      <a:pt x="1373747" y="71311"/>
                      <a:pt x="1367910" y="81785"/>
                      <a:pt x="1358633" y="88021"/>
                    </a:cubicBezTo>
                    <a:lnTo>
                      <a:pt x="937016" y="340566"/>
                    </a:lnTo>
                    <a:cubicBezTo>
                      <a:pt x="927128" y="345751"/>
                      <a:pt x="915475" y="345751"/>
                      <a:pt x="905588" y="340566"/>
                    </a:cubicBezTo>
                    <a:lnTo>
                      <a:pt x="483971" y="88021"/>
                    </a:lnTo>
                    <a:cubicBezTo>
                      <a:pt x="474786" y="81725"/>
                      <a:pt x="468997" y="71273"/>
                      <a:pt x="468383" y="59840"/>
                    </a:cubicBezTo>
                    <a:lnTo>
                      <a:pt x="468383" y="0"/>
                    </a:lnTo>
                    <a:lnTo>
                      <a:pt x="432625" y="0"/>
                    </a:lnTo>
                    <a:lnTo>
                      <a:pt x="432610" y="59840"/>
                    </a:lnTo>
                    <a:cubicBezTo>
                      <a:pt x="432011" y="71311"/>
                      <a:pt x="426170" y="81785"/>
                      <a:pt x="416897" y="88021"/>
                    </a:cubicBezTo>
                    <a:lnTo>
                      <a:pt x="0" y="337740"/>
                    </a:lnTo>
                    <a:lnTo>
                      <a:pt x="0" y="397559"/>
                    </a:lnTo>
                    <a:lnTo>
                      <a:pt x="13549" y="373263"/>
                    </a:lnTo>
                    <a:lnTo>
                      <a:pt x="435164" y="120719"/>
                    </a:lnTo>
                    <a:cubicBezTo>
                      <a:pt x="445002" y="115531"/>
                      <a:pt x="456631" y="115531"/>
                      <a:pt x="466468" y="120719"/>
                    </a:cubicBezTo>
                    <a:lnTo>
                      <a:pt x="888084" y="373796"/>
                    </a:lnTo>
                    <a:cubicBezTo>
                      <a:pt x="897360" y="380030"/>
                      <a:pt x="903197" y="390504"/>
                      <a:pt x="903799" y="401973"/>
                    </a:cubicBezTo>
                    <a:lnTo>
                      <a:pt x="903799" y="907597"/>
                    </a:lnTo>
                    <a:cubicBezTo>
                      <a:pt x="903197" y="919096"/>
                      <a:pt x="897360" y="929623"/>
                      <a:pt x="888084" y="935909"/>
                    </a:cubicBezTo>
                    <a:lnTo>
                      <a:pt x="466468" y="1188455"/>
                    </a:lnTo>
                    <a:cubicBezTo>
                      <a:pt x="456579" y="1193639"/>
                      <a:pt x="444925" y="1193639"/>
                      <a:pt x="435039" y="1188455"/>
                    </a:cubicBezTo>
                    <a:lnTo>
                      <a:pt x="13421" y="935909"/>
                    </a:lnTo>
                    <a:lnTo>
                      <a:pt x="0" y="911533"/>
                    </a:lnTo>
                    <a:lnTo>
                      <a:pt x="0" y="971909"/>
                    </a:lnTo>
                    <a:lnTo>
                      <a:pt x="417662" y="1222084"/>
                    </a:lnTo>
                    <a:cubicBezTo>
                      <a:pt x="426939" y="1228370"/>
                      <a:pt x="432776" y="1238899"/>
                      <a:pt x="433376" y="1250396"/>
                    </a:cubicBezTo>
                    <a:lnTo>
                      <a:pt x="433376" y="1756551"/>
                    </a:lnTo>
                    <a:cubicBezTo>
                      <a:pt x="432776" y="1768048"/>
                      <a:pt x="426939" y="1778577"/>
                      <a:pt x="417662" y="1784863"/>
                    </a:cubicBezTo>
                    <a:lnTo>
                      <a:pt x="0" y="2035039"/>
                    </a:lnTo>
                    <a:lnTo>
                      <a:pt x="0" y="2095583"/>
                    </a:lnTo>
                    <a:lnTo>
                      <a:pt x="13804" y="2070506"/>
                    </a:lnTo>
                    <a:lnTo>
                      <a:pt x="435422" y="1817959"/>
                    </a:lnTo>
                    <a:cubicBezTo>
                      <a:pt x="445309" y="1812776"/>
                      <a:pt x="456961" y="1812776"/>
                      <a:pt x="466851" y="1817959"/>
                    </a:cubicBezTo>
                    <a:lnTo>
                      <a:pt x="888467" y="2070506"/>
                    </a:lnTo>
                    <a:cubicBezTo>
                      <a:pt x="897742" y="2076792"/>
                      <a:pt x="903581" y="2087318"/>
                      <a:pt x="904183" y="2098818"/>
                    </a:cubicBezTo>
                    <a:lnTo>
                      <a:pt x="904183" y="2604307"/>
                    </a:lnTo>
                    <a:cubicBezTo>
                      <a:pt x="903581" y="2615779"/>
                      <a:pt x="897742" y="2626251"/>
                      <a:pt x="888467" y="2632485"/>
                    </a:cubicBezTo>
                    <a:lnTo>
                      <a:pt x="466851" y="2885695"/>
                    </a:lnTo>
                    <a:cubicBezTo>
                      <a:pt x="456935" y="2890747"/>
                      <a:pt x="445335" y="2890747"/>
                      <a:pt x="435422" y="2885695"/>
                    </a:cubicBezTo>
                    <a:lnTo>
                      <a:pt x="13804" y="2633151"/>
                    </a:lnTo>
                    <a:lnTo>
                      <a:pt x="0" y="2608075"/>
                    </a:lnTo>
                    <a:lnTo>
                      <a:pt x="0" y="2668750"/>
                    </a:lnTo>
                    <a:lnTo>
                      <a:pt x="417662" y="2918925"/>
                    </a:lnTo>
                    <a:cubicBezTo>
                      <a:pt x="426939" y="2925211"/>
                      <a:pt x="432776" y="2935740"/>
                      <a:pt x="433376" y="2947237"/>
                    </a:cubicBezTo>
                    <a:lnTo>
                      <a:pt x="433376" y="3453391"/>
                    </a:lnTo>
                    <a:cubicBezTo>
                      <a:pt x="432739" y="3464851"/>
                      <a:pt x="426900" y="3475311"/>
                      <a:pt x="417662" y="3481571"/>
                    </a:cubicBezTo>
                    <a:lnTo>
                      <a:pt x="0" y="3731751"/>
                    </a:lnTo>
                    <a:lnTo>
                      <a:pt x="0" y="3792305"/>
                    </a:lnTo>
                    <a:lnTo>
                      <a:pt x="13804" y="3767347"/>
                    </a:lnTo>
                    <a:lnTo>
                      <a:pt x="435422" y="3514800"/>
                    </a:lnTo>
                    <a:cubicBezTo>
                      <a:pt x="445309" y="3509618"/>
                      <a:pt x="456961" y="3509618"/>
                      <a:pt x="466851" y="3514800"/>
                    </a:cubicBezTo>
                    <a:lnTo>
                      <a:pt x="888467" y="3767347"/>
                    </a:lnTo>
                    <a:cubicBezTo>
                      <a:pt x="897742" y="3773583"/>
                      <a:pt x="903581" y="3784055"/>
                      <a:pt x="904183" y="3795525"/>
                    </a:cubicBezTo>
                    <a:lnTo>
                      <a:pt x="904183" y="4301681"/>
                    </a:lnTo>
                    <a:cubicBezTo>
                      <a:pt x="903581" y="4313177"/>
                      <a:pt x="897742" y="4323706"/>
                      <a:pt x="888467" y="4329992"/>
                    </a:cubicBezTo>
                    <a:lnTo>
                      <a:pt x="466851" y="4582540"/>
                    </a:lnTo>
                    <a:cubicBezTo>
                      <a:pt x="456961" y="4587722"/>
                      <a:pt x="445309" y="4587722"/>
                      <a:pt x="435422" y="4582540"/>
                    </a:cubicBezTo>
                    <a:lnTo>
                      <a:pt x="13804" y="4329992"/>
                    </a:lnTo>
                    <a:lnTo>
                      <a:pt x="0" y="4304916"/>
                    </a:lnTo>
                    <a:lnTo>
                      <a:pt x="0" y="4365611"/>
                    </a:lnTo>
                    <a:lnTo>
                      <a:pt x="417406" y="4615635"/>
                    </a:lnTo>
                    <a:cubicBezTo>
                      <a:pt x="426681" y="4621921"/>
                      <a:pt x="432522" y="4632449"/>
                      <a:pt x="433121" y="4643947"/>
                    </a:cubicBezTo>
                    <a:lnTo>
                      <a:pt x="433121" y="5150103"/>
                    </a:lnTo>
                    <a:cubicBezTo>
                      <a:pt x="432522" y="5161572"/>
                      <a:pt x="426681" y="5172046"/>
                      <a:pt x="417406" y="5178282"/>
                    </a:cubicBezTo>
                    <a:lnTo>
                      <a:pt x="0" y="5428303"/>
                    </a:lnTo>
                    <a:lnTo>
                      <a:pt x="0" y="5488551"/>
                    </a:lnTo>
                    <a:lnTo>
                      <a:pt x="13549" y="5464055"/>
                    </a:lnTo>
                    <a:lnTo>
                      <a:pt x="435164" y="5211511"/>
                    </a:lnTo>
                    <a:cubicBezTo>
                      <a:pt x="445054" y="5206325"/>
                      <a:pt x="456707" y="5206325"/>
                      <a:pt x="466595" y="5211511"/>
                    </a:cubicBezTo>
                    <a:lnTo>
                      <a:pt x="888212" y="5464055"/>
                    </a:lnTo>
                    <a:cubicBezTo>
                      <a:pt x="897448" y="5470317"/>
                      <a:pt x="903287" y="5480776"/>
                      <a:pt x="903925" y="5492236"/>
                    </a:cubicBezTo>
                    <a:lnTo>
                      <a:pt x="903925" y="5998388"/>
                    </a:lnTo>
                    <a:cubicBezTo>
                      <a:pt x="903364" y="6009899"/>
                      <a:pt x="897511" y="6020441"/>
                      <a:pt x="888212" y="6026701"/>
                    </a:cubicBezTo>
                    <a:lnTo>
                      <a:pt x="466595" y="6279247"/>
                    </a:lnTo>
                    <a:cubicBezTo>
                      <a:pt x="456707" y="6284433"/>
                      <a:pt x="445054" y="6284433"/>
                      <a:pt x="435164" y="6279247"/>
                    </a:cubicBezTo>
                    <a:lnTo>
                      <a:pt x="13549" y="6026701"/>
                    </a:lnTo>
                    <a:lnTo>
                      <a:pt x="0" y="6002207"/>
                    </a:lnTo>
                    <a:lnTo>
                      <a:pt x="0" y="6062605"/>
                    </a:lnTo>
                    <a:lnTo>
                      <a:pt x="417151" y="6312477"/>
                    </a:lnTo>
                    <a:cubicBezTo>
                      <a:pt x="426426" y="6318711"/>
                      <a:pt x="432265" y="6329186"/>
                      <a:pt x="432866" y="6340655"/>
                    </a:cubicBezTo>
                    <a:lnTo>
                      <a:pt x="432866" y="6520612"/>
                    </a:lnTo>
                    <a:lnTo>
                      <a:pt x="468511" y="6520612"/>
                    </a:lnTo>
                    <a:lnTo>
                      <a:pt x="468511" y="6340655"/>
                    </a:lnTo>
                    <a:cubicBezTo>
                      <a:pt x="469126" y="6329225"/>
                      <a:pt x="474911" y="6318778"/>
                      <a:pt x="484098" y="6312477"/>
                    </a:cubicBezTo>
                    <a:lnTo>
                      <a:pt x="905714" y="6059930"/>
                    </a:lnTo>
                    <a:cubicBezTo>
                      <a:pt x="915604" y="6054748"/>
                      <a:pt x="927256" y="6054748"/>
                      <a:pt x="937143" y="6059930"/>
                    </a:cubicBezTo>
                    <a:lnTo>
                      <a:pt x="1358762" y="6312477"/>
                    </a:lnTo>
                    <a:cubicBezTo>
                      <a:pt x="1368037" y="6318711"/>
                      <a:pt x="1373875" y="6329186"/>
                      <a:pt x="1374475" y="6340655"/>
                    </a:cubicBezTo>
                    <a:lnTo>
                      <a:pt x="1374475" y="6520612"/>
                    </a:lnTo>
                    <a:lnTo>
                      <a:pt x="1410377" y="6520612"/>
                    </a:lnTo>
                    <a:lnTo>
                      <a:pt x="1410377" y="6340655"/>
                    </a:lnTo>
                    <a:cubicBezTo>
                      <a:pt x="1410990" y="6329225"/>
                      <a:pt x="1416779" y="6318778"/>
                      <a:pt x="1425964" y="6312477"/>
                    </a:cubicBezTo>
                    <a:lnTo>
                      <a:pt x="1847580" y="6059930"/>
                    </a:lnTo>
                    <a:cubicBezTo>
                      <a:pt x="1857470" y="6054748"/>
                      <a:pt x="1869119" y="6054748"/>
                      <a:pt x="1879009" y="6059930"/>
                    </a:cubicBezTo>
                    <a:lnTo>
                      <a:pt x="2300628" y="6312477"/>
                    </a:lnTo>
                    <a:cubicBezTo>
                      <a:pt x="2309901" y="6318711"/>
                      <a:pt x="2315742" y="6329186"/>
                      <a:pt x="2316341" y="6340655"/>
                    </a:cubicBezTo>
                    <a:lnTo>
                      <a:pt x="2316341" y="6520612"/>
                    </a:lnTo>
                    <a:lnTo>
                      <a:pt x="2351986" y="6520612"/>
                    </a:lnTo>
                    <a:lnTo>
                      <a:pt x="2351986" y="6340655"/>
                    </a:lnTo>
                    <a:cubicBezTo>
                      <a:pt x="2352599" y="6329225"/>
                      <a:pt x="2358388" y="6318778"/>
                      <a:pt x="2367573" y="6312477"/>
                    </a:cubicBezTo>
                    <a:lnTo>
                      <a:pt x="2789191" y="6059930"/>
                    </a:lnTo>
                    <a:cubicBezTo>
                      <a:pt x="2799079" y="6054748"/>
                      <a:pt x="2810730" y="6054748"/>
                      <a:pt x="2820620" y="6059930"/>
                    </a:cubicBezTo>
                    <a:lnTo>
                      <a:pt x="3242236" y="6312477"/>
                    </a:lnTo>
                    <a:cubicBezTo>
                      <a:pt x="3251422" y="6318778"/>
                      <a:pt x="3257209" y="6329225"/>
                      <a:pt x="3257823" y="6340655"/>
                    </a:cubicBezTo>
                    <a:lnTo>
                      <a:pt x="3257823" y="6520612"/>
                    </a:lnTo>
                    <a:lnTo>
                      <a:pt x="3293468" y="6520612"/>
                    </a:lnTo>
                    <a:lnTo>
                      <a:pt x="3293468" y="6340655"/>
                    </a:lnTo>
                    <a:cubicBezTo>
                      <a:pt x="3294068" y="6329186"/>
                      <a:pt x="3299908" y="6318711"/>
                      <a:pt x="3309184" y="6312477"/>
                    </a:cubicBezTo>
                    <a:lnTo>
                      <a:pt x="3730800" y="6059930"/>
                    </a:lnTo>
                    <a:cubicBezTo>
                      <a:pt x="3735616" y="6057220"/>
                      <a:pt x="3741034" y="6055837"/>
                      <a:pt x="3746516" y="6055943"/>
                    </a:cubicBezTo>
                    <a:cubicBezTo>
                      <a:pt x="3751996" y="6055823"/>
                      <a:pt x="3757412" y="6057193"/>
                      <a:pt x="3762229" y="6059930"/>
                    </a:cubicBezTo>
                    <a:lnTo>
                      <a:pt x="4183845" y="6312477"/>
                    </a:lnTo>
                    <a:cubicBezTo>
                      <a:pt x="4193032" y="6318778"/>
                      <a:pt x="4198818" y="6329225"/>
                      <a:pt x="4199431" y="6340655"/>
                    </a:cubicBezTo>
                    <a:lnTo>
                      <a:pt x="4199431" y="6520612"/>
                    </a:lnTo>
                    <a:lnTo>
                      <a:pt x="4235205" y="6520612"/>
                    </a:lnTo>
                    <a:lnTo>
                      <a:pt x="4235205" y="6340655"/>
                    </a:lnTo>
                    <a:cubicBezTo>
                      <a:pt x="4235807" y="6329186"/>
                      <a:pt x="4241645" y="6318711"/>
                      <a:pt x="4250921" y="6312477"/>
                    </a:cubicBezTo>
                    <a:lnTo>
                      <a:pt x="4672537" y="6059930"/>
                    </a:lnTo>
                    <a:cubicBezTo>
                      <a:pt x="4682374" y="6054748"/>
                      <a:pt x="4693999" y="6054748"/>
                      <a:pt x="4703839" y="6059930"/>
                    </a:cubicBezTo>
                    <a:lnTo>
                      <a:pt x="5125457" y="6312477"/>
                    </a:lnTo>
                    <a:cubicBezTo>
                      <a:pt x="5134679" y="6318763"/>
                      <a:pt x="5140506" y="6329211"/>
                      <a:pt x="5141170" y="6340655"/>
                    </a:cubicBezTo>
                    <a:lnTo>
                      <a:pt x="5141170" y="6520612"/>
                    </a:lnTo>
                    <a:lnTo>
                      <a:pt x="5176816" y="6520612"/>
                    </a:lnTo>
                    <a:lnTo>
                      <a:pt x="5176816" y="6340655"/>
                    </a:lnTo>
                    <a:cubicBezTo>
                      <a:pt x="5177416" y="6329186"/>
                      <a:pt x="5183255" y="6318711"/>
                      <a:pt x="5192530" y="6312477"/>
                    </a:cubicBezTo>
                    <a:lnTo>
                      <a:pt x="5614149" y="6059930"/>
                    </a:lnTo>
                    <a:cubicBezTo>
                      <a:pt x="5623986" y="6054748"/>
                      <a:pt x="5635613" y="6054748"/>
                      <a:pt x="5645450" y="6059930"/>
                    </a:cubicBezTo>
                    <a:lnTo>
                      <a:pt x="6067066" y="6312477"/>
                    </a:lnTo>
                    <a:cubicBezTo>
                      <a:pt x="6076292" y="6318763"/>
                      <a:pt x="6082115" y="6329211"/>
                      <a:pt x="6082781" y="6340655"/>
                    </a:cubicBezTo>
                    <a:lnTo>
                      <a:pt x="6082781" y="6520612"/>
                    </a:lnTo>
                    <a:lnTo>
                      <a:pt x="6118426" y="6520612"/>
                    </a:lnTo>
                    <a:lnTo>
                      <a:pt x="6118426" y="6340655"/>
                    </a:lnTo>
                    <a:cubicBezTo>
                      <a:pt x="6119028" y="6329186"/>
                      <a:pt x="6124865" y="6318711"/>
                      <a:pt x="6134142" y="6312477"/>
                    </a:cubicBezTo>
                    <a:lnTo>
                      <a:pt x="6555757" y="6059930"/>
                    </a:lnTo>
                    <a:cubicBezTo>
                      <a:pt x="6565595" y="6054748"/>
                      <a:pt x="6577220" y="6054748"/>
                      <a:pt x="6587058" y="6059930"/>
                    </a:cubicBezTo>
                    <a:lnTo>
                      <a:pt x="7008676" y="6312477"/>
                    </a:lnTo>
                    <a:cubicBezTo>
                      <a:pt x="7017900" y="6318763"/>
                      <a:pt x="7023726" y="6329211"/>
                      <a:pt x="7024389" y="6340655"/>
                    </a:cubicBezTo>
                    <a:lnTo>
                      <a:pt x="7024389" y="6520612"/>
                    </a:lnTo>
                    <a:lnTo>
                      <a:pt x="7060037" y="6520612"/>
                    </a:lnTo>
                    <a:lnTo>
                      <a:pt x="7060037" y="6340655"/>
                    </a:lnTo>
                    <a:cubicBezTo>
                      <a:pt x="7060636" y="6329186"/>
                      <a:pt x="7066474" y="6318711"/>
                      <a:pt x="7075750" y="6312477"/>
                    </a:cubicBezTo>
                    <a:lnTo>
                      <a:pt x="7497366" y="6059930"/>
                    </a:lnTo>
                    <a:lnTo>
                      <a:pt x="7506053" y="6057773"/>
                    </a:lnTo>
                    <a:lnTo>
                      <a:pt x="7506053" y="5433047"/>
                    </a:lnTo>
                    <a:lnTo>
                      <a:pt x="7497111" y="5430825"/>
                    </a:lnTo>
                    <a:lnTo>
                      <a:pt x="7075495" y="5178282"/>
                    </a:lnTo>
                    <a:cubicBezTo>
                      <a:pt x="7066207" y="5172059"/>
                      <a:pt x="7060367" y="5161572"/>
                      <a:pt x="7059779" y="5150103"/>
                    </a:cubicBezTo>
                    <a:lnTo>
                      <a:pt x="7059779" y="4643947"/>
                    </a:lnTo>
                    <a:cubicBezTo>
                      <a:pt x="7060381" y="4632449"/>
                      <a:pt x="7066219" y="4621921"/>
                      <a:pt x="7075495" y="4615635"/>
                    </a:cubicBezTo>
                    <a:lnTo>
                      <a:pt x="7497111" y="4363089"/>
                    </a:lnTo>
                    <a:lnTo>
                      <a:pt x="7506053" y="4360869"/>
                    </a:lnTo>
                    <a:lnTo>
                      <a:pt x="7506053" y="3736340"/>
                    </a:lnTo>
                    <a:lnTo>
                      <a:pt x="7497111" y="3734119"/>
                    </a:lnTo>
                    <a:lnTo>
                      <a:pt x="7075495" y="3481571"/>
                    </a:lnTo>
                    <a:cubicBezTo>
                      <a:pt x="7066258" y="3475311"/>
                      <a:pt x="7060419" y="3464851"/>
                      <a:pt x="7059779" y="3453391"/>
                    </a:cubicBezTo>
                    <a:lnTo>
                      <a:pt x="7059779" y="2947237"/>
                    </a:lnTo>
                    <a:cubicBezTo>
                      <a:pt x="7060381" y="2935740"/>
                      <a:pt x="7066219" y="2925211"/>
                      <a:pt x="7075495" y="2918925"/>
                    </a:cubicBezTo>
                    <a:lnTo>
                      <a:pt x="7497111" y="2666381"/>
                    </a:lnTo>
                    <a:lnTo>
                      <a:pt x="7506053" y="2664159"/>
                    </a:lnTo>
                    <a:lnTo>
                      <a:pt x="7506053" y="2039502"/>
                    </a:lnTo>
                    <a:lnTo>
                      <a:pt x="7497622" y="2037407"/>
                    </a:lnTo>
                    <a:lnTo>
                      <a:pt x="7076006" y="1784863"/>
                    </a:lnTo>
                    <a:cubicBezTo>
                      <a:pt x="7066731" y="1778577"/>
                      <a:pt x="7060893" y="1768048"/>
                      <a:pt x="7060291" y="1756551"/>
                    </a:cubicBezTo>
                    <a:lnTo>
                      <a:pt x="7060291" y="1250262"/>
                    </a:lnTo>
                    <a:cubicBezTo>
                      <a:pt x="7060893" y="1238793"/>
                      <a:pt x="7066731" y="1228319"/>
                      <a:pt x="7076006" y="1222084"/>
                    </a:cubicBezTo>
                    <a:lnTo>
                      <a:pt x="7497622" y="969540"/>
                    </a:lnTo>
                    <a:lnTo>
                      <a:pt x="7506053" y="967445"/>
                    </a:lnTo>
                    <a:lnTo>
                      <a:pt x="7506053" y="342788"/>
                    </a:lnTo>
                    <a:lnTo>
                      <a:pt x="7497111" y="340566"/>
                    </a:lnTo>
                    <a:lnTo>
                      <a:pt x="7075495" y="88021"/>
                    </a:lnTo>
                    <a:cubicBezTo>
                      <a:pt x="7066219" y="81785"/>
                      <a:pt x="7060381" y="71311"/>
                      <a:pt x="7059779" y="59840"/>
                    </a:cubicBezTo>
                    <a:close/>
                  </a:path>
                </a:pathLst>
              </a:custGeom>
              <a:noFill/>
              <a:ln>
                <a:noFill/>
              </a:ln>
            </p:spPr>
          </p:pic>
        </p:grpSp>
        <p:sp>
          <p:nvSpPr>
            <p:cNvPr id="2435" name="Google Shape;2435;p23"/>
            <p:cNvSpPr txBox="1"/>
            <p:nvPr/>
          </p:nvSpPr>
          <p:spPr>
            <a:xfrm flipH="1">
              <a:off x="-6899716" y="4407732"/>
              <a:ext cx="414035" cy="246221"/>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a:solidFill>
                    <a:srgbClr val="555557"/>
                  </a:solidFill>
                  <a:latin typeface="Calibri"/>
                  <a:ea typeface="Calibri"/>
                  <a:cs typeface="Calibri"/>
                  <a:sym typeface="Calibri"/>
                </a:rPr>
                <a:t>Deep learning</a:t>
              </a:r>
              <a:endParaRPr sz="700">
                <a:solidFill>
                  <a:srgbClr val="555557"/>
                </a:solidFill>
                <a:latin typeface="Calibri"/>
                <a:ea typeface="Calibri"/>
                <a:cs typeface="Calibri"/>
                <a:sym typeface="Calibri"/>
              </a:endParaRPr>
            </a:p>
          </p:txBody>
        </p:sp>
        <p:sp>
          <p:nvSpPr>
            <p:cNvPr id="2436" name="Google Shape;2436;p23"/>
            <p:cNvSpPr txBox="1"/>
            <p:nvPr/>
          </p:nvSpPr>
          <p:spPr>
            <a:xfrm flipH="1">
              <a:off x="-7357159" y="4431928"/>
              <a:ext cx="449764" cy="153888"/>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Behavioral guard </a:t>
              </a:r>
              <a:endParaRPr dirty="0">
                <a:latin typeface="Calibri" panose="020F0502020204030204" pitchFamily="34" charset="0"/>
                <a:cs typeface="Calibri" panose="020F0502020204030204" pitchFamily="34" charset="0"/>
              </a:endParaRPr>
            </a:p>
          </p:txBody>
        </p:sp>
        <p:sp>
          <p:nvSpPr>
            <p:cNvPr id="2437" name="Google Shape;2437;p23"/>
            <p:cNvSpPr txBox="1"/>
            <p:nvPr/>
          </p:nvSpPr>
          <p:spPr>
            <a:xfrm flipH="1">
              <a:off x="-6878582" y="3616820"/>
              <a:ext cx="389800"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Anomaly detection</a:t>
              </a:r>
              <a:endParaRPr dirty="0">
                <a:latin typeface="Calibri" panose="020F0502020204030204" pitchFamily="34" charset="0"/>
                <a:cs typeface="Calibri" panose="020F0502020204030204" pitchFamily="34" charset="0"/>
              </a:endParaRPr>
            </a:p>
          </p:txBody>
        </p:sp>
        <p:sp>
          <p:nvSpPr>
            <p:cNvPr id="2438" name="Google Shape;2438;p23"/>
            <p:cNvSpPr txBox="1"/>
            <p:nvPr/>
          </p:nvSpPr>
          <p:spPr>
            <a:xfrm flipH="1">
              <a:off x="-7773761" y="4428648"/>
              <a:ext cx="389800" cy="153888"/>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Zero-phishing</a:t>
              </a:r>
              <a:endParaRPr dirty="0">
                <a:latin typeface="Calibri" panose="020F0502020204030204" pitchFamily="34" charset="0"/>
                <a:cs typeface="Calibri" panose="020F0502020204030204" pitchFamily="34" charset="0"/>
              </a:endParaRPr>
            </a:p>
          </p:txBody>
        </p:sp>
        <p:sp>
          <p:nvSpPr>
            <p:cNvPr id="2439" name="Google Shape;2439;p23"/>
            <p:cNvSpPr txBox="1"/>
            <p:nvPr/>
          </p:nvSpPr>
          <p:spPr>
            <a:xfrm flipH="1">
              <a:off x="-7119412" y="4019435"/>
              <a:ext cx="407704"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Similarity models</a:t>
              </a:r>
              <a:endParaRPr dirty="0">
                <a:latin typeface="Calibri" panose="020F0502020204030204" pitchFamily="34" charset="0"/>
                <a:cs typeface="Calibri" panose="020F0502020204030204" pitchFamily="34" charset="0"/>
              </a:endParaRPr>
            </a:p>
          </p:txBody>
        </p:sp>
        <p:sp>
          <p:nvSpPr>
            <p:cNvPr id="2440" name="Google Shape;2440;p23"/>
            <p:cNvSpPr txBox="1"/>
            <p:nvPr/>
          </p:nvSpPr>
          <p:spPr>
            <a:xfrm flipH="1">
              <a:off x="-7582634" y="4020951"/>
              <a:ext cx="436713"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Malware classifiers</a:t>
              </a:r>
              <a:endParaRPr dirty="0">
                <a:latin typeface="Calibri" panose="020F0502020204030204" pitchFamily="34" charset="0"/>
                <a:cs typeface="Calibri" panose="020F0502020204030204" pitchFamily="34" charset="0"/>
              </a:endParaRPr>
            </a:p>
          </p:txBody>
        </p:sp>
        <p:sp>
          <p:nvSpPr>
            <p:cNvPr id="2441" name="Google Shape;2441;p23"/>
            <p:cNvSpPr txBox="1"/>
            <p:nvPr/>
          </p:nvSpPr>
          <p:spPr>
            <a:xfrm flipH="1">
              <a:off x="-6893907" y="5253617"/>
              <a:ext cx="420450"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Reputation service</a:t>
              </a:r>
              <a:endParaRPr dirty="0">
                <a:latin typeface="Calibri" panose="020F0502020204030204" pitchFamily="34" charset="0"/>
                <a:cs typeface="Calibri" panose="020F0502020204030204" pitchFamily="34" charset="0"/>
              </a:endParaRPr>
            </a:p>
          </p:txBody>
        </p:sp>
        <p:sp>
          <p:nvSpPr>
            <p:cNvPr id="2442" name="Google Shape;2442;p23"/>
            <p:cNvSpPr txBox="1"/>
            <p:nvPr/>
          </p:nvSpPr>
          <p:spPr>
            <a:xfrm flipH="1">
              <a:off x="-7566668" y="4802550"/>
              <a:ext cx="432599" cy="276999"/>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00" dirty="0">
                  <a:solidFill>
                    <a:srgbClr val="555557"/>
                  </a:solidFill>
                  <a:latin typeface="Calibri"/>
                  <a:ea typeface="Calibri"/>
                  <a:cs typeface="Calibri"/>
                  <a:sym typeface="Calibri"/>
                </a:rPr>
                <a:t>Machine-generated intelligence</a:t>
              </a:r>
              <a:endParaRPr dirty="0">
                <a:latin typeface="Calibri" panose="020F0502020204030204" pitchFamily="34" charset="0"/>
                <a:cs typeface="Calibri" panose="020F0502020204030204" pitchFamily="34" charset="0"/>
              </a:endParaRPr>
            </a:p>
          </p:txBody>
        </p:sp>
        <p:sp>
          <p:nvSpPr>
            <p:cNvPr id="2443" name="Google Shape;2443;p23"/>
            <p:cNvSpPr txBox="1"/>
            <p:nvPr/>
          </p:nvSpPr>
          <p:spPr>
            <a:xfrm flipH="1">
              <a:off x="-7140442" y="4806721"/>
              <a:ext cx="449764" cy="276999"/>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00" dirty="0">
                  <a:solidFill>
                    <a:srgbClr val="555557"/>
                  </a:solidFill>
                  <a:latin typeface="Calibri"/>
                  <a:ea typeface="Calibri"/>
                  <a:cs typeface="Calibri"/>
                  <a:sym typeface="Calibri"/>
                </a:rPr>
                <a:t>Machine-generated signatures</a:t>
              </a:r>
              <a:endParaRPr dirty="0">
                <a:latin typeface="Calibri" panose="020F0502020204030204" pitchFamily="34" charset="0"/>
                <a:cs typeface="Calibri" panose="020F0502020204030204" pitchFamily="34" charset="0"/>
              </a:endParaRPr>
            </a:p>
          </p:txBody>
        </p:sp>
        <p:sp>
          <p:nvSpPr>
            <p:cNvPr id="2444" name="Google Shape;2444;p23"/>
            <p:cNvSpPr txBox="1"/>
            <p:nvPr/>
          </p:nvSpPr>
          <p:spPr>
            <a:xfrm flipH="1">
              <a:off x="-7965500" y="4803251"/>
              <a:ext cx="389800"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Behavior analysis</a:t>
              </a:r>
              <a:endParaRPr dirty="0">
                <a:latin typeface="Calibri" panose="020F0502020204030204" pitchFamily="34" charset="0"/>
                <a:cs typeface="Calibri" panose="020F0502020204030204" pitchFamily="34" charset="0"/>
              </a:endParaRPr>
            </a:p>
          </p:txBody>
        </p:sp>
        <p:sp>
          <p:nvSpPr>
            <p:cNvPr id="2445" name="Google Shape;2445;p23"/>
            <p:cNvSpPr txBox="1"/>
            <p:nvPr/>
          </p:nvSpPr>
          <p:spPr>
            <a:xfrm flipH="1">
              <a:off x="-7338290" y="3616820"/>
              <a:ext cx="389800"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Macro analyzer</a:t>
              </a:r>
              <a:endParaRPr dirty="0">
                <a:latin typeface="Calibri" panose="020F0502020204030204" pitchFamily="34" charset="0"/>
                <a:cs typeface="Calibri" panose="020F0502020204030204" pitchFamily="34" charset="0"/>
              </a:endParaRPr>
            </a:p>
          </p:txBody>
        </p:sp>
        <p:sp>
          <p:nvSpPr>
            <p:cNvPr id="2446" name="Google Shape;2446;p23"/>
            <p:cNvSpPr txBox="1"/>
            <p:nvPr/>
          </p:nvSpPr>
          <p:spPr>
            <a:xfrm flipH="1">
              <a:off x="-7353875" y="5253617"/>
              <a:ext cx="420450"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Metadata analyzer</a:t>
              </a:r>
              <a:endParaRPr dirty="0">
                <a:latin typeface="Calibri" panose="020F0502020204030204" pitchFamily="34" charset="0"/>
                <a:cs typeface="Calibri" panose="020F0502020204030204" pitchFamily="34" charset="0"/>
              </a:endParaRPr>
            </a:p>
          </p:txBody>
        </p:sp>
        <p:sp>
          <p:nvSpPr>
            <p:cNvPr id="2447" name="Google Shape;2447;p23"/>
            <p:cNvSpPr txBox="1"/>
            <p:nvPr/>
          </p:nvSpPr>
          <p:spPr>
            <a:xfrm flipH="1">
              <a:off x="-5551383" y="3605988"/>
              <a:ext cx="394967"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Family based signature </a:t>
              </a:r>
              <a:endParaRPr dirty="0">
                <a:latin typeface="Calibri" panose="020F0502020204030204" pitchFamily="34" charset="0"/>
                <a:cs typeface="Calibri" panose="020F0502020204030204" pitchFamily="34" charset="0"/>
              </a:endParaRPr>
            </a:p>
          </p:txBody>
        </p:sp>
        <p:sp>
          <p:nvSpPr>
            <p:cNvPr id="2448" name="Google Shape;2448;p23"/>
            <p:cNvSpPr txBox="1"/>
            <p:nvPr/>
          </p:nvSpPr>
          <p:spPr>
            <a:xfrm flipH="1">
              <a:off x="-5125447" y="3605988"/>
              <a:ext cx="394967"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File Encryption Detection</a:t>
              </a:r>
              <a:endParaRPr dirty="0">
                <a:latin typeface="Calibri" panose="020F0502020204030204" pitchFamily="34" charset="0"/>
                <a:cs typeface="Calibri" panose="020F0502020204030204" pitchFamily="34" charset="0"/>
              </a:endParaRPr>
            </a:p>
          </p:txBody>
        </p:sp>
        <p:sp>
          <p:nvSpPr>
            <p:cNvPr id="2449" name="Google Shape;2449;p23"/>
            <p:cNvSpPr txBox="1"/>
            <p:nvPr/>
          </p:nvSpPr>
          <p:spPr>
            <a:xfrm flipH="1">
              <a:off x="-5339444" y="3995299"/>
              <a:ext cx="402187"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Disc-Encryption Prevention</a:t>
              </a:r>
              <a:endParaRPr dirty="0">
                <a:latin typeface="Calibri" panose="020F0502020204030204" pitchFamily="34" charset="0"/>
                <a:cs typeface="Calibri" panose="020F0502020204030204" pitchFamily="34" charset="0"/>
              </a:endParaRPr>
            </a:p>
          </p:txBody>
        </p:sp>
        <p:sp>
          <p:nvSpPr>
            <p:cNvPr id="2450" name="Google Shape;2450;p23"/>
            <p:cNvSpPr txBox="1"/>
            <p:nvPr/>
          </p:nvSpPr>
          <p:spPr>
            <a:xfrm flipH="1">
              <a:off x="-5778021" y="3980707"/>
              <a:ext cx="373365"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Smart Backup and Restoration</a:t>
              </a:r>
              <a:endParaRPr dirty="0">
                <a:latin typeface="Calibri" panose="020F0502020204030204" pitchFamily="34" charset="0"/>
                <a:cs typeface="Calibri" panose="020F0502020204030204" pitchFamily="34" charset="0"/>
              </a:endParaRPr>
            </a:p>
          </p:txBody>
        </p:sp>
        <p:sp>
          <p:nvSpPr>
            <p:cNvPr id="2451" name="Google Shape;2451;p23"/>
            <p:cNvSpPr txBox="1"/>
            <p:nvPr/>
          </p:nvSpPr>
          <p:spPr>
            <a:xfrm flipH="1">
              <a:off x="-5784283" y="3197706"/>
              <a:ext cx="406279"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500" dirty="0">
                  <a:solidFill>
                    <a:srgbClr val="555557"/>
                  </a:solidFill>
                  <a:latin typeface="Calibri"/>
                  <a:ea typeface="Calibri"/>
                  <a:cs typeface="Calibri"/>
                  <a:sym typeface="Calibri"/>
                </a:rPr>
                <a:t>Automatic Remediation of Zero-Day Malware</a:t>
              </a:r>
              <a:endParaRPr dirty="0">
                <a:latin typeface="Calibri" panose="020F0502020204030204" pitchFamily="34" charset="0"/>
                <a:cs typeface="Calibri" panose="020F0502020204030204" pitchFamily="34" charset="0"/>
              </a:endParaRPr>
            </a:p>
          </p:txBody>
        </p:sp>
        <p:sp>
          <p:nvSpPr>
            <p:cNvPr id="2452" name="Google Shape;2452;p23"/>
            <p:cNvSpPr txBox="1"/>
            <p:nvPr/>
          </p:nvSpPr>
          <p:spPr>
            <a:xfrm flipH="1">
              <a:off x="-5546216" y="4394547"/>
              <a:ext cx="389800" cy="20775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Sandboxing / Threat Emulation</a:t>
              </a:r>
              <a:endParaRPr dirty="0">
                <a:latin typeface="Calibri" panose="020F0502020204030204" pitchFamily="34" charset="0"/>
                <a:cs typeface="Calibri" panose="020F0502020204030204" pitchFamily="34" charset="0"/>
              </a:endParaRPr>
            </a:p>
          </p:txBody>
        </p:sp>
        <p:sp>
          <p:nvSpPr>
            <p:cNvPr id="2453" name="Google Shape;2453;p23"/>
            <p:cNvSpPr txBox="1"/>
            <p:nvPr/>
          </p:nvSpPr>
          <p:spPr>
            <a:xfrm flipH="1">
              <a:off x="-6424290" y="4416088"/>
              <a:ext cx="416085" cy="21544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Threat Extraction</a:t>
              </a:r>
              <a:endParaRPr dirty="0">
                <a:latin typeface="Calibri" panose="020F0502020204030204" pitchFamily="34" charset="0"/>
                <a:cs typeface="Calibri" panose="020F0502020204030204" pitchFamily="34" charset="0"/>
              </a:endParaRPr>
            </a:p>
          </p:txBody>
        </p:sp>
        <p:sp>
          <p:nvSpPr>
            <p:cNvPr id="2454" name="Google Shape;2454;p23"/>
            <p:cNvSpPr txBox="1"/>
            <p:nvPr/>
          </p:nvSpPr>
          <p:spPr>
            <a:xfrm flipH="1">
              <a:off x="-5988776" y="3605988"/>
              <a:ext cx="389800" cy="20775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Browser Extension Malicious JS</a:t>
              </a:r>
              <a:endParaRPr dirty="0">
                <a:latin typeface="Calibri" panose="020F0502020204030204" pitchFamily="34" charset="0"/>
                <a:cs typeface="Calibri" panose="020F0502020204030204" pitchFamily="34" charset="0"/>
              </a:endParaRPr>
            </a:p>
          </p:txBody>
        </p:sp>
        <p:sp>
          <p:nvSpPr>
            <p:cNvPr id="2455" name="Google Shape;2455;p23"/>
            <p:cNvSpPr txBox="1"/>
            <p:nvPr/>
          </p:nvSpPr>
          <p:spPr>
            <a:xfrm flipH="1">
              <a:off x="-4895282" y="3996055"/>
              <a:ext cx="389800" cy="20775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Dynamic Analysis of executables</a:t>
              </a:r>
              <a:endParaRPr dirty="0">
                <a:latin typeface="Calibri" panose="020F0502020204030204" pitchFamily="34" charset="0"/>
                <a:cs typeface="Calibri" panose="020F0502020204030204" pitchFamily="34" charset="0"/>
              </a:endParaRPr>
            </a:p>
          </p:txBody>
        </p:sp>
        <p:sp>
          <p:nvSpPr>
            <p:cNvPr id="2456" name="Google Shape;2456;p23"/>
            <p:cNvSpPr txBox="1"/>
            <p:nvPr/>
          </p:nvSpPr>
          <p:spPr>
            <a:xfrm flipH="1">
              <a:off x="-5134957" y="4399707"/>
              <a:ext cx="433330"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On-Device Anti-Bot engine</a:t>
              </a:r>
              <a:endParaRPr dirty="0">
                <a:latin typeface="Calibri" panose="020F0502020204030204" pitchFamily="34" charset="0"/>
                <a:cs typeface="Calibri" panose="020F0502020204030204" pitchFamily="34" charset="0"/>
              </a:endParaRPr>
            </a:p>
          </p:txBody>
        </p:sp>
        <p:sp>
          <p:nvSpPr>
            <p:cNvPr id="2457" name="Google Shape;2457;p23"/>
            <p:cNvSpPr txBox="1"/>
            <p:nvPr/>
          </p:nvSpPr>
          <p:spPr>
            <a:xfrm flipH="1">
              <a:off x="-5989007" y="4376010"/>
              <a:ext cx="351504" cy="276999"/>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File-less attack detection engine</a:t>
              </a:r>
              <a:endParaRPr dirty="0">
                <a:latin typeface="Calibri" panose="020F0502020204030204" pitchFamily="34" charset="0"/>
                <a:cs typeface="Calibri" panose="020F0502020204030204" pitchFamily="34" charset="0"/>
              </a:endParaRPr>
            </a:p>
          </p:txBody>
        </p:sp>
        <p:sp>
          <p:nvSpPr>
            <p:cNvPr id="2458" name="Google Shape;2458;p23"/>
            <p:cNvSpPr txBox="1"/>
            <p:nvPr/>
          </p:nvSpPr>
          <p:spPr>
            <a:xfrm flipH="1">
              <a:off x="-5745098" y="4758651"/>
              <a:ext cx="342641" cy="249305"/>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600" dirty="0">
                  <a:solidFill>
                    <a:srgbClr val="555557"/>
                  </a:solidFill>
                  <a:latin typeface="Calibri"/>
                  <a:ea typeface="Calibri"/>
                  <a:cs typeface="Calibri"/>
                  <a:sym typeface="Calibri"/>
                </a:rPr>
                <a:t>Anti-Evasion engine</a:t>
              </a:r>
              <a:endParaRPr dirty="0">
                <a:latin typeface="Calibri" panose="020F0502020204030204" pitchFamily="34" charset="0"/>
                <a:cs typeface="Calibri" panose="020F0502020204030204" pitchFamily="34" charset="0"/>
              </a:endParaRPr>
            </a:p>
          </p:txBody>
        </p:sp>
        <p:sp>
          <p:nvSpPr>
            <p:cNvPr id="2459" name="Google Shape;2459;p23"/>
            <p:cNvSpPr txBox="1"/>
            <p:nvPr/>
          </p:nvSpPr>
          <p:spPr>
            <a:xfrm flipH="1">
              <a:off x="-6238955" y="4794581"/>
              <a:ext cx="412938" cy="193904"/>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700" dirty="0">
                  <a:solidFill>
                    <a:srgbClr val="555557"/>
                  </a:solidFill>
                  <a:latin typeface="Calibri"/>
                  <a:ea typeface="Calibri"/>
                  <a:cs typeface="Calibri"/>
                  <a:sym typeface="Calibri"/>
                </a:rPr>
                <a:t>Forensics report</a:t>
              </a:r>
              <a:endParaRPr dirty="0">
                <a:latin typeface="Calibri" panose="020F0502020204030204" pitchFamily="34" charset="0"/>
                <a:cs typeface="Calibri" panose="020F0502020204030204" pitchFamily="34" charset="0"/>
              </a:endParaRPr>
            </a:p>
          </p:txBody>
        </p:sp>
      </p:gr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10035" y="2421929"/>
            <a:ext cx="1726657" cy="1726657"/>
          </a:xfrm>
          <a:prstGeom prst="rect">
            <a:avLst/>
          </a:prstGeom>
        </p:spPr>
      </p:pic>
    </p:spTree>
    <p:extLst>
      <p:ext uri="{BB962C8B-B14F-4D97-AF65-F5344CB8AC3E}">
        <p14:creationId xmlns:p14="http://schemas.microsoft.com/office/powerpoint/2010/main" val="17104233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871"/>
        <p:cNvGrpSpPr/>
        <p:nvPr/>
      </p:nvGrpSpPr>
      <p:grpSpPr>
        <a:xfrm>
          <a:off x="0" y="0"/>
          <a:ext cx="0" cy="0"/>
          <a:chOff x="0" y="0"/>
          <a:chExt cx="0" cy="0"/>
        </a:xfrm>
      </p:grpSpPr>
      <p:pic>
        <p:nvPicPr>
          <p:cNvPr id="4872" name="Google Shape;4872;p31" descr="A picture containing comb&#10;&#10;Description automatically generated"/>
          <p:cNvPicPr preferRelativeResize="0"/>
          <p:nvPr/>
        </p:nvPicPr>
        <p:blipFill rotWithShape="1">
          <a:blip r:embed="rId3" cstate="print">
            <a:alphaModFix amt="20000"/>
            <a:extLst>
              <a:ext uri="{28A0092B-C50C-407E-A947-70E740481C1C}">
                <a14:useLocalDpi xmlns:a14="http://schemas.microsoft.com/office/drawing/2010/main"/>
              </a:ext>
            </a:extLst>
          </a:blip>
          <a:srcRect/>
          <a:stretch/>
        </p:blipFill>
        <p:spPr>
          <a:xfrm flipH="1">
            <a:off x="-60584" y="5768682"/>
            <a:ext cx="3269010" cy="749942"/>
          </a:xfrm>
          <a:prstGeom prst="rect">
            <a:avLst/>
          </a:prstGeom>
          <a:noFill/>
          <a:ln>
            <a:noFill/>
          </a:ln>
        </p:spPr>
      </p:pic>
      <p:sp>
        <p:nvSpPr>
          <p:cNvPr id="4874" name="Google Shape;4874;p31"/>
          <p:cNvSpPr/>
          <p:nvPr/>
        </p:nvSpPr>
        <p:spPr>
          <a:xfrm>
            <a:off x="7962026" y="-87316"/>
            <a:ext cx="3740254" cy="6945316"/>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a:solidFill>
                <a:schemeClr val="dk1"/>
              </a:solidFill>
              <a:latin typeface="Calibri"/>
              <a:ea typeface="Calibri"/>
              <a:cs typeface="Calibri"/>
              <a:sym typeface="Calibri"/>
            </a:endParaRPr>
          </a:p>
        </p:txBody>
      </p:sp>
      <p:cxnSp>
        <p:nvCxnSpPr>
          <p:cNvPr id="4877" name="Google Shape;4877;p31"/>
          <p:cNvCxnSpPr/>
          <p:nvPr/>
        </p:nvCxnSpPr>
        <p:spPr>
          <a:xfrm>
            <a:off x="8213724" y="3213100"/>
            <a:ext cx="1080000" cy="0"/>
          </a:xfrm>
          <a:prstGeom prst="straightConnector1">
            <a:avLst/>
          </a:prstGeom>
          <a:solidFill>
            <a:schemeClr val="lt1"/>
          </a:solidFill>
          <a:ln w="12700" cap="rnd" cmpd="sng">
            <a:solidFill>
              <a:srgbClr val="F360A1"/>
            </a:solidFill>
            <a:prstDash val="solid"/>
            <a:round/>
            <a:headEnd type="none" w="sm" len="sm"/>
            <a:tailEnd type="none" w="sm" len="sm"/>
          </a:ln>
        </p:spPr>
      </p:cxnSp>
      <p:sp>
        <p:nvSpPr>
          <p:cNvPr id="4878" name="Google Shape;4878;p31"/>
          <p:cNvSpPr/>
          <p:nvPr/>
        </p:nvSpPr>
        <p:spPr>
          <a:xfrm>
            <a:off x="8205418" y="3327684"/>
            <a:ext cx="2708941" cy="1522840"/>
          </a:xfrm>
          <a:custGeom>
            <a:avLst/>
            <a:gdLst/>
            <a:ahLst/>
            <a:cxnLst/>
            <a:rect l="l" t="t" r="r" b="b"/>
            <a:pathLst>
              <a:path w="120000" h="120000" extrusionOk="0">
                <a:moveTo>
                  <a:pt x="0" y="0"/>
                </a:moveTo>
                <a:lnTo>
                  <a:pt x="120000" y="0"/>
                </a:lnTo>
                <a:lnTo>
                  <a:pt x="120000" y="120000"/>
                </a:lnTo>
                <a:lnTo>
                  <a:pt x="0" y="120000"/>
                </a:lnTo>
                <a:close/>
              </a:path>
              <a:path w="120000" h="120000" fill="none" extrusionOk="0">
                <a:moveTo>
                  <a:pt x="111040" y="118432"/>
                </a:moveTo>
                <a:lnTo>
                  <a:pt x="87289" y="99984"/>
                </a:lnTo>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lt1"/>
              </a:buClr>
              <a:buSzPts val="4000"/>
              <a:buFont typeface="Noto Sans Symbols"/>
              <a:buNone/>
            </a:pPr>
            <a:r>
              <a:rPr lang="en-US" sz="4400" dirty="0">
                <a:solidFill>
                  <a:schemeClr val="lt1"/>
                </a:solidFill>
                <a:latin typeface="+mj-lt"/>
                <a:cs typeface="Calibri" panose="020F0502020204030204" pitchFamily="34" charset="0"/>
              </a:rPr>
              <a:t>Harmony in Action </a:t>
            </a:r>
            <a:endParaRPr sz="1600" dirty="0">
              <a:latin typeface="+mj-lt"/>
              <a:cs typeface="Calibri" panose="020F0502020204030204" pitchFamily="34" charset="0"/>
            </a:endParaRPr>
          </a:p>
        </p:txBody>
      </p:sp>
      <p:pic>
        <p:nvPicPr>
          <p:cNvPr id="4879" name="Google Shape;4879;p31" descr="A picture containing comb&#10;&#10;Description automatically generated"/>
          <p:cNvPicPr preferRelativeResize="0"/>
          <p:nvPr/>
        </p:nvPicPr>
        <p:blipFill rotWithShape="1">
          <a:blip r:embed="rId4">
            <a:alphaModFix amt="20000"/>
          </a:blip>
          <a:srcRect/>
          <a:stretch/>
        </p:blipFill>
        <p:spPr>
          <a:xfrm flipH="1">
            <a:off x="-31452" y="-531921"/>
            <a:ext cx="3269010" cy="1372232"/>
          </a:xfrm>
          <a:prstGeom prst="rect">
            <a:avLst/>
          </a:prstGeom>
          <a:noFill/>
          <a:ln>
            <a:noFill/>
          </a:ln>
        </p:spPr>
      </p:pic>
      <p:grpSp>
        <p:nvGrpSpPr>
          <p:cNvPr id="4880" name="Google Shape;4880;p31"/>
          <p:cNvGrpSpPr/>
          <p:nvPr/>
        </p:nvGrpSpPr>
        <p:grpSpPr>
          <a:xfrm>
            <a:off x="231697" y="1309284"/>
            <a:ext cx="1394096" cy="1394096"/>
            <a:chOff x="1963664" y="562167"/>
            <a:chExt cx="1394096" cy="1394096"/>
          </a:xfrm>
        </p:grpSpPr>
        <p:pic>
          <p:nvPicPr>
            <p:cNvPr id="4881" name="Google Shape;4881;p31"/>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1963664" y="562167"/>
              <a:ext cx="1394096" cy="1394096"/>
            </a:xfrm>
            <a:prstGeom prst="rect">
              <a:avLst/>
            </a:prstGeom>
            <a:noFill/>
            <a:ln>
              <a:noFill/>
            </a:ln>
          </p:spPr>
        </p:pic>
        <p:grpSp>
          <p:nvGrpSpPr>
            <p:cNvPr id="4882" name="Google Shape;4882;p31"/>
            <p:cNvGrpSpPr/>
            <p:nvPr/>
          </p:nvGrpSpPr>
          <p:grpSpPr>
            <a:xfrm>
              <a:off x="2118119" y="963849"/>
              <a:ext cx="1059556" cy="622466"/>
              <a:chOff x="2118119" y="963849"/>
              <a:chExt cx="1059556" cy="622466"/>
            </a:xfrm>
          </p:grpSpPr>
          <p:grpSp>
            <p:nvGrpSpPr>
              <p:cNvPr id="4883" name="Google Shape;4883;p31"/>
              <p:cNvGrpSpPr/>
              <p:nvPr/>
            </p:nvGrpSpPr>
            <p:grpSpPr>
              <a:xfrm>
                <a:off x="2879113" y="1293101"/>
                <a:ext cx="298562" cy="293214"/>
                <a:chOff x="3427133" y="4089255"/>
                <a:chExt cx="720001" cy="720000"/>
              </a:xfrm>
            </p:grpSpPr>
            <p:sp>
              <p:nvSpPr>
                <p:cNvPr id="4884" name="Google Shape;4884;p31"/>
                <p:cNvSpPr/>
                <p:nvPr/>
              </p:nvSpPr>
              <p:spPr>
                <a:xfrm>
                  <a:off x="3427133" y="4089255"/>
                  <a:ext cx="720001" cy="720000"/>
                </a:xfrm>
                <a:custGeom>
                  <a:avLst/>
                  <a:gdLst/>
                  <a:ahLst/>
                  <a:cxnLst/>
                  <a:rect l="l" t="t" r="r" b="b"/>
                  <a:pathLst>
                    <a:path w="720000" h="720000" extrusionOk="0">
                      <a:moveTo>
                        <a:pt x="720000" y="360000"/>
                      </a:moveTo>
                      <a:cubicBezTo>
                        <a:pt x="720000" y="558823"/>
                        <a:pt x="558823" y="720000"/>
                        <a:pt x="360000" y="720000"/>
                      </a:cubicBezTo>
                      <a:cubicBezTo>
                        <a:pt x="161177" y="720000"/>
                        <a:pt x="0" y="558823"/>
                        <a:pt x="0" y="360000"/>
                      </a:cubicBezTo>
                      <a:cubicBezTo>
                        <a:pt x="0" y="161177"/>
                        <a:pt x="161177" y="0"/>
                        <a:pt x="360000" y="0"/>
                      </a:cubicBezTo>
                      <a:cubicBezTo>
                        <a:pt x="558823" y="0"/>
                        <a:pt x="720000" y="161177"/>
                        <a:pt x="720000" y="360000"/>
                      </a:cubicBezTo>
                      <a:close/>
                    </a:path>
                  </a:pathLst>
                </a:custGeom>
                <a:solidFill>
                  <a:srgbClr val="827DDC"/>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nvGrpSpPr>
                <p:cNvPr id="4885" name="Google Shape;4885;p31"/>
                <p:cNvGrpSpPr/>
                <p:nvPr/>
              </p:nvGrpSpPr>
              <p:grpSpPr>
                <a:xfrm>
                  <a:off x="3558095" y="4250843"/>
                  <a:ext cx="458079" cy="391201"/>
                  <a:chOff x="3558095" y="4250843"/>
                  <a:chExt cx="458079" cy="391201"/>
                </a:xfrm>
              </p:grpSpPr>
              <p:sp>
                <p:nvSpPr>
                  <p:cNvPr id="4886" name="Google Shape;4886;p31"/>
                  <p:cNvSpPr/>
                  <p:nvPr/>
                </p:nvSpPr>
                <p:spPr>
                  <a:xfrm>
                    <a:off x="3558095" y="4250843"/>
                    <a:ext cx="243966" cy="391201"/>
                  </a:xfrm>
                  <a:custGeom>
                    <a:avLst/>
                    <a:gdLst/>
                    <a:ahLst/>
                    <a:cxnLst/>
                    <a:rect l="l" t="t" r="r" b="b"/>
                    <a:pathLst>
                      <a:path w="243964" h="391201" extrusionOk="0">
                        <a:moveTo>
                          <a:pt x="0" y="348400"/>
                        </a:moveTo>
                        <a:lnTo>
                          <a:pt x="243965" y="391202"/>
                        </a:lnTo>
                        <a:lnTo>
                          <a:pt x="243965" y="0"/>
                        </a:lnTo>
                        <a:lnTo>
                          <a:pt x="0" y="42802"/>
                        </a:lnTo>
                        <a:close/>
                      </a:path>
                    </a:pathLst>
                  </a:custGeom>
                  <a:solidFill>
                    <a:srgbClr val="302C8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87" name="Google Shape;4887;p31"/>
                  <p:cNvSpPr/>
                  <p:nvPr/>
                </p:nvSpPr>
                <p:spPr>
                  <a:xfrm>
                    <a:off x="3819625" y="4408157"/>
                    <a:ext cx="86485" cy="180857"/>
                  </a:xfrm>
                  <a:custGeom>
                    <a:avLst/>
                    <a:gdLst/>
                    <a:ahLst/>
                    <a:cxnLst/>
                    <a:rect l="l" t="t" r="r" b="b"/>
                    <a:pathLst>
                      <a:path w="86485" h="180857" extrusionOk="0">
                        <a:moveTo>
                          <a:pt x="1" y="169066"/>
                        </a:moveTo>
                        <a:cubicBezTo>
                          <a:pt x="9121" y="176437"/>
                          <a:pt x="20722" y="180858"/>
                          <a:pt x="33360" y="180858"/>
                        </a:cubicBezTo>
                        <a:cubicBezTo>
                          <a:pt x="62700" y="180858"/>
                          <a:pt x="86486" y="157073"/>
                          <a:pt x="86486" y="127733"/>
                        </a:cubicBezTo>
                        <a:lnTo>
                          <a:pt x="86486" y="0"/>
                        </a:lnTo>
                        <a:lnTo>
                          <a:pt x="0" y="0"/>
                        </a:lnTo>
                        <a:lnTo>
                          <a:pt x="1" y="169066"/>
                        </a:lnTo>
                        <a:lnTo>
                          <a:pt x="1" y="169066"/>
                        </a:lnTo>
                        <a:close/>
                      </a:path>
                    </a:pathLst>
                  </a:custGeom>
                  <a:solidFill>
                    <a:srgbClr val="302C8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88" name="Google Shape;4888;p31"/>
                  <p:cNvSpPr/>
                  <p:nvPr/>
                </p:nvSpPr>
                <p:spPr>
                  <a:xfrm>
                    <a:off x="3819626" y="4303868"/>
                    <a:ext cx="75569" cy="84419"/>
                  </a:xfrm>
                  <a:custGeom>
                    <a:avLst/>
                    <a:gdLst/>
                    <a:ahLst/>
                    <a:cxnLst/>
                    <a:rect l="l" t="t" r="r" b="b"/>
                    <a:pathLst>
                      <a:path w="75569" h="84419" extrusionOk="0">
                        <a:moveTo>
                          <a:pt x="33359" y="84420"/>
                        </a:moveTo>
                        <a:cubicBezTo>
                          <a:pt x="56670" y="84420"/>
                          <a:pt x="75569" y="65523"/>
                          <a:pt x="75569" y="42210"/>
                        </a:cubicBezTo>
                        <a:cubicBezTo>
                          <a:pt x="75569" y="18899"/>
                          <a:pt x="56672" y="0"/>
                          <a:pt x="33359" y="0"/>
                        </a:cubicBezTo>
                        <a:cubicBezTo>
                          <a:pt x="19787" y="0"/>
                          <a:pt x="7720" y="6412"/>
                          <a:pt x="0" y="16365"/>
                        </a:cubicBezTo>
                        <a:lnTo>
                          <a:pt x="0" y="68055"/>
                        </a:lnTo>
                        <a:cubicBezTo>
                          <a:pt x="7722" y="78009"/>
                          <a:pt x="19787" y="84420"/>
                          <a:pt x="33359" y="84420"/>
                        </a:cubicBezTo>
                        <a:close/>
                      </a:path>
                    </a:pathLst>
                  </a:custGeom>
                  <a:solidFill>
                    <a:srgbClr val="302C8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89" name="Google Shape;4889;p31"/>
                  <p:cNvSpPr/>
                  <p:nvPr/>
                </p:nvSpPr>
                <p:spPr>
                  <a:xfrm>
                    <a:off x="3923582" y="4435525"/>
                    <a:ext cx="92592" cy="131374"/>
                  </a:xfrm>
                  <a:custGeom>
                    <a:avLst/>
                    <a:gdLst/>
                    <a:ahLst/>
                    <a:cxnLst/>
                    <a:rect l="l" t="t" r="r" b="b"/>
                    <a:pathLst>
                      <a:path w="92592" h="131374" extrusionOk="0">
                        <a:moveTo>
                          <a:pt x="91732" y="0"/>
                        </a:moveTo>
                        <a:lnTo>
                          <a:pt x="0" y="0"/>
                        </a:lnTo>
                        <a:lnTo>
                          <a:pt x="0" y="112829"/>
                        </a:lnTo>
                        <a:cubicBezTo>
                          <a:pt x="9643" y="124177"/>
                          <a:pt x="24013" y="131375"/>
                          <a:pt x="40053" y="131375"/>
                        </a:cubicBezTo>
                        <a:cubicBezTo>
                          <a:pt x="54089" y="131375"/>
                          <a:pt x="67538" y="125761"/>
                          <a:pt x="77407" y="115784"/>
                        </a:cubicBezTo>
                        <a:cubicBezTo>
                          <a:pt x="87276" y="105806"/>
                          <a:pt x="92742" y="92295"/>
                          <a:pt x="92589" y="78263"/>
                        </a:cubicBezTo>
                        <a:lnTo>
                          <a:pt x="91732" y="0"/>
                        </a:lnTo>
                        <a:close/>
                      </a:path>
                    </a:pathLst>
                  </a:custGeom>
                  <a:solidFill>
                    <a:srgbClr val="302C8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0" name="Google Shape;4890;p31"/>
                  <p:cNvSpPr/>
                  <p:nvPr/>
                </p:nvSpPr>
                <p:spPr>
                  <a:xfrm>
                    <a:off x="3921025" y="4332370"/>
                    <a:ext cx="83497" cy="83497"/>
                  </a:xfrm>
                  <a:custGeom>
                    <a:avLst/>
                    <a:gdLst/>
                    <a:ahLst/>
                    <a:cxnLst/>
                    <a:rect l="l" t="t" r="r" b="b"/>
                    <a:pathLst>
                      <a:path w="83497" h="83497" extrusionOk="0">
                        <a:moveTo>
                          <a:pt x="83498" y="41749"/>
                        </a:moveTo>
                        <a:cubicBezTo>
                          <a:pt x="83498" y="64806"/>
                          <a:pt x="64806" y="83498"/>
                          <a:pt x="41749" y="83498"/>
                        </a:cubicBezTo>
                        <a:cubicBezTo>
                          <a:pt x="18692" y="83498"/>
                          <a:pt x="0" y="64806"/>
                          <a:pt x="0" y="41749"/>
                        </a:cubicBezTo>
                        <a:cubicBezTo>
                          <a:pt x="0" y="18692"/>
                          <a:pt x="18692" y="0"/>
                          <a:pt x="41749" y="0"/>
                        </a:cubicBezTo>
                        <a:cubicBezTo>
                          <a:pt x="64806" y="0"/>
                          <a:pt x="83498" y="18692"/>
                          <a:pt x="83498" y="41749"/>
                        </a:cubicBezTo>
                        <a:close/>
                      </a:path>
                    </a:pathLst>
                  </a:custGeom>
                  <a:solidFill>
                    <a:srgbClr val="302C8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sp>
              <p:nvSpPr>
                <p:cNvPr id="4891" name="Google Shape;4891;p31"/>
                <p:cNvSpPr/>
                <p:nvPr/>
              </p:nvSpPr>
              <p:spPr>
                <a:xfrm>
                  <a:off x="3633436" y="4380859"/>
                  <a:ext cx="94751" cy="128174"/>
                </a:xfrm>
                <a:custGeom>
                  <a:avLst/>
                  <a:gdLst/>
                  <a:ahLst/>
                  <a:cxnLst/>
                  <a:rect l="l" t="t" r="r" b="b"/>
                  <a:pathLst>
                    <a:path w="94751" h="128174" extrusionOk="0">
                      <a:moveTo>
                        <a:pt x="94752" y="21843"/>
                      </a:moveTo>
                      <a:lnTo>
                        <a:pt x="58358" y="21843"/>
                      </a:lnTo>
                      <a:lnTo>
                        <a:pt x="58358" y="128174"/>
                      </a:lnTo>
                      <a:lnTo>
                        <a:pt x="36394" y="128174"/>
                      </a:lnTo>
                      <a:lnTo>
                        <a:pt x="36394" y="21843"/>
                      </a:lnTo>
                      <a:lnTo>
                        <a:pt x="0" y="21843"/>
                      </a:lnTo>
                      <a:lnTo>
                        <a:pt x="0" y="0"/>
                      </a:lnTo>
                      <a:lnTo>
                        <a:pt x="94750" y="0"/>
                      </a:lnTo>
                      <a:lnTo>
                        <a:pt x="94750" y="21843"/>
                      </a:lnTo>
                      <a:lnTo>
                        <a:pt x="94752" y="21843"/>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grpSp>
            <p:nvGrpSpPr>
              <p:cNvPr id="4892" name="Google Shape;4892;p31"/>
              <p:cNvGrpSpPr/>
              <p:nvPr/>
            </p:nvGrpSpPr>
            <p:grpSpPr>
              <a:xfrm>
                <a:off x="2118119" y="1291481"/>
                <a:ext cx="298562" cy="293214"/>
                <a:chOff x="1824093" y="4122995"/>
                <a:chExt cx="720000" cy="720000"/>
              </a:xfrm>
            </p:grpSpPr>
            <p:sp>
              <p:nvSpPr>
                <p:cNvPr id="4893" name="Google Shape;4893;p31"/>
                <p:cNvSpPr/>
                <p:nvPr/>
              </p:nvSpPr>
              <p:spPr>
                <a:xfrm>
                  <a:off x="1824093" y="4122995"/>
                  <a:ext cx="720000" cy="720000"/>
                </a:xfrm>
                <a:custGeom>
                  <a:avLst/>
                  <a:gdLst/>
                  <a:ahLst/>
                  <a:cxnLst/>
                  <a:rect l="l" t="t" r="r" b="b"/>
                  <a:pathLst>
                    <a:path w="720000" h="720000" extrusionOk="0">
                      <a:moveTo>
                        <a:pt x="720000" y="360000"/>
                      </a:moveTo>
                      <a:cubicBezTo>
                        <a:pt x="720000" y="558823"/>
                        <a:pt x="558823" y="720000"/>
                        <a:pt x="360000" y="720000"/>
                      </a:cubicBezTo>
                      <a:cubicBezTo>
                        <a:pt x="161177" y="720000"/>
                        <a:pt x="0" y="558823"/>
                        <a:pt x="0" y="360000"/>
                      </a:cubicBezTo>
                      <a:cubicBezTo>
                        <a:pt x="0" y="161177"/>
                        <a:pt x="161177" y="0"/>
                        <a:pt x="360000" y="0"/>
                      </a:cubicBezTo>
                      <a:cubicBezTo>
                        <a:pt x="558823" y="0"/>
                        <a:pt x="720000" y="161177"/>
                        <a:pt x="720000" y="360000"/>
                      </a:cubicBezTo>
                      <a:close/>
                    </a:path>
                  </a:pathLst>
                </a:custGeom>
                <a:solidFill>
                  <a:srgbClr val="4E85E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4" name="Google Shape;4894;p31"/>
                <p:cNvSpPr/>
                <p:nvPr/>
              </p:nvSpPr>
              <p:spPr>
                <a:xfrm>
                  <a:off x="1978033" y="4439226"/>
                  <a:ext cx="195570" cy="144193"/>
                </a:xfrm>
                <a:custGeom>
                  <a:avLst/>
                  <a:gdLst/>
                  <a:ahLst/>
                  <a:cxnLst/>
                  <a:rect l="l" t="t" r="r" b="b"/>
                  <a:pathLst>
                    <a:path w="195570" h="144193" extrusionOk="0">
                      <a:moveTo>
                        <a:pt x="191234" y="69625"/>
                      </a:moveTo>
                      <a:lnTo>
                        <a:pt x="85609" y="1511"/>
                      </a:lnTo>
                      <a:cubicBezTo>
                        <a:pt x="82181" y="-700"/>
                        <a:pt x="77723" y="-465"/>
                        <a:pt x="74545" y="2090"/>
                      </a:cubicBezTo>
                      <a:lnTo>
                        <a:pt x="3532" y="59237"/>
                      </a:lnTo>
                      <a:cubicBezTo>
                        <a:pt x="-1498" y="63283"/>
                        <a:pt x="-1089" y="71068"/>
                        <a:pt x="4336" y="74568"/>
                      </a:cubicBezTo>
                      <a:lnTo>
                        <a:pt x="109961" y="142683"/>
                      </a:lnTo>
                      <a:cubicBezTo>
                        <a:pt x="113389" y="144893"/>
                        <a:pt x="117847" y="144658"/>
                        <a:pt x="121025" y="142103"/>
                      </a:cubicBezTo>
                      <a:lnTo>
                        <a:pt x="192038" y="84956"/>
                      </a:lnTo>
                      <a:cubicBezTo>
                        <a:pt x="197068" y="80907"/>
                        <a:pt x="196659" y="73124"/>
                        <a:pt x="191234" y="6962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5" name="Google Shape;4895;p31"/>
                <p:cNvSpPr/>
                <p:nvPr/>
              </p:nvSpPr>
              <p:spPr>
                <a:xfrm>
                  <a:off x="2194582" y="4439225"/>
                  <a:ext cx="195570" cy="144192"/>
                </a:xfrm>
                <a:custGeom>
                  <a:avLst/>
                  <a:gdLst/>
                  <a:ahLst/>
                  <a:cxnLst/>
                  <a:rect l="l" t="t" r="r" b="b"/>
                  <a:pathLst>
                    <a:path w="195570" h="144192" extrusionOk="0">
                      <a:moveTo>
                        <a:pt x="3532" y="84957"/>
                      </a:moveTo>
                      <a:lnTo>
                        <a:pt x="74545" y="142101"/>
                      </a:lnTo>
                      <a:cubicBezTo>
                        <a:pt x="77723" y="144659"/>
                        <a:pt x="82181" y="144891"/>
                        <a:pt x="85609" y="142681"/>
                      </a:cubicBezTo>
                      <a:lnTo>
                        <a:pt x="191234" y="74566"/>
                      </a:lnTo>
                      <a:cubicBezTo>
                        <a:pt x="196659" y="71067"/>
                        <a:pt x="197068" y="63284"/>
                        <a:pt x="192038" y="59235"/>
                      </a:cubicBezTo>
                      <a:lnTo>
                        <a:pt x="121025" y="2091"/>
                      </a:lnTo>
                      <a:cubicBezTo>
                        <a:pt x="117847" y="-467"/>
                        <a:pt x="113389" y="-699"/>
                        <a:pt x="109961" y="1511"/>
                      </a:cubicBezTo>
                      <a:lnTo>
                        <a:pt x="4336" y="69626"/>
                      </a:lnTo>
                      <a:cubicBezTo>
                        <a:pt x="-1089" y="73125"/>
                        <a:pt x="-1498" y="80908"/>
                        <a:pt x="3532" y="84957"/>
                      </a:cubicBezTo>
                      <a:close/>
                    </a:path>
                  </a:pathLst>
                </a:custGeom>
                <a:solidFill>
                  <a:srgbClr val="D1D1D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6" name="Google Shape;4896;p31"/>
                <p:cNvSpPr/>
                <p:nvPr/>
              </p:nvSpPr>
              <p:spPr>
                <a:xfrm>
                  <a:off x="1978033" y="4286069"/>
                  <a:ext cx="195570" cy="144192"/>
                </a:xfrm>
                <a:custGeom>
                  <a:avLst/>
                  <a:gdLst/>
                  <a:ahLst/>
                  <a:cxnLst/>
                  <a:rect l="l" t="t" r="r" b="b"/>
                  <a:pathLst>
                    <a:path w="195570" h="144192" extrusionOk="0">
                      <a:moveTo>
                        <a:pt x="192038" y="59235"/>
                      </a:moveTo>
                      <a:lnTo>
                        <a:pt x="121025" y="2091"/>
                      </a:lnTo>
                      <a:cubicBezTo>
                        <a:pt x="117847" y="-467"/>
                        <a:pt x="113389" y="-699"/>
                        <a:pt x="109961" y="1511"/>
                      </a:cubicBezTo>
                      <a:lnTo>
                        <a:pt x="4336" y="69626"/>
                      </a:lnTo>
                      <a:cubicBezTo>
                        <a:pt x="-1089" y="73125"/>
                        <a:pt x="-1498" y="80908"/>
                        <a:pt x="3532" y="84957"/>
                      </a:cubicBezTo>
                      <a:lnTo>
                        <a:pt x="74545" y="142101"/>
                      </a:lnTo>
                      <a:cubicBezTo>
                        <a:pt x="77723" y="144659"/>
                        <a:pt x="82181" y="144891"/>
                        <a:pt x="85609" y="142681"/>
                      </a:cubicBezTo>
                      <a:lnTo>
                        <a:pt x="191234" y="74566"/>
                      </a:lnTo>
                      <a:cubicBezTo>
                        <a:pt x="196659" y="71066"/>
                        <a:pt x="197068" y="63282"/>
                        <a:pt x="192038" y="5923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7" name="Google Shape;4897;p31"/>
                <p:cNvSpPr/>
                <p:nvPr/>
              </p:nvSpPr>
              <p:spPr>
                <a:xfrm>
                  <a:off x="2194582" y="4286067"/>
                  <a:ext cx="195570" cy="144190"/>
                </a:xfrm>
                <a:custGeom>
                  <a:avLst/>
                  <a:gdLst/>
                  <a:ahLst/>
                  <a:cxnLst/>
                  <a:rect l="l" t="t" r="r" b="b"/>
                  <a:pathLst>
                    <a:path w="195570" h="144190" extrusionOk="0">
                      <a:moveTo>
                        <a:pt x="191234" y="69625"/>
                      </a:moveTo>
                      <a:lnTo>
                        <a:pt x="85609" y="1511"/>
                      </a:lnTo>
                      <a:cubicBezTo>
                        <a:pt x="82181" y="-700"/>
                        <a:pt x="77723" y="-465"/>
                        <a:pt x="74545" y="2090"/>
                      </a:cubicBezTo>
                      <a:lnTo>
                        <a:pt x="3532" y="59234"/>
                      </a:lnTo>
                      <a:cubicBezTo>
                        <a:pt x="-1498" y="63280"/>
                        <a:pt x="-1089" y="71065"/>
                        <a:pt x="4336" y="74565"/>
                      </a:cubicBezTo>
                      <a:lnTo>
                        <a:pt x="109962" y="142680"/>
                      </a:lnTo>
                      <a:cubicBezTo>
                        <a:pt x="113391" y="144890"/>
                        <a:pt x="117849" y="144656"/>
                        <a:pt x="121027" y="142100"/>
                      </a:cubicBezTo>
                      <a:lnTo>
                        <a:pt x="192040" y="84956"/>
                      </a:lnTo>
                      <a:cubicBezTo>
                        <a:pt x="197068" y="80907"/>
                        <a:pt x="196659" y="73124"/>
                        <a:pt x="191234" y="69625"/>
                      </a:cubicBezTo>
                      <a:close/>
                    </a:path>
                  </a:pathLst>
                </a:custGeom>
                <a:solidFill>
                  <a:srgbClr val="D1D1D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8" name="Google Shape;4898;p31"/>
                <p:cNvSpPr/>
                <p:nvPr/>
              </p:nvSpPr>
              <p:spPr>
                <a:xfrm>
                  <a:off x="2056543" y="4532342"/>
                  <a:ext cx="253963" cy="147582"/>
                </a:xfrm>
                <a:custGeom>
                  <a:avLst/>
                  <a:gdLst/>
                  <a:ahLst/>
                  <a:cxnLst/>
                  <a:rect l="l" t="t" r="r" b="b"/>
                  <a:pathLst>
                    <a:path w="253963" h="147582" extrusionOk="0">
                      <a:moveTo>
                        <a:pt x="122373" y="1873"/>
                      </a:moveTo>
                      <a:lnTo>
                        <a:pt x="42848" y="65310"/>
                      </a:lnTo>
                      <a:cubicBezTo>
                        <a:pt x="39966" y="67608"/>
                        <a:pt x="35940" y="67812"/>
                        <a:pt x="32842" y="65815"/>
                      </a:cubicBezTo>
                      <a:lnTo>
                        <a:pt x="13241" y="53175"/>
                      </a:lnTo>
                      <a:cubicBezTo>
                        <a:pt x="7528" y="49491"/>
                        <a:pt x="0" y="53593"/>
                        <a:pt x="0" y="60392"/>
                      </a:cubicBezTo>
                      <a:lnTo>
                        <a:pt x="0" y="67227"/>
                      </a:lnTo>
                      <a:cubicBezTo>
                        <a:pt x="0" y="70228"/>
                        <a:pt x="1568" y="73013"/>
                        <a:pt x="4136" y="74570"/>
                      </a:cubicBezTo>
                      <a:lnTo>
                        <a:pt x="122531" y="146339"/>
                      </a:lnTo>
                      <a:cubicBezTo>
                        <a:pt x="125267" y="147997"/>
                        <a:pt x="128699" y="147997"/>
                        <a:pt x="131432" y="146339"/>
                      </a:cubicBezTo>
                      <a:lnTo>
                        <a:pt x="249827" y="74570"/>
                      </a:lnTo>
                      <a:cubicBezTo>
                        <a:pt x="252395" y="73013"/>
                        <a:pt x="253963" y="70230"/>
                        <a:pt x="253963" y="67227"/>
                      </a:cubicBezTo>
                      <a:lnTo>
                        <a:pt x="253963" y="61128"/>
                      </a:lnTo>
                      <a:cubicBezTo>
                        <a:pt x="253963" y="54330"/>
                        <a:pt x="246435" y="50227"/>
                        <a:pt x="240722" y="53911"/>
                      </a:cubicBezTo>
                      <a:lnTo>
                        <a:pt x="222270" y="65809"/>
                      </a:lnTo>
                      <a:cubicBezTo>
                        <a:pt x="219167" y="67812"/>
                        <a:pt x="215131" y="67604"/>
                        <a:pt x="212248" y="65296"/>
                      </a:cubicBezTo>
                      <a:lnTo>
                        <a:pt x="133099" y="1889"/>
                      </a:lnTo>
                      <a:cubicBezTo>
                        <a:pt x="129964" y="-625"/>
                        <a:pt x="125511" y="-629"/>
                        <a:pt x="122373" y="1873"/>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899" name="Google Shape;4899;p31"/>
                <p:cNvSpPr/>
                <p:nvPr/>
              </p:nvSpPr>
              <p:spPr>
                <a:xfrm>
                  <a:off x="2184904" y="4532392"/>
                  <a:ext cx="125604" cy="147403"/>
                </a:xfrm>
                <a:custGeom>
                  <a:avLst/>
                  <a:gdLst/>
                  <a:ahLst/>
                  <a:cxnLst/>
                  <a:rect l="l" t="t" r="r" b="b"/>
                  <a:pathLst>
                    <a:path w="125604" h="147403" extrusionOk="0">
                      <a:moveTo>
                        <a:pt x="112362" y="53857"/>
                      </a:moveTo>
                      <a:lnTo>
                        <a:pt x="93911" y="65755"/>
                      </a:lnTo>
                      <a:cubicBezTo>
                        <a:pt x="90807" y="67755"/>
                        <a:pt x="86771" y="67549"/>
                        <a:pt x="83888" y="65239"/>
                      </a:cubicBezTo>
                      <a:lnTo>
                        <a:pt x="4739" y="1832"/>
                      </a:lnTo>
                      <a:cubicBezTo>
                        <a:pt x="3345" y="714"/>
                        <a:pt x="1685" y="124"/>
                        <a:pt x="0" y="0"/>
                      </a:cubicBezTo>
                      <a:lnTo>
                        <a:pt x="0" y="147403"/>
                      </a:lnTo>
                      <a:cubicBezTo>
                        <a:pt x="1069" y="147229"/>
                        <a:pt x="2114" y="146865"/>
                        <a:pt x="3074" y="146284"/>
                      </a:cubicBezTo>
                      <a:lnTo>
                        <a:pt x="121469" y="74514"/>
                      </a:lnTo>
                      <a:cubicBezTo>
                        <a:pt x="124037" y="72958"/>
                        <a:pt x="125605" y="70175"/>
                        <a:pt x="125605" y="67171"/>
                      </a:cubicBezTo>
                      <a:lnTo>
                        <a:pt x="125605" y="61072"/>
                      </a:lnTo>
                      <a:cubicBezTo>
                        <a:pt x="125601" y="54273"/>
                        <a:pt x="118073" y="50171"/>
                        <a:pt x="112362" y="53857"/>
                      </a:cubicBezTo>
                      <a:close/>
                    </a:path>
                  </a:pathLst>
                </a:custGeom>
                <a:solidFill>
                  <a:srgbClr val="D1D1D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grpSp>
            <p:nvGrpSpPr>
              <p:cNvPr id="4903" name="Google Shape;4903;p31"/>
              <p:cNvGrpSpPr/>
              <p:nvPr/>
            </p:nvGrpSpPr>
            <p:grpSpPr>
              <a:xfrm>
                <a:off x="2388395" y="963849"/>
                <a:ext cx="298562" cy="293214"/>
                <a:chOff x="11498892" y="-1491344"/>
                <a:chExt cx="2768643" cy="2768646"/>
              </a:xfrm>
            </p:grpSpPr>
            <p:sp>
              <p:nvSpPr>
                <p:cNvPr id="4904" name="Google Shape;4904;p31"/>
                <p:cNvSpPr/>
                <p:nvPr/>
              </p:nvSpPr>
              <p:spPr>
                <a:xfrm>
                  <a:off x="11498892" y="-1491344"/>
                  <a:ext cx="2768643" cy="2768646"/>
                </a:xfrm>
                <a:custGeom>
                  <a:avLst/>
                  <a:gdLst/>
                  <a:ahLst/>
                  <a:cxnLst/>
                  <a:rect l="l" t="t" r="r" b="b"/>
                  <a:pathLst>
                    <a:path w="2768643" h="2768643" extrusionOk="0">
                      <a:moveTo>
                        <a:pt x="2768643" y="1384322"/>
                      </a:moveTo>
                      <a:cubicBezTo>
                        <a:pt x="2768643" y="2148862"/>
                        <a:pt x="2148861" y="2768643"/>
                        <a:pt x="1384322" y="2768643"/>
                      </a:cubicBezTo>
                      <a:cubicBezTo>
                        <a:pt x="619782" y="2768643"/>
                        <a:pt x="0" y="2148862"/>
                        <a:pt x="0" y="1384322"/>
                      </a:cubicBezTo>
                      <a:cubicBezTo>
                        <a:pt x="0" y="619782"/>
                        <a:pt x="619782" y="0"/>
                        <a:pt x="1384322" y="0"/>
                      </a:cubicBezTo>
                      <a:cubicBezTo>
                        <a:pt x="2148861" y="0"/>
                        <a:pt x="2768643" y="619782"/>
                        <a:pt x="2768643" y="1384322"/>
                      </a:cubicBezTo>
                      <a:close/>
                    </a:path>
                  </a:pathLst>
                </a:custGeom>
                <a:gradFill>
                  <a:gsLst>
                    <a:gs pos="0">
                      <a:srgbClr val="66B9F9"/>
                    </a:gs>
                    <a:gs pos="2000">
                      <a:srgbClr val="66B9F9"/>
                    </a:gs>
                    <a:gs pos="100000">
                      <a:srgbClr val="3C8BFF"/>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05" name="Google Shape;4905;p31"/>
                <p:cNvSpPr/>
                <p:nvPr/>
              </p:nvSpPr>
              <p:spPr>
                <a:xfrm>
                  <a:off x="12030046" y="-594608"/>
                  <a:ext cx="1601484" cy="869041"/>
                </a:xfrm>
                <a:custGeom>
                  <a:avLst/>
                  <a:gdLst/>
                  <a:ahLst/>
                  <a:cxnLst/>
                  <a:rect l="l" t="t" r="r" b="b"/>
                  <a:pathLst>
                    <a:path w="1601480" h="869041" extrusionOk="0">
                      <a:moveTo>
                        <a:pt x="1194321" y="272547"/>
                      </a:moveTo>
                      <a:lnTo>
                        <a:pt x="1547199" y="14686"/>
                      </a:lnTo>
                      <a:cubicBezTo>
                        <a:pt x="1578060" y="-10414"/>
                        <a:pt x="1601480" y="-4585"/>
                        <a:pt x="1601480" y="41844"/>
                      </a:cubicBezTo>
                      <a:lnTo>
                        <a:pt x="1601480" y="828182"/>
                      </a:lnTo>
                      <a:cubicBezTo>
                        <a:pt x="1601480" y="880303"/>
                        <a:pt x="1572162" y="874336"/>
                        <a:pt x="1547199" y="855340"/>
                      </a:cubicBezTo>
                      <a:lnTo>
                        <a:pt x="1194321" y="597444"/>
                      </a:lnTo>
                      <a:close/>
                      <a:moveTo>
                        <a:pt x="0" y="43730"/>
                      </a:moveTo>
                      <a:lnTo>
                        <a:pt x="0" y="630089"/>
                      </a:lnTo>
                      <a:cubicBezTo>
                        <a:pt x="641" y="762654"/>
                        <a:pt x="108627" y="869594"/>
                        <a:pt x="241189" y="868953"/>
                      </a:cubicBezTo>
                      <a:cubicBezTo>
                        <a:pt x="241193" y="868953"/>
                        <a:pt x="241193" y="868953"/>
                        <a:pt x="241196" y="868953"/>
                      </a:cubicBezTo>
                      <a:lnTo>
                        <a:pt x="1096217" y="868953"/>
                      </a:lnTo>
                      <a:cubicBezTo>
                        <a:pt x="1120299" y="869049"/>
                        <a:pt x="1139906" y="849623"/>
                        <a:pt x="1140040" y="825542"/>
                      </a:cubicBezTo>
                      <a:lnTo>
                        <a:pt x="1140040" y="239183"/>
                      </a:lnTo>
                      <a:cubicBezTo>
                        <a:pt x="1139399" y="106631"/>
                        <a:pt x="1031430" y="-309"/>
                        <a:pt x="898878" y="318"/>
                      </a:cubicBezTo>
                      <a:lnTo>
                        <a:pt x="43857" y="318"/>
                      </a:lnTo>
                      <a:cubicBezTo>
                        <a:pt x="19785" y="260"/>
                        <a:pt x="189" y="19658"/>
                        <a:pt x="0" y="4373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grpSp>
      </p:grpSp>
      <p:grpSp>
        <p:nvGrpSpPr>
          <p:cNvPr id="4906" name="Google Shape;4906;p31"/>
          <p:cNvGrpSpPr/>
          <p:nvPr/>
        </p:nvGrpSpPr>
        <p:grpSpPr>
          <a:xfrm>
            <a:off x="6409333" y="131311"/>
            <a:ext cx="1394096" cy="1394096"/>
            <a:chOff x="7013347" y="301551"/>
            <a:chExt cx="1394096" cy="1394096"/>
          </a:xfrm>
        </p:grpSpPr>
        <p:pic>
          <p:nvPicPr>
            <p:cNvPr id="4907" name="Google Shape;4907;p31"/>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7013347" y="301551"/>
              <a:ext cx="1394096" cy="1394096"/>
            </a:xfrm>
            <a:prstGeom prst="rect">
              <a:avLst/>
            </a:prstGeom>
            <a:noFill/>
            <a:ln>
              <a:noFill/>
            </a:ln>
          </p:spPr>
        </p:pic>
        <p:grpSp>
          <p:nvGrpSpPr>
            <p:cNvPr id="4908" name="Google Shape;4908;p31"/>
            <p:cNvGrpSpPr/>
            <p:nvPr/>
          </p:nvGrpSpPr>
          <p:grpSpPr>
            <a:xfrm>
              <a:off x="7154914" y="756496"/>
              <a:ext cx="1005722" cy="545486"/>
              <a:chOff x="7154914" y="756496"/>
              <a:chExt cx="1005722" cy="545486"/>
            </a:xfrm>
          </p:grpSpPr>
          <p:pic>
            <p:nvPicPr>
              <p:cNvPr id="4909" name="Google Shape;4909;p31"/>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7154914" y="1016000"/>
                <a:ext cx="305888" cy="285982"/>
              </a:xfrm>
              <a:prstGeom prst="rect">
                <a:avLst/>
              </a:prstGeom>
              <a:noFill/>
              <a:ln>
                <a:noFill/>
              </a:ln>
            </p:spPr>
          </p:pic>
          <p:pic>
            <p:nvPicPr>
              <p:cNvPr id="4910" name="Google Shape;4910;p31" descr="Salesforce - Wikipedia"/>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7409789" y="756496"/>
                <a:ext cx="385159" cy="269630"/>
              </a:xfrm>
              <a:prstGeom prst="rect">
                <a:avLst/>
              </a:prstGeom>
              <a:noFill/>
              <a:ln>
                <a:noFill/>
              </a:ln>
            </p:spPr>
          </p:pic>
          <p:pic>
            <p:nvPicPr>
              <p:cNvPr id="4911" name="Google Shape;4911;p31" descr="Box Logo transparent PNG - StickPNG"/>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7778065" y="1054341"/>
                <a:ext cx="382571" cy="211087"/>
              </a:xfrm>
              <a:prstGeom prst="rect">
                <a:avLst/>
              </a:prstGeom>
              <a:noFill/>
              <a:ln>
                <a:noFill/>
              </a:ln>
            </p:spPr>
          </p:pic>
        </p:grpSp>
      </p:grpSp>
      <p:grpSp>
        <p:nvGrpSpPr>
          <p:cNvPr id="4912" name="Google Shape;4912;p31"/>
          <p:cNvGrpSpPr/>
          <p:nvPr/>
        </p:nvGrpSpPr>
        <p:grpSpPr>
          <a:xfrm>
            <a:off x="3055445" y="39928"/>
            <a:ext cx="1394096" cy="1394096"/>
            <a:chOff x="9528113" y="1616298"/>
            <a:chExt cx="1394096" cy="1394096"/>
          </a:xfrm>
        </p:grpSpPr>
        <p:pic>
          <p:nvPicPr>
            <p:cNvPr id="4913" name="Google Shape;4913;p31"/>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9528113" y="1616298"/>
              <a:ext cx="1394096" cy="1394096"/>
            </a:xfrm>
            <a:prstGeom prst="rect">
              <a:avLst/>
            </a:prstGeom>
            <a:noFill/>
            <a:ln>
              <a:noFill/>
            </a:ln>
          </p:spPr>
        </p:pic>
        <p:pic>
          <p:nvPicPr>
            <p:cNvPr id="4914" name="Google Shape;4914;p31"/>
            <p:cNvPicPr preferRelativeResize="0"/>
            <p:nvPr/>
          </p:nvPicPr>
          <p:blipFill rotWithShape="1">
            <a:blip r:embed="rId10">
              <a:alphaModFix/>
            </a:blip>
            <a:srcRect/>
            <a:stretch/>
          </p:blipFill>
          <p:spPr>
            <a:xfrm>
              <a:off x="10245303" y="2389998"/>
              <a:ext cx="403907" cy="241792"/>
            </a:xfrm>
            <a:prstGeom prst="rect">
              <a:avLst/>
            </a:prstGeom>
            <a:noFill/>
            <a:ln>
              <a:noFill/>
            </a:ln>
          </p:spPr>
        </p:pic>
        <p:pic>
          <p:nvPicPr>
            <p:cNvPr id="4915" name="Google Shape;4915;p31" descr="Cloud Computing Services | Google Cloud"/>
            <p:cNvPicPr preferRelativeResize="0"/>
            <p:nvPr/>
          </p:nvPicPr>
          <p:blipFill rotWithShape="1">
            <a:blip r:embed="rId11">
              <a:alphaModFix/>
            </a:blip>
            <a:srcRect/>
            <a:stretch/>
          </p:blipFill>
          <p:spPr>
            <a:xfrm>
              <a:off x="9583570" y="1884448"/>
              <a:ext cx="909209" cy="477335"/>
            </a:xfrm>
            <a:prstGeom prst="rect">
              <a:avLst/>
            </a:prstGeom>
            <a:noFill/>
            <a:ln>
              <a:noFill/>
            </a:ln>
          </p:spPr>
        </p:pic>
        <p:pic>
          <p:nvPicPr>
            <p:cNvPr id="4916" name="Google Shape;4916;p31" descr="Microsoft Azure Logo | evolution history and meaning, PNG"/>
            <p:cNvPicPr preferRelativeResize="0"/>
            <p:nvPr/>
          </p:nvPicPr>
          <p:blipFill rotWithShape="1">
            <a:blip r:embed="rId12" cstate="print">
              <a:alphaModFix/>
              <a:extLst>
                <a:ext uri="{28A0092B-C50C-407E-A947-70E740481C1C}">
                  <a14:useLocalDpi xmlns:a14="http://schemas.microsoft.com/office/drawing/2010/main"/>
                </a:ext>
              </a:extLst>
            </a:blip>
            <a:srcRect t="32033" r="71956" b="32990"/>
            <a:stretch/>
          </p:blipFill>
          <p:spPr>
            <a:xfrm>
              <a:off x="9552634" y="2291250"/>
              <a:ext cx="526881" cy="369641"/>
            </a:xfrm>
            <a:prstGeom prst="rect">
              <a:avLst/>
            </a:prstGeom>
            <a:noFill/>
            <a:ln>
              <a:noFill/>
            </a:ln>
          </p:spPr>
        </p:pic>
      </p:grpSp>
      <p:cxnSp>
        <p:nvCxnSpPr>
          <p:cNvPr id="4917" name="Google Shape;4917;p31"/>
          <p:cNvCxnSpPr/>
          <p:nvPr/>
        </p:nvCxnSpPr>
        <p:spPr>
          <a:xfrm flipH="1">
            <a:off x="5115262" y="1204308"/>
            <a:ext cx="2869200" cy="1826700"/>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cxnSp>
        <p:nvCxnSpPr>
          <p:cNvPr id="4918" name="Google Shape;4918;p31"/>
          <p:cNvCxnSpPr/>
          <p:nvPr/>
        </p:nvCxnSpPr>
        <p:spPr>
          <a:xfrm rot="10800000">
            <a:off x="1540242" y="2140011"/>
            <a:ext cx="2857800" cy="891000"/>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cxnSp>
        <p:nvCxnSpPr>
          <p:cNvPr id="4919" name="Google Shape;4919;p31"/>
          <p:cNvCxnSpPr/>
          <p:nvPr/>
        </p:nvCxnSpPr>
        <p:spPr>
          <a:xfrm flipH="1">
            <a:off x="1409806" y="1034290"/>
            <a:ext cx="1715980" cy="744384"/>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cxnSp>
        <p:nvCxnSpPr>
          <p:cNvPr id="4920" name="Google Shape;4920;p31"/>
          <p:cNvCxnSpPr/>
          <p:nvPr/>
        </p:nvCxnSpPr>
        <p:spPr>
          <a:xfrm>
            <a:off x="4035419" y="1188255"/>
            <a:ext cx="907200" cy="1623900"/>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grpSp>
        <p:nvGrpSpPr>
          <p:cNvPr id="4921" name="Google Shape;4921;p31"/>
          <p:cNvGrpSpPr/>
          <p:nvPr/>
        </p:nvGrpSpPr>
        <p:grpSpPr>
          <a:xfrm>
            <a:off x="5488524" y="371936"/>
            <a:ext cx="305984" cy="305984"/>
            <a:chOff x="102892" y="3710280"/>
            <a:chExt cx="466892" cy="466892"/>
          </a:xfrm>
        </p:grpSpPr>
        <p:sp>
          <p:nvSpPr>
            <p:cNvPr id="4922" name="Google Shape;4922;p31"/>
            <p:cNvSpPr/>
            <p:nvPr/>
          </p:nvSpPr>
          <p:spPr>
            <a:xfrm>
              <a:off x="435985" y="3710280"/>
              <a:ext cx="133799" cy="133799"/>
            </a:xfrm>
            <a:custGeom>
              <a:avLst/>
              <a:gdLst/>
              <a:ahLst/>
              <a:cxnLst/>
              <a:rect l="l" t="t" r="r" b="b"/>
              <a:pathLst>
                <a:path w="133799" h="133799" extrusionOk="0">
                  <a:moveTo>
                    <a:pt x="133799" y="133800"/>
                  </a:moveTo>
                  <a:lnTo>
                    <a:pt x="105682" y="133800"/>
                  </a:lnTo>
                  <a:lnTo>
                    <a:pt x="105682" y="28118"/>
                  </a:lnTo>
                  <a:lnTo>
                    <a:pt x="0" y="28118"/>
                  </a:lnTo>
                  <a:lnTo>
                    <a:pt x="0" y="0"/>
                  </a:lnTo>
                  <a:lnTo>
                    <a:pt x="133799" y="0"/>
                  </a:lnTo>
                  <a:lnTo>
                    <a:pt x="133799" y="133800"/>
                  </a:lnTo>
                  <a:close/>
                </a:path>
              </a:pathLst>
            </a:custGeom>
            <a:solidFill>
              <a:schemeClr val="lt1">
                <a:alpha val="6392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23" name="Google Shape;4923;p31"/>
            <p:cNvSpPr/>
            <p:nvPr/>
          </p:nvSpPr>
          <p:spPr>
            <a:xfrm>
              <a:off x="435985" y="4043304"/>
              <a:ext cx="133799" cy="133868"/>
            </a:xfrm>
            <a:custGeom>
              <a:avLst/>
              <a:gdLst/>
              <a:ahLst/>
              <a:cxnLst/>
              <a:rect l="l" t="t" r="r" b="b"/>
              <a:pathLst>
                <a:path w="133799" h="133868" extrusionOk="0">
                  <a:moveTo>
                    <a:pt x="133799" y="133868"/>
                  </a:moveTo>
                  <a:lnTo>
                    <a:pt x="0" y="133868"/>
                  </a:lnTo>
                  <a:lnTo>
                    <a:pt x="0" y="105682"/>
                  </a:lnTo>
                  <a:lnTo>
                    <a:pt x="105682" y="105682"/>
                  </a:lnTo>
                  <a:lnTo>
                    <a:pt x="105682" y="0"/>
                  </a:lnTo>
                  <a:lnTo>
                    <a:pt x="133799" y="0"/>
                  </a:lnTo>
                  <a:lnTo>
                    <a:pt x="133799" y="133868"/>
                  </a:lnTo>
                  <a:close/>
                </a:path>
              </a:pathLst>
            </a:custGeom>
            <a:solidFill>
              <a:schemeClr val="lt1">
                <a:alpha val="6392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24" name="Google Shape;4924;p31"/>
            <p:cNvSpPr/>
            <p:nvPr/>
          </p:nvSpPr>
          <p:spPr>
            <a:xfrm>
              <a:off x="102892" y="3710280"/>
              <a:ext cx="133799" cy="133799"/>
            </a:xfrm>
            <a:custGeom>
              <a:avLst/>
              <a:gdLst/>
              <a:ahLst/>
              <a:cxnLst/>
              <a:rect l="l" t="t" r="r" b="b"/>
              <a:pathLst>
                <a:path w="133799" h="133799" extrusionOk="0">
                  <a:moveTo>
                    <a:pt x="28118" y="133800"/>
                  </a:moveTo>
                  <a:lnTo>
                    <a:pt x="0" y="133800"/>
                  </a:lnTo>
                  <a:lnTo>
                    <a:pt x="0" y="0"/>
                  </a:lnTo>
                  <a:lnTo>
                    <a:pt x="133799" y="0"/>
                  </a:lnTo>
                  <a:lnTo>
                    <a:pt x="133799" y="28118"/>
                  </a:lnTo>
                  <a:lnTo>
                    <a:pt x="28118" y="28118"/>
                  </a:lnTo>
                  <a:lnTo>
                    <a:pt x="28118" y="133800"/>
                  </a:lnTo>
                  <a:close/>
                </a:path>
              </a:pathLst>
            </a:custGeom>
            <a:solidFill>
              <a:schemeClr val="lt1">
                <a:alpha val="6392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25" name="Google Shape;4925;p31"/>
            <p:cNvSpPr/>
            <p:nvPr/>
          </p:nvSpPr>
          <p:spPr>
            <a:xfrm>
              <a:off x="102892" y="4043304"/>
              <a:ext cx="133799" cy="133868"/>
            </a:xfrm>
            <a:custGeom>
              <a:avLst/>
              <a:gdLst/>
              <a:ahLst/>
              <a:cxnLst/>
              <a:rect l="l" t="t" r="r" b="b"/>
              <a:pathLst>
                <a:path w="133799" h="133868" extrusionOk="0">
                  <a:moveTo>
                    <a:pt x="133799" y="133868"/>
                  </a:moveTo>
                  <a:lnTo>
                    <a:pt x="0" y="133868"/>
                  </a:lnTo>
                  <a:lnTo>
                    <a:pt x="0" y="0"/>
                  </a:lnTo>
                  <a:lnTo>
                    <a:pt x="28118" y="0"/>
                  </a:lnTo>
                  <a:lnTo>
                    <a:pt x="28118" y="105682"/>
                  </a:lnTo>
                  <a:lnTo>
                    <a:pt x="133799" y="105682"/>
                  </a:lnTo>
                  <a:lnTo>
                    <a:pt x="133799" y="133868"/>
                  </a:lnTo>
                  <a:close/>
                </a:path>
              </a:pathLst>
            </a:custGeom>
            <a:solidFill>
              <a:schemeClr val="lt1">
                <a:alpha val="6392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grpSp>
        <p:nvGrpSpPr>
          <p:cNvPr id="4926" name="Google Shape;4926;p31"/>
          <p:cNvGrpSpPr/>
          <p:nvPr/>
        </p:nvGrpSpPr>
        <p:grpSpPr>
          <a:xfrm>
            <a:off x="4155361" y="1455916"/>
            <a:ext cx="211829" cy="211829"/>
            <a:chOff x="102892" y="3710280"/>
            <a:chExt cx="466892" cy="466892"/>
          </a:xfrm>
        </p:grpSpPr>
        <p:sp>
          <p:nvSpPr>
            <p:cNvPr id="4927" name="Google Shape;4927;p31"/>
            <p:cNvSpPr/>
            <p:nvPr/>
          </p:nvSpPr>
          <p:spPr>
            <a:xfrm>
              <a:off x="435985" y="3710280"/>
              <a:ext cx="133799" cy="133799"/>
            </a:xfrm>
            <a:custGeom>
              <a:avLst/>
              <a:gdLst/>
              <a:ahLst/>
              <a:cxnLst/>
              <a:rect l="l" t="t" r="r" b="b"/>
              <a:pathLst>
                <a:path w="133799" h="133799" extrusionOk="0">
                  <a:moveTo>
                    <a:pt x="133799" y="133800"/>
                  </a:moveTo>
                  <a:lnTo>
                    <a:pt x="105682" y="133800"/>
                  </a:lnTo>
                  <a:lnTo>
                    <a:pt x="105682" y="28118"/>
                  </a:lnTo>
                  <a:lnTo>
                    <a:pt x="0" y="28118"/>
                  </a:lnTo>
                  <a:lnTo>
                    <a:pt x="0" y="0"/>
                  </a:lnTo>
                  <a:lnTo>
                    <a:pt x="133799" y="0"/>
                  </a:lnTo>
                  <a:lnTo>
                    <a:pt x="133799" y="133800"/>
                  </a:lnTo>
                  <a:close/>
                </a:path>
              </a:pathLst>
            </a:custGeom>
            <a:solidFill>
              <a:schemeClr val="lt1">
                <a:alpha val="5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28" name="Google Shape;4928;p31"/>
            <p:cNvSpPr/>
            <p:nvPr/>
          </p:nvSpPr>
          <p:spPr>
            <a:xfrm>
              <a:off x="435985" y="4043304"/>
              <a:ext cx="133799" cy="133868"/>
            </a:xfrm>
            <a:custGeom>
              <a:avLst/>
              <a:gdLst/>
              <a:ahLst/>
              <a:cxnLst/>
              <a:rect l="l" t="t" r="r" b="b"/>
              <a:pathLst>
                <a:path w="133799" h="133868" extrusionOk="0">
                  <a:moveTo>
                    <a:pt x="133799" y="133868"/>
                  </a:moveTo>
                  <a:lnTo>
                    <a:pt x="0" y="133868"/>
                  </a:lnTo>
                  <a:lnTo>
                    <a:pt x="0" y="105682"/>
                  </a:lnTo>
                  <a:lnTo>
                    <a:pt x="105682" y="105682"/>
                  </a:lnTo>
                  <a:lnTo>
                    <a:pt x="105682" y="0"/>
                  </a:lnTo>
                  <a:lnTo>
                    <a:pt x="133799" y="0"/>
                  </a:lnTo>
                  <a:lnTo>
                    <a:pt x="133799" y="133868"/>
                  </a:lnTo>
                  <a:close/>
                </a:path>
              </a:pathLst>
            </a:custGeom>
            <a:solidFill>
              <a:schemeClr val="lt1">
                <a:alpha val="5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29" name="Google Shape;4929;p31"/>
            <p:cNvSpPr/>
            <p:nvPr/>
          </p:nvSpPr>
          <p:spPr>
            <a:xfrm>
              <a:off x="102892" y="3710280"/>
              <a:ext cx="133799" cy="133799"/>
            </a:xfrm>
            <a:custGeom>
              <a:avLst/>
              <a:gdLst/>
              <a:ahLst/>
              <a:cxnLst/>
              <a:rect l="l" t="t" r="r" b="b"/>
              <a:pathLst>
                <a:path w="133799" h="133799" extrusionOk="0">
                  <a:moveTo>
                    <a:pt x="28118" y="133800"/>
                  </a:moveTo>
                  <a:lnTo>
                    <a:pt x="0" y="133800"/>
                  </a:lnTo>
                  <a:lnTo>
                    <a:pt x="0" y="0"/>
                  </a:lnTo>
                  <a:lnTo>
                    <a:pt x="133799" y="0"/>
                  </a:lnTo>
                  <a:lnTo>
                    <a:pt x="133799" y="28118"/>
                  </a:lnTo>
                  <a:lnTo>
                    <a:pt x="28118" y="28118"/>
                  </a:lnTo>
                  <a:lnTo>
                    <a:pt x="28118" y="133800"/>
                  </a:lnTo>
                  <a:close/>
                </a:path>
              </a:pathLst>
            </a:custGeom>
            <a:solidFill>
              <a:schemeClr val="lt1">
                <a:alpha val="5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30" name="Google Shape;4930;p31"/>
            <p:cNvSpPr/>
            <p:nvPr/>
          </p:nvSpPr>
          <p:spPr>
            <a:xfrm>
              <a:off x="102892" y="4043304"/>
              <a:ext cx="133799" cy="133868"/>
            </a:xfrm>
            <a:custGeom>
              <a:avLst/>
              <a:gdLst/>
              <a:ahLst/>
              <a:cxnLst/>
              <a:rect l="l" t="t" r="r" b="b"/>
              <a:pathLst>
                <a:path w="133799" h="133868" extrusionOk="0">
                  <a:moveTo>
                    <a:pt x="133799" y="133868"/>
                  </a:moveTo>
                  <a:lnTo>
                    <a:pt x="0" y="133868"/>
                  </a:lnTo>
                  <a:lnTo>
                    <a:pt x="0" y="0"/>
                  </a:lnTo>
                  <a:lnTo>
                    <a:pt x="28118" y="0"/>
                  </a:lnTo>
                  <a:lnTo>
                    <a:pt x="28118" y="105682"/>
                  </a:lnTo>
                  <a:lnTo>
                    <a:pt x="133799" y="105682"/>
                  </a:lnTo>
                  <a:lnTo>
                    <a:pt x="133799" y="133868"/>
                  </a:lnTo>
                  <a:close/>
                </a:path>
              </a:pathLst>
            </a:custGeom>
            <a:solidFill>
              <a:schemeClr val="lt1">
                <a:alpha val="5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grpSp>
        <p:nvGrpSpPr>
          <p:cNvPr id="4931" name="Google Shape;4931;p31"/>
          <p:cNvGrpSpPr/>
          <p:nvPr/>
        </p:nvGrpSpPr>
        <p:grpSpPr>
          <a:xfrm>
            <a:off x="7549001" y="3188290"/>
            <a:ext cx="211829" cy="211829"/>
            <a:chOff x="102892" y="3710280"/>
            <a:chExt cx="466892" cy="466892"/>
          </a:xfrm>
        </p:grpSpPr>
        <p:sp>
          <p:nvSpPr>
            <p:cNvPr id="4932" name="Google Shape;4932;p31"/>
            <p:cNvSpPr/>
            <p:nvPr/>
          </p:nvSpPr>
          <p:spPr>
            <a:xfrm>
              <a:off x="435985" y="3710280"/>
              <a:ext cx="133799" cy="133799"/>
            </a:xfrm>
            <a:custGeom>
              <a:avLst/>
              <a:gdLst/>
              <a:ahLst/>
              <a:cxnLst/>
              <a:rect l="l" t="t" r="r" b="b"/>
              <a:pathLst>
                <a:path w="133799" h="133799" extrusionOk="0">
                  <a:moveTo>
                    <a:pt x="133799" y="133800"/>
                  </a:moveTo>
                  <a:lnTo>
                    <a:pt x="105682" y="133800"/>
                  </a:lnTo>
                  <a:lnTo>
                    <a:pt x="105682" y="28118"/>
                  </a:lnTo>
                  <a:lnTo>
                    <a:pt x="0" y="28118"/>
                  </a:lnTo>
                  <a:lnTo>
                    <a:pt x="0" y="0"/>
                  </a:lnTo>
                  <a:lnTo>
                    <a:pt x="133799" y="0"/>
                  </a:lnTo>
                  <a:lnTo>
                    <a:pt x="133799" y="133800"/>
                  </a:lnTo>
                  <a:close/>
                </a:path>
              </a:pathLst>
            </a:custGeom>
            <a:solidFill>
              <a:schemeClr val="lt1">
                <a:alpha val="4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33" name="Google Shape;4933;p31"/>
            <p:cNvSpPr/>
            <p:nvPr/>
          </p:nvSpPr>
          <p:spPr>
            <a:xfrm>
              <a:off x="435985" y="4043304"/>
              <a:ext cx="133799" cy="133868"/>
            </a:xfrm>
            <a:custGeom>
              <a:avLst/>
              <a:gdLst/>
              <a:ahLst/>
              <a:cxnLst/>
              <a:rect l="l" t="t" r="r" b="b"/>
              <a:pathLst>
                <a:path w="133799" h="133868" extrusionOk="0">
                  <a:moveTo>
                    <a:pt x="133799" y="133868"/>
                  </a:moveTo>
                  <a:lnTo>
                    <a:pt x="0" y="133868"/>
                  </a:lnTo>
                  <a:lnTo>
                    <a:pt x="0" y="105682"/>
                  </a:lnTo>
                  <a:lnTo>
                    <a:pt x="105682" y="105682"/>
                  </a:lnTo>
                  <a:lnTo>
                    <a:pt x="105682" y="0"/>
                  </a:lnTo>
                  <a:lnTo>
                    <a:pt x="133799" y="0"/>
                  </a:lnTo>
                  <a:lnTo>
                    <a:pt x="133799" y="133868"/>
                  </a:lnTo>
                  <a:close/>
                </a:path>
              </a:pathLst>
            </a:custGeom>
            <a:solidFill>
              <a:schemeClr val="lt1">
                <a:alpha val="4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34" name="Google Shape;4934;p31"/>
            <p:cNvSpPr/>
            <p:nvPr/>
          </p:nvSpPr>
          <p:spPr>
            <a:xfrm>
              <a:off x="102892" y="3710280"/>
              <a:ext cx="133799" cy="133799"/>
            </a:xfrm>
            <a:custGeom>
              <a:avLst/>
              <a:gdLst/>
              <a:ahLst/>
              <a:cxnLst/>
              <a:rect l="l" t="t" r="r" b="b"/>
              <a:pathLst>
                <a:path w="133799" h="133799" extrusionOk="0">
                  <a:moveTo>
                    <a:pt x="28118" y="133800"/>
                  </a:moveTo>
                  <a:lnTo>
                    <a:pt x="0" y="133800"/>
                  </a:lnTo>
                  <a:lnTo>
                    <a:pt x="0" y="0"/>
                  </a:lnTo>
                  <a:lnTo>
                    <a:pt x="133799" y="0"/>
                  </a:lnTo>
                  <a:lnTo>
                    <a:pt x="133799" y="28118"/>
                  </a:lnTo>
                  <a:lnTo>
                    <a:pt x="28118" y="28118"/>
                  </a:lnTo>
                  <a:lnTo>
                    <a:pt x="28118" y="133800"/>
                  </a:lnTo>
                  <a:close/>
                </a:path>
              </a:pathLst>
            </a:custGeom>
            <a:solidFill>
              <a:schemeClr val="lt1">
                <a:alpha val="4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sp>
          <p:nvSpPr>
            <p:cNvPr id="4935" name="Google Shape;4935;p31"/>
            <p:cNvSpPr/>
            <p:nvPr/>
          </p:nvSpPr>
          <p:spPr>
            <a:xfrm>
              <a:off x="102892" y="4043304"/>
              <a:ext cx="133799" cy="133868"/>
            </a:xfrm>
            <a:custGeom>
              <a:avLst/>
              <a:gdLst/>
              <a:ahLst/>
              <a:cxnLst/>
              <a:rect l="l" t="t" r="r" b="b"/>
              <a:pathLst>
                <a:path w="133799" h="133868" extrusionOk="0">
                  <a:moveTo>
                    <a:pt x="133799" y="133868"/>
                  </a:moveTo>
                  <a:lnTo>
                    <a:pt x="0" y="133868"/>
                  </a:lnTo>
                  <a:lnTo>
                    <a:pt x="0" y="0"/>
                  </a:lnTo>
                  <a:lnTo>
                    <a:pt x="28118" y="0"/>
                  </a:lnTo>
                  <a:lnTo>
                    <a:pt x="28118" y="105682"/>
                  </a:lnTo>
                  <a:lnTo>
                    <a:pt x="133799" y="105682"/>
                  </a:lnTo>
                  <a:lnTo>
                    <a:pt x="133799" y="133868"/>
                  </a:lnTo>
                  <a:close/>
                </a:path>
              </a:pathLst>
            </a:custGeom>
            <a:solidFill>
              <a:schemeClr val="lt1">
                <a:alpha val="4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cxnSp>
        <p:nvCxnSpPr>
          <p:cNvPr id="4936" name="Google Shape;4936;p31"/>
          <p:cNvCxnSpPr/>
          <p:nvPr/>
        </p:nvCxnSpPr>
        <p:spPr>
          <a:xfrm flipH="1">
            <a:off x="4398042" y="813628"/>
            <a:ext cx="2240230" cy="42258"/>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cxnSp>
        <p:nvCxnSpPr>
          <p:cNvPr id="4937" name="Google Shape;4937;p31"/>
          <p:cNvCxnSpPr/>
          <p:nvPr/>
        </p:nvCxnSpPr>
        <p:spPr>
          <a:xfrm flipH="1">
            <a:off x="5161488" y="1204308"/>
            <a:ext cx="1695300" cy="1608000"/>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cxnSp>
        <p:nvCxnSpPr>
          <p:cNvPr id="4938" name="Google Shape;4938;p31"/>
          <p:cNvCxnSpPr>
            <a:stCxn id="4923" idx="0"/>
          </p:cNvCxnSpPr>
          <p:nvPr/>
        </p:nvCxnSpPr>
        <p:spPr>
          <a:xfrm>
            <a:off x="5794508" y="677920"/>
            <a:ext cx="756300" cy="482400"/>
          </a:xfrm>
          <a:prstGeom prst="straightConnector1">
            <a:avLst/>
          </a:prstGeom>
          <a:solidFill>
            <a:schemeClr val="lt1"/>
          </a:solidFill>
          <a:ln w="9525" cap="rnd" cmpd="sng">
            <a:solidFill>
              <a:srgbClr val="97BAFF">
                <a:alpha val="72941"/>
              </a:srgbClr>
            </a:solidFill>
            <a:prstDash val="dot"/>
            <a:round/>
            <a:headEnd type="none" w="sm" len="sm"/>
            <a:tailEnd type="none" w="sm" len="sm"/>
          </a:ln>
        </p:spPr>
      </p:cxnSp>
      <p:grpSp>
        <p:nvGrpSpPr>
          <p:cNvPr id="4939" name="Google Shape;4939;p31"/>
          <p:cNvGrpSpPr/>
          <p:nvPr/>
        </p:nvGrpSpPr>
        <p:grpSpPr>
          <a:xfrm>
            <a:off x="4452167" y="2072770"/>
            <a:ext cx="1051113" cy="1502882"/>
            <a:chOff x="4088569" y="1516621"/>
            <a:chExt cx="2137258" cy="2758452"/>
          </a:xfrm>
        </p:grpSpPr>
        <p:sp>
          <p:nvSpPr>
            <p:cNvPr id="4940" name="Google Shape;4940;p31"/>
            <p:cNvSpPr/>
            <p:nvPr/>
          </p:nvSpPr>
          <p:spPr>
            <a:xfrm rot="5400000">
              <a:off x="5149915" y="1976834"/>
              <a:ext cx="396088" cy="1286671"/>
            </a:xfrm>
            <a:custGeom>
              <a:avLst/>
              <a:gdLst/>
              <a:ahLst/>
              <a:cxnLst/>
              <a:rect l="l" t="t" r="r" b="b"/>
              <a:pathLst>
                <a:path w="520732" h="1592131" extrusionOk="0">
                  <a:moveTo>
                    <a:pt x="2610" y="0"/>
                  </a:moveTo>
                  <a:lnTo>
                    <a:pt x="520732" y="0"/>
                  </a:lnTo>
                  <a:lnTo>
                    <a:pt x="520732" y="67327"/>
                  </a:lnTo>
                  <a:lnTo>
                    <a:pt x="69938" y="67327"/>
                  </a:lnTo>
                  <a:cubicBezTo>
                    <a:pt x="69104" y="575595"/>
                    <a:pt x="68271" y="1083863"/>
                    <a:pt x="67437" y="1592131"/>
                  </a:cubicBezTo>
                  <a:lnTo>
                    <a:pt x="111" y="1592131"/>
                  </a:lnTo>
                  <a:cubicBezTo>
                    <a:pt x="-725" y="1083863"/>
                    <a:pt x="3447" y="575595"/>
                    <a:pt x="2611" y="67327"/>
                  </a:cubicBezTo>
                  <a:lnTo>
                    <a:pt x="2610" y="67327"/>
                  </a:lnTo>
                  <a:lnTo>
                    <a:pt x="2610" y="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a:solidFill>
                  <a:schemeClr val="dk1"/>
                </a:solidFill>
                <a:latin typeface="Calibri"/>
                <a:ea typeface="Calibri"/>
                <a:cs typeface="Calibri"/>
                <a:sym typeface="Calibri"/>
              </a:endParaRPr>
            </a:p>
          </p:txBody>
        </p:sp>
        <p:sp>
          <p:nvSpPr>
            <p:cNvPr id="4941" name="Google Shape;4941;p31"/>
            <p:cNvSpPr/>
            <p:nvPr/>
          </p:nvSpPr>
          <p:spPr>
            <a:xfrm rot="10800000">
              <a:off x="4354154" y="1516621"/>
              <a:ext cx="1871673" cy="2751028"/>
            </a:xfrm>
            <a:prstGeom prst="arc">
              <a:avLst>
                <a:gd name="adj1" fmla="val 16737865"/>
                <a:gd name="adj2" fmla="val 0"/>
              </a:avLst>
            </a:prstGeom>
            <a:noFill/>
            <a:ln w="571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a:solidFill>
                  <a:schemeClr val="dk1"/>
                </a:solidFill>
                <a:latin typeface="Helvetica Neue"/>
                <a:ea typeface="Helvetica Neue"/>
                <a:cs typeface="Helvetica Neue"/>
                <a:sym typeface="Helvetica Neue"/>
              </a:endParaRPr>
            </a:p>
          </p:txBody>
        </p:sp>
        <p:pic>
          <p:nvPicPr>
            <p:cNvPr id="4942" name="Google Shape;4942;p31" descr="A picture containing object, comb&#10;&#10;Description automatically generated"/>
            <p:cNvPicPr preferRelativeResize="0"/>
            <p:nvPr/>
          </p:nvPicPr>
          <p:blipFill rotWithShape="1">
            <a:blip r:embed="rId13" cstate="print">
              <a:alphaModFix amt="35000"/>
              <a:extLst>
                <a:ext uri="{28A0092B-C50C-407E-A947-70E740481C1C}">
                  <a14:useLocalDpi xmlns:a14="http://schemas.microsoft.com/office/drawing/2010/main"/>
                </a:ext>
              </a:extLst>
            </a:blip>
            <a:srcRect/>
            <a:stretch/>
          </p:blipFill>
          <p:spPr>
            <a:xfrm>
              <a:off x="4489105" y="2600027"/>
              <a:ext cx="1347393" cy="1543527"/>
            </a:xfrm>
            <a:custGeom>
              <a:avLst/>
              <a:gdLst/>
              <a:ahLst/>
              <a:cxnLst/>
              <a:rect l="l" t="t" r="r" b="b"/>
              <a:pathLst>
                <a:path w="1528815" h="1734881" extrusionOk="0">
                  <a:moveTo>
                    <a:pt x="0" y="0"/>
                  </a:moveTo>
                  <a:lnTo>
                    <a:pt x="764408" y="0"/>
                  </a:lnTo>
                  <a:lnTo>
                    <a:pt x="1528815" y="0"/>
                  </a:lnTo>
                  <a:lnTo>
                    <a:pt x="1528815" y="452039"/>
                  </a:lnTo>
                  <a:lnTo>
                    <a:pt x="1525557" y="550435"/>
                  </a:lnTo>
                  <a:cubicBezTo>
                    <a:pt x="1493110" y="1039423"/>
                    <a:pt x="1220320" y="1480031"/>
                    <a:pt x="797304" y="1716473"/>
                  </a:cubicBezTo>
                  <a:lnTo>
                    <a:pt x="764408" y="1734881"/>
                  </a:lnTo>
                  <a:lnTo>
                    <a:pt x="764401" y="1734860"/>
                  </a:lnTo>
                  <a:lnTo>
                    <a:pt x="731511" y="1716473"/>
                  </a:lnTo>
                  <a:cubicBezTo>
                    <a:pt x="308495" y="1480031"/>
                    <a:pt x="35704" y="1039423"/>
                    <a:pt x="3258" y="550435"/>
                  </a:cubicBezTo>
                  <a:lnTo>
                    <a:pt x="0" y="452039"/>
                  </a:lnTo>
                  <a:close/>
                </a:path>
              </a:pathLst>
            </a:custGeom>
            <a:noFill/>
            <a:ln>
              <a:noFill/>
            </a:ln>
          </p:spPr>
        </p:pic>
        <p:sp>
          <p:nvSpPr>
            <p:cNvPr id="4943" name="Google Shape;4943;p31"/>
            <p:cNvSpPr/>
            <p:nvPr/>
          </p:nvSpPr>
          <p:spPr>
            <a:xfrm rot="10800000" flipH="1">
              <a:off x="4088569" y="1524045"/>
              <a:ext cx="1871673" cy="2751028"/>
            </a:xfrm>
            <a:prstGeom prst="arc">
              <a:avLst>
                <a:gd name="adj1" fmla="val 16737865"/>
                <a:gd name="adj2" fmla="val 0"/>
              </a:avLst>
            </a:prstGeom>
            <a:noFill/>
            <a:ln w="571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a:solidFill>
                  <a:schemeClr val="dk1"/>
                </a:solidFill>
                <a:latin typeface="Helvetica Neue"/>
                <a:ea typeface="Helvetica Neue"/>
                <a:cs typeface="Helvetica Neue"/>
                <a:sym typeface="Helvetica Neue"/>
              </a:endParaRPr>
            </a:p>
          </p:txBody>
        </p:sp>
      </p:grpSp>
      <p:sp>
        <p:nvSpPr>
          <p:cNvPr id="3" name="Date Placeholder 2" hidden="1"/>
          <p:cNvSpPr>
            <a:spLocks noGrp="1"/>
          </p:cNvSpPr>
          <p:nvPr>
            <p:ph type="dt" idx="10"/>
          </p:nvPr>
        </p:nvSpPr>
        <p:spPr/>
        <p:txBody>
          <a:bodyPr/>
          <a:lstStyle/>
          <a:p>
            <a:endParaRPr lang="en-US" dirty="0"/>
          </a:p>
        </p:txBody>
      </p:sp>
      <p:sp>
        <p:nvSpPr>
          <p:cNvPr id="2" name="Footer Placeholder 1" hidden="1"/>
          <p:cNvSpPr>
            <a:spLocks noGrp="1"/>
          </p:cNvSpPr>
          <p:nvPr>
            <p:ph type="ftr" sz="quarter" idx="11"/>
          </p:nvPr>
        </p:nvSpPr>
        <p:spPr/>
        <p:txBody>
          <a:bodyPr/>
          <a:lstStyle/>
          <a:p>
            <a:r>
              <a:rPr lang="en-US" dirty="0"/>
              <a:t> [Internal Use] for Check Point employees​</a:t>
            </a:r>
          </a:p>
        </p:txBody>
      </p:sp>
      <p:pic>
        <p:nvPicPr>
          <p:cNvPr id="77" name="Google Shape;6184;p40"/>
          <p:cNvPicPr preferRelativeResize="0"/>
          <p:nvPr/>
        </p:nvPicPr>
        <p:blipFill rotWithShape="1">
          <a:blip r:embed="rId14">
            <a:alphaModFix/>
          </a:blip>
          <a:srcRect/>
          <a:stretch/>
        </p:blipFill>
        <p:spPr>
          <a:xfrm>
            <a:off x="8336782" y="1756143"/>
            <a:ext cx="1295176" cy="1295176"/>
          </a:xfrm>
          <a:prstGeom prst="rect">
            <a:avLst/>
          </a:prstGeom>
          <a:noFill/>
          <a:ln>
            <a:noFill/>
          </a:ln>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3" name="Rectangle 1572">
            <a:extLst>
              <a:ext uri="{FF2B5EF4-FFF2-40B4-BE49-F238E27FC236}">
                <a16:creationId xmlns:a16="http://schemas.microsoft.com/office/drawing/2014/main" id="{867A073B-65FC-4366-BEF8-3702C1CA1D59}"/>
              </a:ext>
            </a:extLst>
          </p:cNvPr>
          <p:cNvSpPr/>
          <p:nvPr/>
        </p:nvSpPr>
        <p:spPr bwMode="auto">
          <a:xfrm>
            <a:off x="430124" y="845756"/>
            <a:ext cx="4255088" cy="1634201"/>
          </a:xfrm>
          <a:prstGeom prst="rect">
            <a:avLst/>
          </a:prstGeom>
          <a:noFill/>
          <a:ln w="12700" algn="ctr">
            <a:noFill/>
            <a:miter lim="800000"/>
            <a:headEnd/>
            <a:tailEnd/>
          </a:ln>
          <a:effectLst/>
        </p:spPr>
        <p:txBody>
          <a:bodyPr rot="0" spcFirstLastPara="0" vertOverflow="overflow" horzOverflow="overflow" vert="horz" wrap="square" lIns="1440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spcBef>
                <a:spcPts val="0"/>
              </a:spcBef>
              <a:spcAft>
                <a:spcPts val="0"/>
              </a:spcAft>
              <a:buClr>
                <a:srgbClr val="FF0000"/>
              </a:buClr>
              <a:buSzPct val="115000"/>
              <a:buFont typeface="Wingdings" pitchFamily="2" charset="2"/>
              <a:buNone/>
              <a:tabLst/>
              <a:defRPr/>
            </a:pPr>
            <a:r>
              <a:rPr kumimoji="0" lang="en-US" sz="2400" b="0" i="0" u="none" strike="noStrike" kern="1200" cap="all" spc="0" normalizeH="0" baseline="0" noProof="0" dirty="0">
                <a:ln>
                  <a:noFill/>
                </a:ln>
                <a:solidFill>
                  <a:srgbClr val="FFFFFF"/>
                </a:solidFill>
                <a:effectLst/>
                <a:uLnTx/>
                <a:uFillTx/>
                <a:latin typeface="+mj-lt"/>
                <a:ea typeface="+mn-ea"/>
                <a:cs typeface="Calibri" panose="020F0502020204030204" pitchFamily="34" charset="0"/>
              </a:rPr>
              <a:t>REMOTE WORK</a:t>
            </a:r>
          </a:p>
          <a:p>
            <a:pPr marL="0" marR="0" lvl="0" indent="0" algn="l" defTabSz="914400" rtl="0" eaLnBrk="1" fontAlgn="base" latinLnBrk="0" hangingPunct="1">
              <a:spcBef>
                <a:spcPts val="0"/>
              </a:spcBef>
              <a:spcAft>
                <a:spcPts val="0"/>
              </a:spcAft>
              <a:buClr>
                <a:srgbClr val="FF0000"/>
              </a:buClr>
              <a:buSzPct val="115000"/>
              <a:buFont typeface="Wingdings" pitchFamily="2" charset="2"/>
              <a:buNone/>
              <a:tabLst/>
              <a:defRPr/>
            </a:pPr>
            <a:r>
              <a:rPr kumimoji="0" lang="en-US" sz="3200" b="1"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IS NOW </a:t>
            </a:r>
            <a:br>
              <a:rPr kumimoji="0" lang="en-US" sz="3200" b="1"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br>
            <a:r>
              <a:rPr kumimoji="0" lang="en-US" sz="3200" b="1"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THE NEW WORLD</a:t>
            </a:r>
          </a:p>
        </p:txBody>
      </p:sp>
      <p:sp>
        <p:nvSpPr>
          <p:cNvPr id="1574" name="Rectangle 1573">
            <a:extLst>
              <a:ext uri="{FF2B5EF4-FFF2-40B4-BE49-F238E27FC236}">
                <a16:creationId xmlns:a16="http://schemas.microsoft.com/office/drawing/2014/main" id="{D89871D5-2BE1-4A75-923F-87D89FC710AC}"/>
              </a:ext>
            </a:extLst>
          </p:cNvPr>
          <p:cNvSpPr/>
          <p:nvPr/>
        </p:nvSpPr>
        <p:spPr bwMode="auto">
          <a:xfrm>
            <a:off x="410104" y="1441830"/>
            <a:ext cx="2084148" cy="726579"/>
          </a:xfrm>
          <a:prstGeom prst="rect">
            <a:avLst/>
          </a:prstGeom>
          <a:noFill/>
          <a:ln w="12700" algn="ctr">
            <a:noFill/>
            <a:miter lim="800000"/>
            <a:headEnd/>
            <a:tailEnd/>
          </a:ln>
          <a:effectLst/>
        </p:spPr>
        <p:txBody>
          <a:bodyPr rot="0" spcFirstLastPara="0" vertOverflow="overflow" horzOverflow="overflow" vert="horz" wrap="square" lIns="1440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panose="020F0502020204030204" pitchFamily="34" charset="0"/>
            </a:endParaRPr>
          </a:p>
        </p:txBody>
      </p:sp>
      <p:sp>
        <p:nvSpPr>
          <p:cNvPr id="1596" name="Rectangle 1595">
            <a:extLst>
              <a:ext uri="{FF2B5EF4-FFF2-40B4-BE49-F238E27FC236}">
                <a16:creationId xmlns:a16="http://schemas.microsoft.com/office/drawing/2014/main" id="{EAB547CF-FD0C-47E7-AF73-718BE226A26F}"/>
              </a:ext>
            </a:extLst>
          </p:cNvPr>
          <p:cNvSpPr/>
          <p:nvPr/>
        </p:nvSpPr>
        <p:spPr bwMode="auto">
          <a:xfrm>
            <a:off x="410104" y="2101030"/>
            <a:ext cx="4374229" cy="726579"/>
          </a:xfrm>
          <a:prstGeom prst="rect">
            <a:avLst/>
          </a:prstGeom>
          <a:noFill/>
          <a:ln w="12700" algn="ctr">
            <a:noFill/>
            <a:miter lim="800000"/>
            <a:headEnd/>
            <a:tailEnd/>
          </a:ln>
          <a:effectLst/>
        </p:spPr>
        <p:txBody>
          <a:bodyPr rot="0" spcFirstLastPara="0" vertOverflow="overflow" horzOverflow="overflow" vert="horz" wrap="square" lIns="1440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panose="020F0502020204030204" pitchFamily="34" charset="0"/>
            </a:endParaRPr>
          </a:p>
        </p:txBody>
      </p:sp>
      <p:cxnSp>
        <p:nvCxnSpPr>
          <p:cNvPr id="1607" name="Straight Connector 1606">
            <a:extLst>
              <a:ext uri="{FF2B5EF4-FFF2-40B4-BE49-F238E27FC236}">
                <a16:creationId xmlns:a16="http://schemas.microsoft.com/office/drawing/2014/main" id="{F419B8CC-D613-4233-9F39-791F20CCB223}"/>
              </a:ext>
            </a:extLst>
          </p:cNvPr>
          <p:cNvCxnSpPr>
            <a:cxnSpLocks/>
          </p:cNvCxnSpPr>
          <p:nvPr/>
        </p:nvCxnSpPr>
        <p:spPr bwMode="auto">
          <a:xfrm>
            <a:off x="-278676" y="728604"/>
            <a:ext cx="4827527" cy="0"/>
          </a:xfrm>
          <a:prstGeom prst="line">
            <a:avLst/>
          </a:prstGeom>
          <a:solidFill>
            <a:schemeClr val="bg1"/>
          </a:solidFill>
          <a:ln w="12700" cap="rnd"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25" name="Group 1624">
            <a:extLst>
              <a:ext uri="{FF2B5EF4-FFF2-40B4-BE49-F238E27FC236}">
                <a16:creationId xmlns:a16="http://schemas.microsoft.com/office/drawing/2014/main" id="{132C6632-254E-44B4-95C5-40C199DB6294}"/>
              </a:ext>
            </a:extLst>
          </p:cNvPr>
          <p:cNvGrpSpPr/>
          <p:nvPr/>
        </p:nvGrpSpPr>
        <p:grpSpPr>
          <a:xfrm>
            <a:off x="2915279" y="3584013"/>
            <a:ext cx="2432333" cy="1982752"/>
            <a:chOff x="5604663" y="2320025"/>
            <a:chExt cx="2223881" cy="1812829"/>
          </a:xfrm>
        </p:grpSpPr>
        <p:sp>
          <p:nvSpPr>
            <p:cNvPr id="1621" name="Freeform: Shape 1620">
              <a:extLst>
                <a:ext uri="{FF2B5EF4-FFF2-40B4-BE49-F238E27FC236}">
                  <a16:creationId xmlns:a16="http://schemas.microsoft.com/office/drawing/2014/main" id="{DBC55061-0F9F-46F3-8CF1-509A37BD2E42}"/>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2400" b="0" i="0" u="none" strike="noStrike" kern="1200" cap="none" spc="0" normalizeH="0" baseline="0" noProof="0" dirty="0" err="1">
                <a:ln>
                  <a:noFill/>
                </a:ln>
                <a:solidFill>
                  <a:srgbClr val="4D4D4F"/>
                </a:solidFill>
                <a:effectLst/>
                <a:uLnTx/>
                <a:uFillTx/>
                <a:latin typeface="Calibri"/>
                <a:ea typeface="+mn-ea"/>
                <a:cs typeface="Calibri" panose="020F0502020204030204" pitchFamily="34" charset="0"/>
              </a:endParaRPr>
            </a:p>
          </p:txBody>
        </p:sp>
        <p:sp>
          <p:nvSpPr>
            <p:cNvPr id="1622" name="Freeform: Shape 1621">
              <a:extLst>
                <a:ext uri="{FF2B5EF4-FFF2-40B4-BE49-F238E27FC236}">
                  <a16:creationId xmlns:a16="http://schemas.microsoft.com/office/drawing/2014/main" id="{EE413F99-CFBD-4CFE-A731-E2DC51C6740C}"/>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2400" b="0" i="0" u="none" strike="noStrike" kern="1200" cap="none" spc="0" normalizeH="0" baseline="0" noProof="0" dirty="0" err="1">
                <a:ln>
                  <a:noFill/>
                </a:ln>
                <a:solidFill>
                  <a:srgbClr val="4D4D4F"/>
                </a:solidFill>
                <a:effectLst/>
                <a:uLnTx/>
                <a:uFillTx/>
                <a:latin typeface="Calibri"/>
                <a:ea typeface="+mn-ea"/>
                <a:cs typeface="Calibri" panose="020F0502020204030204" pitchFamily="34" charset="0"/>
              </a:endParaRPr>
            </a:p>
          </p:txBody>
        </p:sp>
        <p:sp>
          <p:nvSpPr>
            <p:cNvPr id="1623" name="Freeform: Shape 1622">
              <a:extLst>
                <a:ext uri="{FF2B5EF4-FFF2-40B4-BE49-F238E27FC236}">
                  <a16:creationId xmlns:a16="http://schemas.microsoft.com/office/drawing/2014/main" id="{597747DD-FB40-4073-BD4F-101D4A642018}"/>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2400" b="0" i="0" u="none" strike="noStrike" kern="1200" cap="none" spc="0" normalizeH="0" baseline="0" noProof="0" dirty="0" err="1">
                <a:ln>
                  <a:noFill/>
                </a:ln>
                <a:solidFill>
                  <a:srgbClr val="4D4D4F"/>
                </a:solidFill>
                <a:effectLst/>
                <a:uLnTx/>
                <a:uFillTx/>
                <a:latin typeface="Calibri"/>
                <a:ea typeface="+mn-ea"/>
                <a:cs typeface="Calibri" panose="020F0502020204030204" pitchFamily="34" charset="0"/>
              </a:endParaRPr>
            </a:p>
          </p:txBody>
        </p:sp>
        <p:sp>
          <p:nvSpPr>
            <p:cNvPr id="1624" name="Freeform: Shape 1623">
              <a:extLst>
                <a:ext uri="{FF2B5EF4-FFF2-40B4-BE49-F238E27FC236}">
                  <a16:creationId xmlns:a16="http://schemas.microsoft.com/office/drawing/2014/main" id="{79806574-279A-4ACA-B1CA-F121B631AFAE}"/>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80000"/>
                </a:lnSpc>
                <a:spcBef>
                  <a:spcPts val="1200"/>
                </a:spcBef>
                <a:spcAft>
                  <a:spcPts val="0"/>
                </a:spcAft>
                <a:buClr>
                  <a:srgbClr val="FF0000"/>
                </a:buClr>
                <a:buSzPct val="115000"/>
                <a:buFont typeface="Wingdings" pitchFamily="2" charset="2"/>
                <a:buNone/>
                <a:tabLst/>
                <a:defRPr/>
              </a:pPr>
              <a:endParaRPr kumimoji="0" lang="en-US" sz="2400" b="0" i="0" u="none" strike="noStrike" kern="1200" cap="none" spc="0" normalizeH="0" baseline="0" noProof="0" dirty="0" err="1">
                <a:ln>
                  <a:noFill/>
                </a:ln>
                <a:solidFill>
                  <a:srgbClr val="4D4D4F"/>
                </a:solidFill>
                <a:effectLst/>
                <a:uLnTx/>
                <a:uFillTx/>
                <a:latin typeface="Calibri"/>
                <a:ea typeface="+mn-ea"/>
                <a:cs typeface="Calibri" panose="020F0502020204030204" pitchFamily="34" charset="0"/>
              </a:endParaRPr>
            </a:p>
          </p:txBody>
        </p:sp>
      </p:grpSp>
      <p:sp>
        <p:nvSpPr>
          <p:cNvPr id="3" name="Footer Placeholder 2" hidden="1"/>
          <p:cNvSpPr>
            <a:spLocks noGrp="1"/>
          </p:cNvSpPr>
          <p:nvPr>
            <p:ph type="ftr" sz="quarter" idx="11"/>
          </p:nvPr>
        </p:nvSpPr>
        <p:spPr/>
        <p:txBody>
          <a:bodyPr/>
          <a:lstStyle/>
          <a:p>
            <a:pPr marL="0" marR="0" lvl="0" indent="0" algn="ctr" defTabSz="914400" rtl="0" eaLnBrk="1" fontAlgn="base" latinLnBrk="0" hangingPunct="1">
              <a:lnSpc>
                <a:spcPct val="100000"/>
              </a:lnSpc>
              <a:spcBef>
                <a:spcPct val="20000"/>
              </a:spcBef>
              <a:spcAft>
                <a:spcPct val="0"/>
              </a:spcAft>
              <a:buClr>
                <a:srgbClr val="FF0000"/>
              </a:buClr>
              <a:buSzPct val="65000"/>
              <a:buFont typeface="Wingdings" pitchFamily="2" charset="2"/>
              <a:buNone/>
              <a:tabLst/>
              <a:defRPr/>
            </a:pPr>
            <a:r>
              <a:rPr kumimoji="0" lang="en-US" sz="900" b="0" i="0" u="none" strike="noStrike" kern="1200" cap="none" spc="0" normalizeH="0" baseline="0" noProof="0" dirty="0">
                <a:ln>
                  <a:noFill/>
                </a:ln>
                <a:solidFill>
                  <a:srgbClr val="FFFFFF">
                    <a:lumMod val="75000"/>
                  </a:srgbClr>
                </a:solidFill>
                <a:effectLst/>
                <a:uLnTx/>
                <a:uFillTx/>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marL="0" marR="0" lvl="0" indent="0" algn="l" defTabSz="914400" rtl="0" eaLnBrk="1" fontAlgn="base" latinLnBrk="0" hangingPunct="1">
              <a:lnSpc>
                <a:spcPct val="100000"/>
              </a:lnSpc>
              <a:spcBef>
                <a:spcPct val="20000"/>
              </a:spcBef>
              <a:spcAft>
                <a:spcPct val="0"/>
              </a:spcAft>
              <a:buClr>
                <a:srgbClr val="FF0000"/>
              </a:buClr>
              <a:buSzPct val="65000"/>
              <a:buFont typeface="Wingdings" pitchFamily="2" charset="2"/>
              <a:buNone/>
              <a:tabLst/>
              <a:defRPr/>
            </a:pPr>
            <a:endParaRPr kumimoji="0" lang="en-US" sz="1200" b="0" i="0" u="none" strike="noStrike" kern="1200" cap="none" spc="0" normalizeH="0" baseline="0" noProof="0" dirty="0">
              <a:ln>
                <a:noFill/>
              </a:ln>
              <a:solidFill>
                <a:srgbClr val="4D4D4F">
                  <a:tint val="75000"/>
                </a:srgbClr>
              </a:solidFill>
              <a:effectLst/>
              <a:uLnTx/>
              <a:uFillTx/>
              <a:latin typeface="Helvetica" pitchFamily="34" charset="0"/>
              <a:ea typeface="+mn-ea"/>
              <a:cs typeface="+mn-cs"/>
            </a:endParaRPr>
          </a:p>
        </p:txBody>
      </p:sp>
      <p:sp>
        <p:nvSpPr>
          <p:cNvPr id="14" name="Rectangle 13">
            <a:extLst>
              <a:ext uri="{FF2B5EF4-FFF2-40B4-BE49-F238E27FC236}">
                <a16:creationId xmlns:a16="http://schemas.microsoft.com/office/drawing/2014/main" id="{7444FF13-D5C2-45D8-BCAE-6F7CA46AF2F1}"/>
              </a:ext>
            </a:extLst>
          </p:cNvPr>
          <p:cNvSpPr/>
          <p:nvPr/>
        </p:nvSpPr>
        <p:spPr bwMode="auto">
          <a:xfrm>
            <a:off x="7965589" y="-114821"/>
            <a:ext cx="3729288" cy="6620552"/>
          </a:xfrm>
          <a:prstGeom prst="rect">
            <a:avLst/>
          </a:prstGeom>
          <a:solidFill>
            <a:schemeClr val="accent6"/>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sp>
        <p:nvSpPr>
          <p:cNvPr id="15" name="Line Callout 1 4484">
            <a:extLst>
              <a:ext uri="{FF2B5EF4-FFF2-40B4-BE49-F238E27FC236}">
                <a16:creationId xmlns:a16="http://schemas.microsoft.com/office/drawing/2014/main" id="{3EFD55D0-3A26-466E-A9D2-ED37E9A1B93C}"/>
              </a:ext>
            </a:extLst>
          </p:cNvPr>
          <p:cNvSpPr/>
          <p:nvPr/>
        </p:nvSpPr>
        <p:spPr bwMode="auto">
          <a:xfrm>
            <a:off x="8234822" y="3405667"/>
            <a:ext cx="3797851" cy="1353369"/>
          </a:xfrm>
          <a:prstGeom prst="borderCallout1">
            <a:avLst>
              <a:gd name="adj1" fmla="val 98693"/>
              <a:gd name="adj2" fmla="val 92533"/>
              <a:gd name="adj3" fmla="val 83320"/>
              <a:gd name="adj4" fmla="val 72741"/>
            </a:avLst>
          </a:prstGeom>
          <a:no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fontAlgn="base">
              <a:spcBef>
                <a:spcPct val="30000"/>
              </a:spcBef>
              <a:spcAft>
                <a:spcPct val="0"/>
              </a:spcAft>
              <a:buClrTx/>
              <a:defRPr/>
            </a:pPr>
            <a:r>
              <a:rPr lang="en-GB" sz="3199" kern="1200" dirty="0">
                <a:solidFill>
                  <a:srgbClr val="FFFFFF"/>
                </a:solidFill>
                <a:latin typeface="Arial Black" panose="020B0A04020102020204" pitchFamily="34" charset="0"/>
                <a:ea typeface="+mn-ea"/>
                <a:cs typeface="Calibri" panose="020F0502020204030204" pitchFamily="34" charset="0"/>
              </a:rPr>
              <a:t>74</a:t>
            </a:r>
            <a:r>
              <a:rPr lang="en-US" sz="2399" kern="1200" dirty="0">
                <a:solidFill>
                  <a:srgbClr val="FFFFFF"/>
                </a:solidFill>
                <a:latin typeface="Arial Black" panose="020B0A04020102020204" pitchFamily="34" charset="0"/>
                <a:ea typeface="+mn-ea"/>
                <a:cs typeface="Calibri" panose="020F0502020204030204" pitchFamily="34" charset="0"/>
              </a:rPr>
              <a:t>%</a:t>
            </a:r>
            <a:r>
              <a:rPr lang="en-US" sz="3199" kern="1200" dirty="0">
                <a:solidFill>
                  <a:srgbClr val="FFFFFF"/>
                </a:solidFill>
                <a:latin typeface="Helvetica" pitchFamily="34" charset="0"/>
                <a:ea typeface="+mn-ea"/>
                <a:cs typeface="Calibri" panose="020F0502020204030204" pitchFamily="34" charset="0"/>
              </a:rPr>
              <a:t>  </a:t>
            </a:r>
          </a:p>
          <a:p>
            <a:pPr defTabSz="914126" fontAlgn="base">
              <a:spcAft>
                <a:spcPct val="0"/>
              </a:spcAft>
              <a:buClrTx/>
              <a:defRPr/>
            </a:pPr>
            <a:r>
              <a:rPr lang="en-GB" sz="1800" kern="1200" dirty="0">
                <a:solidFill>
                  <a:srgbClr val="FFFFFF"/>
                </a:solidFill>
                <a:latin typeface="Calibri" panose="020F0502020204030204" pitchFamily="34" charset="0"/>
                <a:ea typeface="+mn-ea"/>
                <a:cs typeface="Calibri" panose="020F0502020204030204" pitchFamily="34" charset="0"/>
              </a:rPr>
              <a:t>Plan to enable large-scale remote working permanently </a:t>
            </a:r>
          </a:p>
          <a:p>
            <a:pPr defTabSz="914126" fontAlgn="base">
              <a:spcAft>
                <a:spcPct val="0"/>
              </a:spcAft>
              <a:buClrTx/>
              <a:defRPr/>
            </a:pPr>
            <a:r>
              <a:rPr lang="en-GB" sz="1800" kern="1200" dirty="0">
                <a:solidFill>
                  <a:srgbClr val="FFFFFF"/>
                </a:solidFill>
                <a:latin typeface="Calibri" panose="020F0502020204030204" pitchFamily="34" charset="0"/>
                <a:ea typeface="+mn-ea"/>
                <a:cs typeface="Calibri" panose="020F0502020204030204" pitchFamily="34" charset="0"/>
              </a:rPr>
              <a:t>(Gartner)</a:t>
            </a:r>
          </a:p>
        </p:txBody>
      </p:sp>
      <p:cxnSp>
        <p:nvCxnSpPr>
          <p:cNvPr id="16" name="Straight Connector 15">
            <a:extLst>
              <a:ext uri="{FF2B5EF4-FFF2-40B4-BE49-F238E27FC236}">
                <a16:creationId xmlns:a16="http://schemas.microsoft.com/office/drawing/2014/main" id="{54A1C47C-2B40-4EDD-BB7E-9BA885D2C6D4}"/>
              </a:ext>
            </a:extLst>
          </p:cNvPr>
          <p:cNvCxnSpPr>
            <a:cxnSpLocks/>
          </p:cNvCxnSpPr>
          <p:nvPr/>
        </p:nvCxnSpPr>
        <p:spPr bwMode="auto">
          <a:xfrm>
            <a:off x="8234822" y="3242975"/>
            <a:ext cx="1079719" cy="0"/>
          </a:xfrm>
          <a:prstGeom prst="line">
            <a:avLst/>
          </a:prstGeom>
          <a:solidFill>
            <a:schemeClr val="bg1"/>
          </a:solidFill>
          <a:ln w="12700" cap="rnd" cmpd="sng" algn="ctr">
            <a:solidFill>
              <a:schemeClr val="bg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75042839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819"/>
        <p:cNvGrpSpPr/>
        <p:nvPr/>
      </p:nvGrpSpPr>
      <p:grpSpPr>
        <a:xfrm>
          <a:off x="0" y="0"/>
          <a:ext cx="0" cy="0"/>
          <a:chOff x="0" y="0"/>
          <a:chExt cx="0" cy="0"/>
        </a:xfrm>
      </p:grpSpPr>
      <p:pic>
        <p:nvPicPr>
          <p:cNvPr id="147" name="Picture 146"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967425" y="2831449"/>
            <a:ext cx="1469801" cy="1519795"/>
          </a:xfrm>
          <a:prstGeom prst="ellipse">
            <a:avLst/>
          </a:prstGeom>
        </p:spPr>
      </p:pic>
      <p:sp>
        <p:nvSpPr>
          <p:cNvPr id="3" name="Rectangle 2"/>
          <p:cNvSpPr/>
          <p:nvPr/>
        </p:nvSpPr>
        <p:spPr bwMode="auto">
          <a:xfrm>
            <a:off x="-11375" y="5618480"/>
            <a:ext cx="12185651" cy="737188"/>
          </a:xfrm>
          <a:prstGeom prst="rect">
            <a:avLst/>
          </a:prstGeom>
          <a:solidFill>
            <a:schemeClr val="bg1">
              <a:lumMod val="95000"/>
            </a:schemeClr>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lnSpc>
                <a:spcPct val="80000"/>
              </a:lnSpc>
              <a:spcBef>
                <a:spcPts val="1200"/>
              </a:spcBef>
              <a:buSzPct val="115000"/>
            </a:pPr>
            <a:endParaRPr lang="en-US" sz="2400" dirty="0" err="1">
              <a:latin typeface="+mj-lt"/>
              <a:ea typeface="+mn-ea"/>
              <a:cs typeface="Calibri" panose="020F0502020204030204" pitchFamily="34" charset="0"/>
            </a:endParaRPr>
          </a:p>
        </p:txBody>
      </p:sp>
      <p:sp>
        <p:nvSpPr>
          <p:cNvPr id="1825" name="Google Shape;1825;p15" descr="Pen, pendrive, usb Free Icon of Office Icons"/>
          <p:cNvSpPr/>
          <p:nvPr/>
        </p:nvSpPr>
        <p:spPr>
          <a:xfrm>
            <a:off x="157121" y="-143532"/>
            <a:ext cx="304721" cy="304722"/>
          </a:xfrm>
          <a:prstGeom prst="rect">
            <a:avLst/>
          </a:prstGeom>
          <a:noFill/>
          <a:ln>
            <a:noFill/>
          </a:ln>
        </p:spPr>
        <p:txBody>
          <a:bodyPr spcFirstLastPara="1" wrap="square" lIns="91401" tIns="45688" rIns="91401" bIns="45688" anchor="t" anchorCtr="0">
            <a:noAutofit/>
          </a:bodyPr>
          <a:lstStyle/>
          <a:p>
            <a:pPr defTabSz="914126"/>
            <a:endParaRPr sz="3999" dirty="0">
              <a:solidFill>
                <a:srgbClr val="4D4D4F"/>
              </a:solidFill>
              <a:latin typeface="Calibri" panose="020F0502020204030204" pitchFamily="34" charset="0"/>
              <a:ea typeface="Helvetica Neue"/>
              <a:cs typeface="Calibri" panose="020F0502020204030204" pitchFamily="34" charset="0"/>
              <a:sym typeface="Helvetica Neue"/>
            </a:endParaRPr>
          </a:p>
        </p:txBody>
      </p:sp>
      <p:sp>
        <p:nvSpPr>
          <p:cNvPr id="4" name="Date Placeholder 3" hidden="1"/>
          <p:cNvSpPr>
            <a:spLocks noGrp="1"/>
          </p:cNvSpPr>
          <p:nvPr>
            <p:ph type="dt" idx="10"/>
          </p:nvPr>
        </p:nvSpPr>
        <p:spPr/>
        <p:txBody>
          <a:bodyPr/>
          <a:lstStyle/>
          <a:p>
            <a:pPr defTabSz="914126">
              <a:buClrTx/>
            </a:pPr>
            <a:endParaRPr lang="en-US" kern="1200" dirty="0">
              <a:solidFill>
                <a:srgbClr val="4D4D4F">
                  <a:tint val="75000"/>
                </a:srgbClr>
              </a:solidFill>
              <a:latin typeface="Calibri"/>
              <a:ea typeface="+mn-ea"/>
              <a:cs typeface="+mn-cs"/>
            </a:endParaRPr>
          </a:p>
        </p:txBody>
      </p:sp>
      <p:sp>
        <p:nvSpPr>
          <p:cNvPr id="2" name="Footer Placeholder 1" hidden="1"/>
          <p:cNvSpPr>
            <a:spLocks noGrp="1"/>
          </p:cNvSpPr>
          <p:nvPr>
            <p:ph type="ftr" sz="quarter" idx="11"/>
          </p:nvPr>
        </p:nvSpPr>
        <p:spPr/>
        <p:txBody>
          <a:bodyPr/>
          <a:lstStyle/>
          <a:p>
            <a:pPr defTabSz="914126">
              <a:buClrTx/>
            </a:pPr>
            <a:r>
              <a:rPr lang="en-US" kern="1200" dirty="0">
                <a:solidFill>
                  <a:srgbClr val="FFFFFF">
                    <a:lumMod val="75000"/>
                  </a:srgbClr>
                </a:solidFill>
                <a:latin typeface="Calibri"/>
                <a:ea typeface="+mn-ea"/>
                <a:cs typeface="+mn-cs"/>
              </a:rPr>
              <a:t> [Internal Use] for Check Point employees​</a:t>
            </a:r>
          </a:p>
        </p:txBody>
      </p:sp>
      <p:sp>
        <p:nvSpPr>
          <p:cNvPr id="54" name="Google Shape;5163;p40">
            <a:extLst>
              <a:ext uri="{FF2B5EF4-FFF2-40B4-BE49-F238E27FC236}">
                <a16:creationId xmlns:a16="http://schemas.microsoft.com/office/drawing/2014/main" id="{FC3A97B9-9C12-41E4-BCDC-CED2267C4F4E}"/>
              </a:ext>
            </a:extLst>
          </p:cNvPr>
          <p:cNvSpPr/>
          <p:nvPr/>
        </p:nvSpPr>
        <p:spPr>
          <a:xfrm>
            <a:off x="3850254" y="3355845"/>
            <a:ext cx="1301047" cy="300578"/>
          </a:xfrm>
          <a:prstGeom prst="rect">
            <a:avLst/>
          </a:prstGeom>
          <a:noFill/>
          <a:ln>
            <a:noFill/>
          </a:ln>
        </p:spPr>
        <p:txBody>
          <a:bodyPr spcFirstLastPara="1" wrap="square" lIns="35982" tIns="35982" rIns="35982" bIns="35982" anchor="ctr" anchorCtr="0">
            <a:noAutofit/>
          </a:bodyPr>
          <a:lstStyle/>
          <a:p>
            <a:pPr defTabSz="913852">
              <a:buClrTx/>
              <a:defRPr/>
            </a:pPr>
            <a:r>
              <a:rPr lang="en-US" sz="1600" b="1" kern="1200" cap="all" dirty="0">
                <a:solidFill>
                  <a:srgbClr val="7D0085"/>
                </a:solidFill>
                <a:latin typeface="+mj-lt"/>
                <a:ea typeface="+mn-ea"/>
                <a:cs typeface="Calibri" panose="020F0502020204030204" pitchFamily="34" charset="0"/>
              </a:rPr>
              <a:t>All vectors</a:t>
            </a:r>
            <a:endParaRPr sz="1600" b="1" kern="1200" cap="all" dirty="0">
              <a:solidFill>
                <a:srgbClr val="7D0085"/>
              </a:solidFill>
              <a:latin typeface="+mj-lt"/>
              <a:ea typeface="+mn-ea"/>
              <a:cs typeface="Calibri" panose="020F0502020204030204" pitchFamily="34" charset="0"/>
            </a:endParaRPr>
          </a:p>
        </p:txBody>
      </p:sp>
      <p:cxnSp>
        <p:nvCxnSpPr>
          <p:cNvPr id="56" name="Google Shape;5162;p40"/>
          <p:cNvCxnSpPr>
            <a:cxnSpLocks/>
          </p:cNvCxnSpPr>
          <p:nvPr/>
        </p:nvCxnSpPr>
        <p:spPr>
          <a:xfrm>
            <a:off x="5133676" y="1651749"/>
            <a:ext cx="0" cy="971747"/>
          </a:xfrm>
          <a:prstGeom prst="straightConnector1">
            <a:avLst/>
          </a:prstGeom>
          <a:solidFill>
            <a:schemeClr val="lt1"/>
          </a:solidFill>
          <a:ln w="19050" cap="rnd" cmpd="sng">
            <a:solidFill>
              <a:srgbClr val="6A0834"/>
            </a:solidFill>
            <a:prstDash val="solid"/>
            <a:round/>
            <a:headEnd type="none" w="sm" len="sm"/>
            <a:tailEnd type="none" w="sm" len="sm"/>
          </a:ln>
        </p:spPr>
      </p:cxnSp>
      <p:sp>
        <p:nvSpPr>
          <p:cNvPr id="57" name="Google Shape;5163;p40"/>
          <p:cNvSpPr/>
          <p:nvPr/>
        </p:nvSpPr>
        <p:spPr>
          <a:xfrm>
            <a:off x="3852899" y="1993878"/>
            <a:ext cx="1328068" cy="302380"/>
          </a:xfrm>
          <a:prstGeom prst="rect">
            <a:avLst/>
          </a:prstGeom>
          <a:noFill/>
          <a:ln>
            <a:noFill/>
          </a:ln>
        </p:spPr>
        <p:txBody>
          <a:bodyPr spcFirstLastPara="1" wrap="square" lIns="35982" tIns="35982" rIns="35982" bIns="35982" anchor="ctr" anchorCtr="0">
            <a:noAutofit/>
          </a:bodyPr>
          <a:lstStyle/>
          <a:p>
            <a:pPr defTabSz="913852">
              <a:buClrTx/>
              <a:defRPr/>
            </a:pPr>
            <a:r>
              <a:rPr lang="en-US" sz="1600" b="1" kern="1200" cap="all" dirty="0">
                <a:solidFill>
                  <a:srgbClr val="6A0834"/>
                </a:solidFill>
                <a:latin typeface="+mj-lt"/>
                <a:ea typeface="+mn-ea"/>
                <a:cs typeface="Calibri" panose="020F0502020204030204" pitchFamily="34" charset="0"/>
              </a:rPr>
              <a:t>All threats</a:t>
            </a:r>
            <a:endParaRPr sz="1798" b="1" kern="1200" cap="all" dirty="0">
              <a:solidFill>
                <a:srgbClr val="6A0834"/>
              </a:solidFill>
              <a:latin typeface="+mj-lt"/>
              <a:ea typeface="+mn-ea"/>
              <a:cs typeface="Calibri" panose="020F0502020204030204" pitchFamily="34" charset="0"/>
            </a:endParaRPr>
          </a:p>
        </p:txBody>
      </p:sp>
      <p:sp>
        <p:nvSpPr>
          <p:cNvPr id="75" name="TextBox 74"/>
          <p:cNvSpPr txBox="1"/>
          <p:nvPr/>
        </p:nvSpPr>
        <p:spPr bwMode="auto">
          <a:xfrm>
            <a:off x="10797119" y="1778519"/>
            <a:ext cx="1320852" cy="261542"/>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Man-in-the-Middle</a:t>
            </a:r>
          </a:p>
        </p:txBody>
      </p:sp>
      <p:sp>
        <p:nvSpPr>
          <p:cNvPr id="114" name="TextBox 113"/>
          <p:cNvSpPr txBox="1"/>
          <p:nvPr/>
        </p:nvSpPr>
        <p:spPr bwMode="auto">
          <a:xfrm>
            <a:off x="10797120" y="2205545"/>
            <a:ext cx="819407"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Bot attacks</a:t>
            </a:r>
          </a:p>
        </p:txBody>
      </p:sp>
      <p:sp>
        <p:nvSpPr>
          <p:cNvPr id="118" name="TextBox 117"/>
          <p:cNvSpPr txBox="1"/>
          <p:nvPr/>
        </p:nvSpPr>
        <p:spPr bwMode="auto">
          <a:xfrm>
            <a:off x="7229579" y="1764317"/>
            <a:ext cx="901837" cy="26158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Zero-days</a:t>
            </a:r>
          </a:p>
        </p:txBody>
      </p:sp>
      <p:sp>
        <p:nvSpPr>
          <p:cNvPr id="120" name="TextBox 119"/>
          <p:cNvSpPr txBox="1"/>
          <p:nvPr/>
        </p:nvSpPr>
        <p:spPr bwMode="auto">
          <a:xfrm>
            <a:off x="7211505" y="2190993"/>
            <a:ext cx="931617"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Ransomware</a:t>
            </a:r>
          </a:p>
        </p:txBody>
      </p:sp>
      <p:sp>
        <p:nvSpPr>
          <p:cNvPr id="119" name="TextBox 118"/>
          <p:cNvSpPr txBox="1"/>
          <p:nvPr/>
        </p:nvSpPr>
        <p:spPr bwMode="auto">
          <a:xfrm>
            <a:off x="9070760" y="1774286"/>
            <a:ext cx="921999"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Data leakage</a:t>
            </a:r>
          </a:p>
        </p:txBody>
      </p:sp>
      <p:sp>
        <p:nvSpPr>
          <p:cNvPr id="143" name="TextBox 142"/>
          <p:cNvSpPr txBox="1"/>
          <p:nvPr/>
        </p:nvSpPr>
        <p:spPr bwMode="auto">
          <a:xfrm>
            <a:off x="9067272" y="2185613"/>
            <a:ext cx="1598344" cy="261542"/>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Account takeover</a:t>
            </a:r>
          </a:p>
        </p:txBody>
      </p:sp>
      <p:sp>
        <p:nvSpPr>
          <p:cNvPr id="144" name="TextBox 143"/>
          <p:cNvSpPr txBox="1"/>
          <p:nvPr/>
        </p:nvSpPr>
        <p:spPr bwMode="auto">
          <a:xfrm>
            <a:off x="5514200" y="2182201"/>
            <a:ext cx="662312"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Phishing</a:t>
            </a:r>
          </a:p>
        </p:txBody>
      </p:sp>
      <p:sp>
        <p:nvSpPr>
          <p:cNvPr id="145" name="TextBox 144"/>
          <p:cNvSpPr txBox="1"/>
          <p:nvPr/>
        </p:nvSpPr>
        <p:spPr bwMode="auto">
          <a:xfrm>
            <a:off x="5509317" y="1795999"/>
            <a:ext cx="718279" cy="261542"/>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Malware</a:t>
            </a:r>
          </a:p>
        </p:txBody>
      </p:sp>
      <p:sp>
        <p:nvSpPr>
          <p:cNvPr id="165" name="Google Shape;5163;p40">
            <a:extLst>
              <a:ext uri="{FF2B5EF4-FFF2-40B4-BE49-F238E27FC236}">
                <a16:creationId xmlns:a16="http://schemas.microsoft.com/office/drawing/2014/main" id="{F354AAB1-BE6A-4C26-AF84-194F3AFEA033}"/>
              </a:ext>
            </a:extLst>
          </p:cNvPr>
          <p:cNvSpPr/>
          <p:nvPr/>
        </p:nvSpPr>
        <p:spPr>
          <a:xfrm>
            <a:off x="3852899" y="4899567"/>
            <a:ext cx="1159667" cy="361370"/>
          </a:xfrm>
          <a:prstGeom prst="rect">
            <a:avLst/>
          </a:prstGeom>
          <a:noFill/>
          <a:ln>
            <a:noFill/>
          </a:ln>
        </p:spPr>
        <p:txBody>
          <a:bodyPr spcFirstLastPara="1" wrap="square" lIns="35982" tIns="35982" rIns="35982" bIns="35982" anchor="ctr" anchorCtr="0">
            <a:noAutofit/>
          </a:bodyPr>
          <a:lstStyle/>
          <a:p>
            <a:pPr defTabSz="913852">
              <a:buClrTx/>
              <a:defRPr/>
            </a:pPr>
            <a:r>
              <a:rPr lang="en-US" sz="1600" b="1" kern="1200" cap="all" dirty="0">
                <a:solidFill>
                  <a:srgbClr val="E45785"/>
                </a:solidFill>
                <a:latin typeface="+mj-lt"/>
                <a:ea typeface="+mn-ea"/>
                <a:cs typeface="Calibri" panose="020F0502020204030204" pitchFamily="34" charset="0"/>
              </a:rPr>
              <a:t>ALL Devices</a:t>
            </a:r>
            <a:endParaRPr sz="1798" b="1" kern="1200" cap="all" dirty="0">
              <a:solidFill>
                <a:srgbClr val="E45785"/>
              </a:solidFill>
              <a:latin typeface="+mj-lt"/>
              <a:ea typeface="+mn-ea"/>
              <a:cs typeface="Calibri" panose="020F0502020204030204" pitchFamily="34" charset="0"/>
            </a:endParaRPr>
          </a:p>
        </p:txBody>
      </p:sp>
      <p:sp>
        <p:nvSpPr>
          <p:cNvPr id="166" name="TextBox 165"/>
          <p:cNvSpPr txBox="1"/>
          <p:nvPr/>
        </p:nvSpPr>
        <p:spPr bwMode="auto">
          <a:xfrm>
            <a:off x="4058372" y="5738934"/>
            <a:ext cx="2066207" cy="584751"/>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r>
              <a:rPr lang="en-US" sz="1600" dirty="0">
                <a:latin typeface="+mj-lt"/>
                <a:ea typeface="+mn-ea"/>
                <a:cs typeface="Calibri" panose="020F0502020204030204" pitchFamily="34" charset="0"/>
              </a:rPr>
              <a:t>60+ AI &amp; traditional security engines </a:t>
            </a:r>
          </a:p>
        </p:txBody>
      </p:sp>
      <p:sp>
        <p:nvSpPr>
          <p:cNvPr id="167" name="TextBox 166"/>
          <p:cNvSpPr txBox="1"/>
          <p:nvPr/>
        </p:nvSpPr>
        <p:spPr bwMode="auto">
          <a:xfrm>
            <a:off x="8765071" y="5734679"/>
            <a:ext cx="2851455" cy="584751"/>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r>
              <a:rPr lang="en-US" sz="1600" dirty="0">
                <a:latin typeface="+mj-lt"/>
                <a:ea typeface="+mn-ea"/>
                <a:cs typeface="Calibri" panose="020F0502020204030204" pitchFamily="34" charset="0"/>
              </a:rPr>
              <a:t>The industry’s most powerful threat intelligence </a:t>
            </a:r>
          </a:p>
        </p:txBody>
      </p:sp>
      <p:pic>
        <p:nvPicPr>
          <p:cNvPr id="179" name="Picture 178">
            <a:extLst>
              <a:ext uri="{FF2B5EF4-FFF2-40B4-BE49-F238E27FC236}">
                <a16:creationId xmlns:a16="http://schemas.microsoft.com/office/drawing/2014/main" id="{C4E32EBC-9424-4E30-B2F5-95D6E2AFA79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54965" y="5783958"/>
            <a:ext cx="586660" cy="509788"/>
          </a:xfrm>
          <a:prstGeom prst="rect">
            <a:avLst/>
          </a:prstGeom>
          <a:ln>
            <a:noFill/>
            <a:headEnd/>
            <a:tailEnd/>
          </a:ln>
          <a:effectLst>
            <a:glow rad="101600">
              <a:schemeClr val="bg2">
                <a:lumMod val="40000"/>
                <a:lumOff val="60000"/>
                <a:alpha val="40000"/>
              </a:schemeClr>
            </a:glow>
          </a:effectLst>
        </p:spPr>
      </p:pic>
      <p:pic>
        <p:nvPicPr>
          <p:cNvPr id="180" name="Picture 179"/>
          <p:cNvPicPr>
            <a:picLocks noChangeAspect="1"/>
          </p:cNvPicPr>
          <p:nvPr/>
        </p:nvPicPr>
        <p:blipFill>
          <a:blip r:embed="rId5" cstate="print">
            <a:extLst>
              <a:ext uri="{BEBA8EAE-BF5A-486C-A8C5-ECC9F3942E4B}">
                <a14:imgProps xmlns:a14="http://schemas.microsoft.com/office/drawing/2010/main">
                  <a14:imgLayer r:embed="rId6">
                    <a14:imgEffect>
                      <a14:saturation sat="200000"/>
                    </a14:imgEffect>
                  </a14:imgLayer>
                </a14:imgProps>
              </a:ext>
              <a:ext uri="{28A0092B-C50C-407E-A947-70E740481C1C}">
                <a14:useLocalDpi xmlns:a14="http://schemas.microsoft.com/office/drawing/2010/main"/>
              </a:ext>
            </a:extLst>
          </a:blip>
          <a:stretch>
            <a:fillRect/>
          </a:stretch>
        </p:blipFill>
        <p:spPr>
          <a:xfrm>
            <a:off x="7599038" y="5968009"/>
            <a:ext cx="924039" cy="141686"/>
          </a:xfrm>
          <a:prstGeom prst="rect">
            <a:avLst/>
          </a:prstGeom>
        </p:spPr>
      </p:pic>
      <p:grpSp>
        <p:nvGrpSpPr>
          <p:cNvPr id="182" name="Group 181"/>
          <p:cNvGrpSpPr/>
          <p:nvPr/>
        </p:nvGrpSpPr>
        <p:grpSpPr>
          <a:xfrm>
            <a:off x="593228" y="2282576"/>
            <a:ext cx="2383352" cy="2613615"/>
            <a:chOff x="460374" y="2332725"/>
            <a:chExt cx="3067298" cy="3363639"/>
          </a:xfrm>
        </p:grpSpPr>
        <p:grpSp>
          <p:nvGrpSpPr>
            <p:cNvPr id="183" name="Group 182">
              <a:extLst>
                <a:ext uri="{FF2B5EF4-FFF2-40B4-BE49-F238E27FC236}">
                  <a16:creationId xmlns:a16="http://schemas.microsoft.com/office/drawing/2014/main" id="{4B9E4421-4599-47D5-8729-73E4617F29A2}"/>
                </a:ext>
              </a:extLst>
            </p:cNvPr>
            <p:cNvGrpSpPr/>
            <p:nvPr/>
          </p:nvGrpSpPr>
          <p:grpSpPr>
            <a:xfrm>
              <a:off x="460374" y="2332725"/>
              <a:ext cx="3067298" cy="3363639"/>
              <a:chOff x="-1429655" y="2004674"/>
              <a:chExt cx="3671122" cy="4025800"/>
            </a:xfrm>
          </p:grpSpPr>
          <p:sp>
            <p:nvSpPr>
              <p:cNvPr id="186"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398" kern="1200" dirty="0">
                  <a:solidFill>
                    <a:srgbClr val="4D4D4F"/>
                  </a:solidFill>
                  <a:latin typeface="+mj-lt"/>
                  <a:ea typeface="+mn-ea"/>
                  <a:cs typeface="Calibri" panose="020F0502020204030204" pitchFamily="34" charset="0"/>
                </a:endParaRPr>
              </a:p>
            </p:txBody>
          </p:sp>
          <p:sp>
            <p:nvSpPr>
              <p:cNvPr id="187"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398" kern="1200" dirty="0">
                  <a:solidFill>
                    <a:srgbClr val="4D4D4F"/>
                  </a:solidFill>
                  <a:latin typeface="+mj-lt"/>
                  <a:ea typeface="+mn-ea"/>
                  <a:cs typeface="Calibri" panose="020F0502020204030204" pitchFamily="34" charset="0"/>
                </a:endParaRPr>
              </a:p>
            </p:txBody>
          </p:sp>
          <p:sp>
            <p:nvSpPr>
              <p:cNvPr id="188"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398" kern="1200" dirty="0">
                  <a:solidFill>
                    <a:srgbClr val="4D4D4F"/>
                  </a:solidFill>
                  <a:latin typeface="+mj-lt"/>
                  <a:ea typeface="+mn-ea"/>
                  <a:cs typeface="Calibri" panose="020F0502020204030204" pitchFamily="34" charset="0"/>
                </a:endParaRPr>
              </a:p>
            </p:txBody>
          </p:sp>
        </p:grpSp>
        <p:pic>
          <p:nvPicPr>
            <p:cNvPr id="185" name="Picture 184" descr="Logo&#10;&#10;Description automatically generated">
              <a:extLst>
                <a:ext uri="{FF2B5EF4-FFF2-40B4-BE49-F238E27FC236}">
                  <a16:creationId xmlns:a16="http://schemas.microsoft.com/office/drawing/2014/main" id="{DB2933D5-85B9-4EF3-AF50-109274557587}"/>
                </a:ext>
              </a:extLst>
            </p:cNvPr>
            <p:cNvPicPr>
              <a:picLocks noChangeAspect="1"/>
            </p:cNvPicPr>
            <p:nvPr/>
          </p:nvPicPr>
          <p:blipFill rotWithShape="1">
            <a:blip r:embed="rId7" cstate="print">
              <a:alphaModFix amt="85000"/>
              <a:extLst>
                <a:ext uri="{28A0092B-C50C-407E-A947-70E740481C1C}">
                  <a14:useLocalDpi xmlns:a14="http://schemas.microsoft.com/office/drawing/2010/main"/>
                </a:ext>
              </a:extLst>
            </a:blip>
            <a:srcRect/>
            <a:stretch/>
          </p:blipFill>
          <p:spPr>
            <a:xfrm>
              <a:off x="1672003" y="4020212"/>
              <a:ext cx="558594" cy="556334"/>
            </a:xfrm>
            <a:prstGeom prst="rect">
              <a:avLst/>
            </a:prstGeom>
          </p:spPr>
        </p:pic>
      </p:grpSp>
      <p:cxnSp>
        <p:nvCxnSpPr>
          <p:cNvPr id="115" name="Google Shape;5162;p40">
            <a:extLst>
              <a:ext uri="{FF2B5EF4-FFF2-40B4-BE49-F238E27FC236}">
                <a16:creationId xmlns:a16="http://schemas.microsoft.com/office/drawing/2014/main" id="{7D7AFF1D-EFD7-45A7-8CDA-A793369DDCF4}"/>
              </a:ext>
            </a:extLst>
          </p:cNvPr>
          <p:cNvCxnSpPr>
            <a:cxnSpLocks/>
          </p:cNvCxnSpPr>
          <p:nvPr/>
        </p:nvCxnSpPr>
        <p:spPr>
          <a:xfrm>
            <a:off x="5131032" y="3056701"/>
            <a:ext cx="0" cy="971747"/>
          </a:xfrm>
          <a:prstGeom prst="straightConnector1">
            <a:avLst/>
          </a:prstGeom>
          <a:solidFill>
            <a:schemeClr val="lt1"/>
          </a:solidFill>
          <a:ln w="19050" cap="rnd" cmpd="sng">
            <a:solidFill>
              <a:srgbClr val="7D0085"/>
            </a:solidFill>
            <a:prstDash val="solid"/>
            <a:round/>
            <a:headEnd type="none" w="sm" len="sm"/>
            <a:tailEnd type="none" w="sm" len="sm"/>
          </a:ln>
        </p:spPr>
      </p:cxnSp>
      <p:cxnSp>
        <p:nvCxnSpPr>
          <p:cNvPr id="121" name="Google Shape;5162;p40">
            <a:extLst>
              <a:ext uri="{FF2B5EF4-FFF2-40B4-BE49-F238E27FC236}">
                <a16:creationId xmlns:a16="http://schemas.microsoft.com/office/drawing/2014/main" id="{32703C52-FCE1-4181-A0C2-A70C70AB6F4F}"/>
              </a:ext>
            </a:extLst>
          </p:cNvPr>
          <p:cNvCxnSpPr>
            <a:cxnSpLocks/>
          </p:cNvCxnSpPr>
          <p:nvPr/>
        </p:nvCxnSpPr>
        <p:spPr>
          <a:xfrm>
            <a:off x="5119923" y="4522155"/>
            <a:ext cx="0" cy="971747"/>
          </a:xfrm>
          <a:prstGeom prst="straightConnector1">
            <a:avLst/>
          </a:prstGeom>
          <a:solidFill>
            <a:schemeClr val="lt1"/>
          </a:solidFill>
          <a:ln w="19050" cap="rnd" cmpd="sng">
            <a:solidFill>
              <a:srgbClr val="C83767"/>
            </a:solidFill>
            <a:prstDash val="solid"/>
            <a:round/>
            <a:headEnd type="none" w="sm" len="sm"/>
            <a:tailEnd type="none" w="sm" len="sm"/>
          </a:ln>
        </p:spPr>
      </p:cxnSp>
      <p:grpSp>
        <p:nvGrpSpPr>
          <p:cNvPr id="22" name="Group 21">
            <a:extLst>
              <a:ext uri="{FF2B5EF4-FFF2-40B4-BE49-F238E27FC236}">
                <a16:creationId xmlns:a16="http://schemas.microsoft.com/office/drawing/2014/main" id="{7D27250C-670E-47F5-8845-4DBDC69BA771}"/>
              </a:ext>
            </a:extLst>
          </p:cNvPr>
          <p:cNvGrpSpPr/>
          <p:nvPr/>
        </p:nvGrpSpPr>
        <p:grpSpPr>
          <a:xfrm>
            <a:off x="2275891" y="2088810"/>
            <a:ext cx="1228240" cy="995623"/>
            <a:chOff x="2274896" y="2299475"/>
            <a:chExt cx="1228560" cy="995882"/>
          </a:xfrm>
        </p:grpSpPr>
        <p:cxnSp>
          <p:nvCxnSpPr>
            <p:cNvPr id="18" name="Straight Connector 17">
              <a:extLst>
                <a:ext uri="{FF2B5EF4-FFF2-40B4-BE49-F238E27FC236}">
                  <a16:creationId xmlns:a16="http://schemas.microsoft.com/office/drawing/2014/main" id="{AA4C86DF-CC0A-4D06-948F-8D9972934023}"/>
                </a:ext>
              </a:extLst>
            </p:cNvPr>
            <p:cNvCxnSpPr/>
            <p:nvPr/>
          </p:nvCxnSpPr>
          <p:spPr bwMode="auto">
            <a:xfrm flipV="1">
              <a:off x="2274896" y="2299475"/>
              <a:ext cx="842166" cy="995882"/>
            </a:xfrm>
            <a:prstGeom prst="line">
              <a:avLst/>
            </a:prstGeom>
            <a:solidFill>
              <a:schemeClr val="bg1"/>
            </a:solidFill>
            <a:ln w="3175"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ED5AEBC3-F59A-4034-A1E3-402B0D0650D5}"/>
                </a:ext>
              </a:extLst>
            </p:cNvPr>
            <p:cNvCxnSpPr/>
            <p:nvPr/>
          </p:nvCxnSpPr>
          <p:spPr bwMode="auto">
            <a:xfrm>
              <a:off x="3117062" y="2299475"/>
              <a:ext cx="386394" cy="0"/>
            </a:xfrm>
            <a:prstGeom prst="line">
              <a:avLst/>
            </a:prstGeom>
            <a:solidFill>
              <a:schemeClr val="bg1"/>
            </a:solidFill>
            <a:ln w="3175"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31" name="Straight Connector 130">
            <a:extLst>
              <a:ext uri="{FF2B5EF4-FFF2-40B4-BE49-F238E27FC236}">
                <a16:creationId xmlns:a16="http://schemas.microsoft.com/office/drawing/2014/main" id="{77EDFE7C-42C0-45F3-9781-29A605638D14}"/>
              </a:ext>
            </a:extLst>
          </p:cNvPr>
          <p:cNvCxnSpPr/>
          <p:nvPr/>
        </p:nvCxnSpPr>
        <p:spPr bwMode="auto">
          <a:xfrm>
            <a:off x="2667799" y="3487059"/>
            <a:ext cx="980495" cy="0"/>
          </a:xfrm>
          <a:prstGeom prst="line">
            <a:avLst/>
          </a:prstGeom>
          <a:solidFill>
            <a:schemeClr val="bg1"/>
          </a:solidFill>
          <a:ln w="3175" cap="flat" cmpd="sng" algn="ctr">
            <a:solidFill>
              <a:srgbClr val="8500C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2" name="Group 131">
            <a:extLst>
              <a:ext uri="{FF2B5EF4-FFF2-40B4-BE49-F238E27FC236}">
                <a16:creationId xmlns:a16="http://schemas.microsoft.com/office/drawing/2014/main" id="{6BC9707C-C8A7-4C06-8D0B-19193705183E}"/>
              </a:ext>
            </a:extLst>
          </p:cNvPr>
          <p:cNvGrpSpPr/>
          <p:nvPr/>
        </p:nvGrpSpPr>
        <p:grpSpPr>
          <a:xfrm flipV="1">
            <a:off x="2667800" y="4326224"/>
            <a:ext cx="836331" cy="464884"/>
            <a:chOff x="2274896" y="2299475"/>
            <a:chExt cx="1228560" cy="995882"/>
          </a:xfrm>
        </p:grpSpPr>
        <p:cxnSp>
          <p:nvCxnSpPr>
            <p:cNvPr id="133" name="Straight Connector 132">
              <a:extLst>
                <a:ext uri="{FF2B5EF4-FFF2-40B4-BE49-F238E27FC236}">
                  <a16:creationId xmlns:a16="http://schemas.microsoft.com/office/drawing/2014/main" id="{BDB066BB-776F-4CE9-9F6A-A0846D73E4A6}"/>
                </a:ext>
              </a:extLst>
            </p:cNvPr>
            <p:cNvCxnSpPr/>
            <p:nvPr/>
          </p:nvCxnSpPr>
          <p:spPr bwMode="auto">
            <a:xfrm flipV="1">
              <a:off x="2274896" y="2299475"/>
              <a:ext cx="842166" cy="995882"/>
            </a:xfrm>
            <a:prstGeom prst="line">
              <a:avLst/>
            </a:prstGeom>
            <a:solidFill>
              <a:schemeClr val="bg1"/>
            </a:solidFill>
            <a:ln w="3175" cap="flat" cmpd="sng" algn="ctr">
              <a:solidFill>
                <a:srgbClr val="C83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4" name="Straight Connector 133">
              <a:extLst>
                <a:ext uri="{FF2B5EF4-FFF2-40B4-BE49-F238E27FC236}">
                  <a16:creationId xmlns:a16="http://schemas.microsoft.com/office/drawing/2014/main" id="{717589DD-4364-4D36-BF57-17F17C7F7EB2}"/>
                </a:ext>
              </a:extLst>
            </p:cNvPr>
            <p:cNvCxnSpPr/>
            <p:nvPr/>
          </p:nvCxnSpPr>
          <p:spPr bwMode="auto">
            <a:xfrm>
              <a:off x="3117062" y="2299475"/>
              <a:ext cx="386394" cy="0"/>
            </a:xfrm>
            <a:prstGeom prst="line">
              <a:avLst/>
            </a:prstGeom>
            <a:solidFill>
              <a:schemeClr val="bg1"/>
            </a:solidFill>
            <a:ln w="3175" cap="flat" cmpd="sng" algn="ctr">
              <a:solidFill>
                <a:srgbClr val="C83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8" name="Group 27">
            <a:extLst>
              <a:ext uri="{FF2B5EF4-FFF2-40B4-BE49-F238E27FC236}">
                <a16:creationId xmlns:a16="http://schemas.microsoft.com/office/drawing/2014/main" id="{2751924F-EBD4-4A33-BD27-F65CD0D3D17E}"/>
              </a:ext>
            </a:extLst>
          </p:cNvPr>
          <p:cNvGrpSpPr/>
          <p:nvPr/>
        </p:nvGrpSpPr>
        <p:grpSpPr>
          <a:xfrm>
            <a:off x="5299787" y="1827949"/>
            <a:ext cx="144932" cy="152809"/>
            <a:chOff x="12851044" y="2040559"/>
            <a:chExt cx="2340000" cy="2467172"/>
          </a:xfrm>
        </p:grpSpPr>
        <p:sp>
          <p:nvSpPr>
            <p:cNvPr id="135" name="Freeform 337">
              <a:extLst>
                <a:ext uri="{FF2B5EF4-FFF2-40B4-BE49-F238E27FC236}">
                  <a16:creationId xmlns:a16="http://schemas.microsoft.com/office/drawing/2014/main" id="{8489B01F-EAA7-4C36-9A6D-BD2BAFCD2323}"/>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7" name="Group 26">
              <a:extLst>
                <a:ext uri="{FF2B5EF4-FFF2-40B4-BE49-F238E27FC236}">
                  <a16:creationId xmlns:a16="http://schemas.microsoft.com/office/drawing/2014/main" id="{9350463E-6609-43AE-AD60-AF5477E0D24D}"/>
                </a:ext>
              </a:extLst>
            </p:cNvPr>
            <p:cNvGrpSpPr/>
            <p:nvPr/>
          </p:nvGrpSpPr>
          <p:grpSpPr>
            <a:xfrm>
              <a:off x="12940066" y="2040559"/>
              <a:ext cx="1554463" cy="1766590"/>
              <a:chOff x="12940066" y="2040559"/>
              <a:chExt cx="1554463" cy="1766590"/>
            </a:xfrm>
          </p:grpSpPr>
          <p:sp>
            <p:nvSpPr>
              <p:cNvPr id="136" name="Freeform 340">
                <a:extLst>
                  <a:ext uri="{FF2B5EF4-FFF2-40B4-BE49-F238E27FC236}">
                    <a16:creationId xmlns:a16="http://schemas.microsoft.com/office/drawing/2014/main" id="{22475CD9-D8D2-4812-8EAE-9787C035287E}"/>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37" name="Freeform 340">
                <a:extLst>
                  <a:ext uri="{FF2B5EF4-FFF2-40B4-BE49-F238E27FC236}">
                    <a16:creationId xmlns:a16="http://schemas.microsoft.com/office/drawing/2014/main" id="{87D6959C-8FA1-4B4A-AD39-57FD3553DCB7}"/>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142" name="Group 141">
            <a:extLst>
              <a:ext uri="{FF2B5EF4-FFF2-40B4-BE49-F238E27FC236}">
                <a16:creationId xmlns:a16="http://schemas.microsoft.com/office/drawing/2014/main" id="{4F200AE2-BAB5-4A86-A9C4-58229FC4C016}"/>
              </a:ext>
            </a:extLst>
          </p:cNvPr>
          <p:cNvGrpSpPr/>
          <p:nvPr/>
        </p:nvGrpSpPr>
        <p:grpSpPr>
          <a:xfrm>
            <a:off x="5299787" y="2215794"/>
            <a:ext cx="144932" cy="152809"/>
            <a:chOff x="12851044" y="2040559"/>
            <a:chExt cx="2340000" cy="2467172"/>
          </a:xfrm>
        </p:grpSpPr>
        <p:sp>
          <p:nvSpPr>
            <p:cNvPr id="181" name="Freeform 337">
              <a:extLst>
                <a:ext uri="{FF2B5EF4-FFF2-40B4-BE49-F238E27FC236}">
                  <a16:creationId xmlns:a16="http://schemas.microsoft.com/office/drawing/2014/main" id="{70EFC702-EB76-4B0E-9438-55FCCF184501}"/>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189" name="Group 188">
              <a:extLst>
                <a:ext uri="{FF2B5EF4-FFF2-40B4-BE49-F238E27FC236}">
                  <a16:creationId xmlns:a16="http://schemas.microsoft.com/office/drawing/2014/main" id="{E1A79C90-30FA-45DB-AFC7-A0DB4B80F9B1}"/>
                </a:ext>
              </a:extLst>
            </p:cNvPr>
            <p:cNvGrpSpPr/>
            <p:nvPr/>
          </p:nvGrpSpPr>
          <p:grpSpPr>
            <a:xfrm>
              <a:off x="12940066" y="2040559"/>
              <a:ext cx="1554463" cy="1766590"/>
              <a:chOff x="12940066" y="2040559"/>
              <a:chExt cx="1554463" cy="1766590"/>
            </a:xfrm>
          </p:grpSpPr>
          <p:sp>
            <p:nvSpPr>
              <p:cNvPr id="190" name="Freeform 340">
                <a:extLst>
                  <a:ext uri="{FF2B5EF4-FFF2-40B4-BE49-F238E27FC236}">
                    <a16:creationId xmlns:a16="http://schemas.microsoft.com/office/drawing/2014/main" id="{DC62EEC4-53F9-4C7A-BE00-B0AB7C1061C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92" name="Freeform 340">
                <a:extLst>
                  <a:ext uri="{FF2B5EF4-FFF2-40B4-BE49-F238E27FC236}">
                    <a16:creationId xmlns:a16="http://schemas.microsoft.com/office/drawing/2014/main" id="{C615CA1E-6835-4B58-9612-014823042ECB}"/>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193" name="Group 192">
            <a:extLst>
              <a:ext uri="{FF2B5EF4-FFF2-40B4-BE49-F238E27FC236}">
                <a16:creationId xmlns:a16="http://schemas.microsoft.com/office/drawing/2014/main" id="{1D892593-DC13-4D21-A0E3-F1C9B340C349}"/>
              </a:ext>
            </a:extLst>
          </p:cNvPr>
          <p:cNvGrpSpPr/>
          <p:nvPr/>
        </p:nvGrpSpPr>
        <p:grpSpPr>
          <a:xfrm>
            <a:off x="6968750" y="1834108"/>
            <a:ext cx="144932" cy="152809"/>
            <a:chOff x="12851044" y="2040559"/>
            <a:chExt cx="2340000" cy="2467172"/>
          </a:xfrm>
        </p:grpSpPr>
        <p:sp>
          <p:nvSpPr>
            <p:cNvPr id="194" name="Freeform 337">
              <a:extLst>
                <a:ext uri="{FF2B5EF4-FFF2-40B4-BE49-F238E27FC236}">
                  <a16:creationId xmlns:a16="http://schemas.microsoft.com/office/drawing/2014/main" id="{EBFAA722-2DDC-46A9-A71E-A80C6B16786F}"/>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195" name="Group 194">
              <a:extLst>
                <a:ext uri="{FF2B5EF4-FFF2-40B4-BE49-F238E27FC236}">
                  <a16:creationId xmlns:a16="http://schemas.microsoft.com/office/drawing/2014/main" id="{0A3FAC39-7B0E-4A7D-A3C6-4D8455EA97E8}"/>
                </a:ext>
              </a:extLst>
            </p:cNvPr>
            <p:cNvGrpSpPr/>
            <p:nvPr/>
          </p:nvGrpSpPr>
          <p:grpSpPr>
            <a:xfrm>
              <a:off x="12940066" y="2040559"/>
              <a:ext cx="1554463" cy="1766590"/>
              <a:chOff x="12940066" y="2040559"/>
              <a:chExt cx="1554463" cy="1766590"/>
            </a:xfrm>
          </p:grpSpPr>
          <p:sp>
            <p:nvSpPr>
              <p:cNvPr id="196" name="Freeform 340">
                <a:extLst>
                  <a:ext uri="{FF2B5EF4-FFF2-40B4-BE49-F238E27FC236}">
                    <a16:creationId xmlns:a16="http://schemas.microsoft.com/office/drawing/2014/main" id="{AC52FDE9-5098-4166-97E1-B3CDC5E1D36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97" name="Freeform 340">
                <a:extLst>
                  <a:ext uri="{FF2B5EF4-FFF2-40B4-BE49-F238E27FC236}">
                    <a16:creationId xmlns:a16="http://schemas.microsoft.com/office/drawing/2014/main" id="{1278F49A-1452-4635-A3DD-2DCD5277A4DF}"/>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198" name="Group 197">
            <a:extLst>
              <a:ext uri="{FF2B5EF4-FFF2-40B4-BE49-F238E27FC236}">
                <a16:creationId xmlns:a16="http://schemas.microsoft.com/office/drawing/2014/main" id="{102537F3-81D4-4072-B8AF-84690CF9623E}"/>
              </a:ext>
            </a:extLst>
          </p:cNvPr>
          <p:cNvGrpSpPr/>
          <p:nvPr/>
        </p:nvGrpSpPr>
        <p:grpSpPr>
          <a:xfrm>
            <a:off x="6968750" y="2221953"/>
            <a:ext cx="144932" cy="152809"/>
            <a:chOff x="12851044" y="2040559"/>
            <a:chExt cx="2340000" cy="2467172"/>
          </a:xfrm>
        </p:grpSpPr>
        <p:sp>
          <p:nvSpPr>
            <p:cNvPr id="199" name="Freeform 337">
              <a:extLst>
                <a:ext uri="{FF2B5EF4-FFF2-40B4-BE49-F238E27FC236}">
                  <a16:creationId xmlns:a16="http://schemas.microsoft.com/office/drawing/2014/main" id="{D3CF914B-5CFB-4518-BDBE-9672E7E8B8B6}"/>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00" name="Group 199">
              <a:extLst>
                <a:ext uri="{FF2B5EF4-FFF2-40B4-BE49-F238E27FC236}">
                  <a16:creationId xmlns:a16="http://schemas.microsoft.com/office/drawing/2014/main" id="{D6B4DF0E-91A2-4B30-B9A9-88B0F5FCA405}"/>
                </a:ext>
              </a:extLst>
            </p:cNvPr>
            <p:cNvGrpSpPr/>
            <p:nvPr/>
          </p:nvGrpSpPr>
          <p:grpSpPr>
            <a:xfrm>
              <a:off x="12940066" y="2040559"/>
              <a:ext cx="1554463" cy="1766590"/>
              <a:chOff x="12940066" y="2040559"/>
              <a:chExt cx="1554463" cy="1766590"/>
            </a:xfrm>
          </p:grpSpPr>
          <p:sp>
            <p:nvSpPr>
              <p:cNvPr id="201" name="Freeform 340">
                <a:extLst>
                  <a:ext uri="{FF2B5EF4-FFF2-40B4-BE49-F238E27FC236}">
                    <a16:creationId xmlns:a16="http://schemas.microsoft.com/office/drawing/2014/main" id="{B8E5CD88-C480-43BE-AC0D-C02045469107}"/>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02" name="Freeform 340">
                <a:extLst>
                  <a:ext uri="{FF2B5EF4-FFF2-40B4-BE49-F238E27FC236}">
                    <a16:creationId xmlns:a16="http://schemas.microsoft.com/office/drawing/2014/main" id="{D2DF5F8D-0B46-406E-B8EB-BFF969305ED9}"/>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203" name="Group 202">
            <a:extLst>
              <a:ext uri="{FF2B5EF4-FFF2-40B4-BE49-F238E27FC236}">
                <a16:creationId xmlns:a16="http://schemas.microsoft.com/office/drawing/2014/main" id="{02514A8A-D820-4DB5-B02E-218C507F1B0C}"/>
              </a:ext>
            </a:extLst>
          </p:cNvPr>
          <p:cNvGrpSpPr/>
          <p:nvPr/>
        </p:nvGrpSpPr>
        <p:grpSpPr>
          <a:xfrm>
            <a:off x="8819143" y="1858892"/>
            <a:ext cx="144932" cy="152809"/>
            <a:chOff x="12851044" y="2040559"/>
            <a:chExt cx="2340000" cy="2467172"/>
          </a:xfrm>
        </p:grpSpPr>
        <p:sp>
          <p:nvSpPr>
            <p:cNvPr id="204" name="Freeform 337">
              <a:extLst>
                <a:ext uri="{FF2B5EF4-FFF2-40B4-BE49-F238E27FC236}">
                  <a16:creationId xmlns:a16="http://schemas.microsoft.com/office/drawing/2014/main" id="{7687E1C3-2C45-4D2B-98FA-D6B657C0694E}"/>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05" name="Group 204">
              <a:extLst>
                <a:ext uri="{FF2B5EF4-FFF2-40B4-BE49-F238E27FC236}">
                  <a16:creationId xmlns:a16="http://schemas.microsoft.com/office/drawing/2014/main" id="{AAF79C59-F632-4DEC-9E3C-D67BF0157132}"/>
                </a:ext>
              </a:extLst>
            </p:cNvPr>
            <p:cNvGrpSpPr/>
            <p:nvPr/>
          </p:nvGrpSpPr>
          <p:grpSpPr>
            <a:xfrm>
              <a:off x="12940066" y="2040559"/>
              <a:ext cx="1554463" cy="1766590"/>
              <a:chOff x="12940066" y="2040559"/>
              <a:chExt cx="1554463" cy="1766590"/>
            </a:xfrm>
          </p:grpSpPr>
          <p:sp>
            <p:nvSpPr>
              <p:cNvPr id="206" name="Freeform 340">
                <a:extLst>
                  <a:ext uri="{FF2B5EF4-FFF2-40B4-BE49-F238E27FC236}">
                    <a16:creationId xmlns:a16="http://schemas.microsoft.com/office/drawing/2014/main" id="{B79E18DA-46E0-4399-AAFE-C76446435F1D}"/>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07" name="Freeform 340">
                <a:extLst>
                  <a:ext uri="{FF2B5EF4-FFF2-40B4-BE49-F238E27FC236}">
                    <a16:creationId xmlns:a16="http://schemas.microsoft.com/office/drawing/2014/main" id="{F7136594-1721-4B6D-A5BD-3C73B0D181DF}"/>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208" name="Group 207">
            <a:extLst>
              <a:ext uri="{FF2B5EF4-FFF2-40B4-BE49-F238E27FC236}">
                <a16:creationId xmlns:a16="http://schemas.microsoft.com/office/drawing/2014/main" id="{6856AFBA-494F-4DDC-9146-263D6AE783CF}"/>
              </a:ext>
            </a:extLst>
          </p:cNvPr>
          <p:cNvGrpSpPr/>
          <p:nvPr/>
        </p:nvGrpSpPr>
        <p:grpSpPr>
          <a:xfrm>
            <a:off x="8819143" y="2246737"/>
            <a:ext cx="144932" cy="152809"/>
            <a:chOff x="12851044" y="2040559"/>
            <a:chExt cx="2340000" cy="2467172"/>
          </a:xfrm>
        </p:grpSpPr>
        <p:sp>
          <p:nvSpPr>
            <p:cNvPr id="209" name="Freeform 337">
              <a:extLst>
                <a:ext uri="{FF2B5EF4-FFF2-40B4-BE49-F238E27FC236}">
                  <a16:creationId xmlns:a16="http://schemas.microsoft.com/office/drawing/2014/main" id="{A068B938-7082-4A74-8390-C1F259648C17}"/>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10" name="Group 209">
              <a:extLst>
                <a:ext uri="{FF2B5EF4-FFF2-40B4-BE49-F238E27FC236}">
                  <a16:creationId xmlns:a16="http://schemas.microsoft.com/office/drawing/2014/main" id="{DC44FAAC-7EDB-4AAC-A55A-56358C4EAE32}"/>
                </a:ext>
              </a:extLst>
            </p:cNvPr>
            <p:cNvGrpSpPr/>
            <p:nvPr/>
          </p:nvGrpSpPr>
          <p:grpSpPr>
            <a:xfrm>
              <a:off x="12940066" y="2040559"/>
              <a:ext cx="1554463" cy="1766590"/>
              <a:chOff x="12940066" y="2040559"/>
              <a:chExt cx="1554463" cy="1766590"/>
            </a:xfrm>
          </p:grpSpPr>
          <p:sp>
            <p:nvSpPr>
              <p:cNvPr id="211" name="Freeform 340">
                <a:extLst>
                  <a:ext uri="{FF2B5EF4-FFF2-40B4-BE49-F238E27FC236}">
                    <a16:creationId xmlns:a16="http://schemas.microsoft.com/office/drawing/2014/main" id="{4887C16E-6DB3-496C-9F19-EDC88AF6375B}"/>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12" name="Freeform 340">
                <a:extLst>
                  <a:ext uri="{FF2B5EF4-FFF2-40B4-BE49-F238E27FC236}">
                    <a16:creationId xmlns:a16="http://schemas.microsoft.com/office/drawing/2014/main" id="{BBD80295-B758-415A-99F5-0B5C792409E3}"/>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213" name="Group 212">
            <a:extLst>
              <a:ext uri="{FF2B5EF4-FFF2-40B4-BE49-F238E27FC236}">
                <a16:creationId xmlns:a16="http://schemas.microsoft.com/office/drawing/2014/main" id="{27534D1A-8126-4004-98B5-085A8F8164FA}"/>
              </a:ext>
            </a:extLst>
          </p:cNvPr>
          <p:cNvGrpSpPr/>
          <p:nvPr/>
        </p:nvGrpSpPr>
        <p:grpSpPr>
          <a:xfrm>
            <a:off x="10531948" y="1838510"/>
            <a:ext cx="144932" cy="152809"/>
            <a:chOff x="12851044" y="2040559"/>
            <a:chExt cx="2340000" cy="2467172"/>
          </a:xfrm>
        </p:grpSpPr>
        <p:sp>
          <p:nvSpPr>
            <p:cNvPr id="214" name="Freeform 337">
              <a:extLst>
                <a:ext uri="{FF2B5EF4-FFF2-40B4-BE49-F238E27FC236}">
                  <a16:creationId xmlns:a16="http://schemas.microsoft.com/office/drawing/2014/main" id="{4E187CA9-7DE1-45E1-9C69-DF4A36FE0177}"/>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15" name="Group 214">
              <a:extLst>
                <a:ext uri="{FF2B5EF4-FFF2-40B4-BE49-F238E27FC236}">
                  <a16:creationId xmlns:a16="http://schemas.microsoft.com/office/drawing/2014/main" id="{4BACD654-B8A4-4182-999D-F3E9059332D1}"/>
                </a:ext>
              </a:extLst>
            </p:cNvPr>
            <p:cNvGrpSpPr/>
            <p:nvPr/>
          </p:nvGrpSpPr>
          <p:grpSpPr>
            <a:xfrm>
              <a:off x="12940066" y="2040559"/>
              <a:ext cx="1554463" cy="1766590"/>
              <a:chOff x="12940066" y="2040559"/>
              <a:chExt cx="1554463" cy="1766590"/>
            </a:xfrm>
          </p:grpSpPr>
          <p:sp>
            <p:nvSpPr>
              <p:cNvPr id="216" name="Freeform 340">
                <a:extLst>
                  <a:ext uri="{FF2B5EF4-FFF2-40B4-BE49-F238E27FC236}">
                    <a16:creationId xmlns:a16="http://schemas.microsoft.com/office/drawing/2014/main" id="{5B3A23EC-0229-4AA8-ACE8-319F8AD59FE8}"/>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17" name="Freeform 340">
                <a:extLst>
                  <a:ext uri="{FF2B5EF4-FFF2-40B4-BE49-F238E27FC236}">
                    <a16:creationId xmlns:a16="http://schemas.microsoft.com/office/drawing/2014/main" id="{CA59D0A2-80F1-4917-AFB2-7E7E3355ED1D}"/>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218" name="Group 217">
            <a:extLst>
              <a:ext uri="{FF2B5EF4-FFF2-40B4-BE49-F238E27FC236}">
                <a16:creationId xmlns:a16="http://schemas.microsoft.com/office/drawing/2014/main" id="{8C026F2B-9DCB-4D11-A59E-77E8460D8700}"/>
              </a:ext>
            </a:extLst>
          </p:cNvPr>
          <p:cNvGrpSpPr/>
          <p:nvPr/>
        </p:nvGrpSpPr>
        <p:grpSpPr>
          <a:xfrm>
            <a:off x="10531948" y="2252648"/>
            <a:ext cx="144932" cy="152809"/>
            <a:chOff x="12851044" y="2040559"/>
            <a:chExt cx="2340000" cy="2467172"/>
          </a:xfrm>
        </p:grpSpPr>
        <p:sp>
          <p:nvSpPr>
            <p:cNvPr id="219" name="Freeform 337">
              <a:extLst>
                <a:ext uri="{FF2B5EF4-FFF2-40B4-BE49-F238E27FC236}">
                  <a16:creationId xmlns:a16="http://schemas.microsoft.com/office/drawing/2014/main" id="{D898C52D-8751-4BAE-A3E6-591E6F059E0B}"/>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20" name="Group 219">
              <a:extLst>
                <a:ext uri="{FF2B5EF4-FFF2-40B4-BE49-F238E27FC236}">
                  <a16:creationId xmlns:a16="http://schemas.microsoft.com/office/drawing/2014/main" id="{A6A07CEB-AE41-430C-8305-9C61136F730E}"/>
                </a:ext>
              </a:extLst>
            </p:cNvPr>
            <p:cNvGrpSpPr/>
            <p:nvPr/>
          </p:nvGrpSpPr>
          <p:grpSpPr>
            <a:xfrm>
              <a:off x="12940066" y="2040559"/>
              <a:ext cx="1554463" cy="1766590"/>
              <a:chOff x="12940066" y="2040559"/>
              <a:chExt cx="1554463" cy="1766590"/>
            </a:xfrm>
          </p:grpSpPr>
          <p:sp>
            <p:nvSpPr>
              <p:cNvPr id="221" name="Freeform 340">
                <a:extLst>
                  <a:ext uri="{FF2B5EF4-FFF2-40B4-BE49-F238E27FC236}">
                    <a16:creationId xmlns:a16="http://schemas.microsoft.com/office/drawing/2014/main" id="{A5517F91-B45B-4810-A9CD-2D34FF3B6BE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22" name="Freeform 340">
                <a:extLst>
                  <a:ext uri="{FF2B5EF4-FFF2-40B4-BE49-F238E27FC236}">
                    <a16:creationId xmlns:a16="http://schemas.microsoft.com/office/drawing/2014/main" id="{0522C35E-B35E-4D63-B92D-AE0131A3E9DD}"/>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112" name="Google Shape;5163;p40">
            <a:extLst>
              <a:ext uri="{FF2B5EF4-FFF2-40B4-BE49-F238E27FC236}">
                <a16:creationId xmlns:a16="http://schemas.microsoft.com/office/drawing/2014/main" id="{F354AAB1-BE6A-4C26-AF84-194F3AFEA033}"/>
              </a:ext>
            </a:extLst>
          </p:cNvPr>
          <p:cNvSpPr/>
          <p:nvPr/>
        </p:nvSpPr>
        <p:spPr>
          <a:xfrm>
            <a:off x="585617" y="5858736"/>
            <a:ext cx="2244722" cy="261472"/>
          </a:xfrm>
          <a:prstGeom prst="rect">
            <a:avLst/>
          </a:prstGeom>
          <a:noFill/>
          <a:ln>
            <a:noFill/>
          </a:ln>
        </p:spPr>
        <p:txBody>
          <a:bodyPr spcFirstLastPara="1" wrap="square" lIns="35982" tIns="35982" rIns="35982" bIns="35982" anchor="ctr" anchorCtr="0">
            <a:noAutofit/>
          </a:bodyPr>
          <a:lstStyle/>
          <a:p>
            <a:pPr defTabSz="913852">
              <a:buClrTx/>
              <a:defRPr/>
            </a:pPr>
            <a:r>
              <a:rPr lang="en-US" sz="1800" b="1" kern="1200" cap="all" dirty="0">
                <a:solidFill>
                  <a:srgbClr val="E45785"/>
                </a:solidFill>
                <a:latin typeface="+mj-lt"/>
                <a:ea typeface="+mn-ea"/>
                <a:cs typeface="Calibri" panose="020F0502020204030204" pitchFamily="34" charset="0"/>
              </a:rPr>
              <a:t>Best prevention</a:t>
            </a:r>
            <a:endParaRPr sz="1800" b="1" kern="1200" cap="all" dirty="0">
              <a:solidFill>
                <a:srgbClr val="E45785"/>
              </a:solidFill>
              <a:latin typeface="+mj-lt"/>
              <a:ea typeface="+mn-ea"/>
              <a:cs typeface="Calibri" panose="020F0502020204030204" pitchFamily="34" charset="0"/>
            </a:endParaRPr>
          </a:p>
        </p:txBody>
      </p:sp>
      <p:sp>
        <p:nvSpPr>
          <p:cNvPr id="113" name="TextBox 112"/>
          <p:cNvSpPr txBox="1"/>
          <p:nvPr/>
        </p:nvSpPr>
        <p:spPr bwMode="auto">
          <a:xfrm>
            <a:off x="6690617" y="4875957"/>
            <a:ext cx="1765178"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algn="ctr" defTabSz="914126"/>
            <a:r>
              <a:rPr lang="en-US" sz="1100" dirty="0">
                <a:latin typeface="+mj-lt"/>
                <a:ea typeface="+mn-ea"/>
                <a:cs typeface="Calibri" panose="020F0502020204030204" pitchFamily="34" charset="0"/>
              </a:rPr>
              <a:t>Company-owned and BYOD</a:t>
            </a:r>
          </a:p>
        </p:txBody>
      </p:sp>
      <p:grpSp>
        <p:nvGrpSpPr>
          <p:cNvPr id="116" name="Group 115">
            <a:extLst>
              <a:ext uri="{FF2B5EF4-FFF2-40B4-BE49-F238E27FC236}">
                <a16:creationId xmlns:a16="http://schemas.microsoft.com/office/drawing/2014/main" id="{3A0B6459-AA13-45CC-A080-449E10437D59}"/>
              </a:ext>
            </a:extLst>
          </p:cNvPr>
          <p:cNvGrpSpPr/>
          <p:nvPr/>
        </p:nvGrpSpPr>
        <p:grpSpPr>
          <a:xfrm>
            <a:off x="5422871" y="4693471"/>
            <a:ext cx="725566" cy="629115"/>
            <a:chOff x="5456674" y="3617735"/>
            <a:chExt cx="725755" cy="629279"/>
          </a:xfrm>
        </p:grpSpPr>
        <p:grpSp>
          <p:nvGrpSpPr>
            <p:cNvPr id="122" name="Group 121">
              <a:extLst>
                <a:ext uri="{FF2B5EF4-FFF2-40B4-BE49-F238E27FC236}">
                  <a16:creationId xmlns:a16="http://schemas.microsoft.com/office/drawing/2014/main" id="{5744D03F-7D8F-4231-8477-AD2D540C6CD7}"/>
                </a:ext>
              </a:extLst>
            </p:cNvPr>
            <p:cNvGrpSpPr/>
            <p:nvPr/>
          </p:nvGrpSpPr>
          <p:grpSpPr>
            <a:xfrm>
              <a:off x="5456674" y="3617735"/>
              <a:ext cx="684232" cy="477301"/>
              <a:chOff x="2576513" y="1664175"/>
              <a:chExt cx="584200" cy="482126"/>
            </a:xfrm>
          </p:grpSpPr>
          <p:sp>
            <p:nvSpPr>
              <p:cNvPr id="140" name="Freeform 335">
                <a:extLst>
                  <a:ext uri="{FF2B5EF4-FFF2-40B4-BE49-F238E27FC236}">
                    <a16:creationId xmlns:a16="http://schemas.microsoft.com/office/drawing/2014/main" id="{927BDE3B-7D65-4A5A-934E-A3A49D2AA67B}"/>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1"/>
              </a:solidFill>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41" name="Freeform 336">
                <a:extLst>
                  <a:ext uri="{FF2B5EF4-FFF2-40B4-BE49-F238E27FC236}">
                    <a16:creationId xmlns:a16="http://schemas.microsoft.com/office/drawing/2014/main" id="{25F99B28-3B7F-4F44-BAEE-D9B3987F99B5}"/>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46" name="Freeform 337">
                <a:extLst>
                  <a:ext uri="{FF2B5EF4-FFF2-40B4-BE49-F238E27FC236}">
                    <a16:creationId xmlns:a16="http://schemas.microsoft.com/office/drawing/2014/main" id="{A37A3EC1-D327-42A0-9DDE-0595F36F1868}"/>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48" name="Freeform 338">
                <a:extLst>
                  <a:ext uri="{FF2B5EF4-FFF2-40B4-BE49-F238E27FC236}">
                    <a16:creationId xmlns:a16="http://schemas.microsoft.com/office/drawing/2014/main" id="{8958AFD8-F290-46C5-A934-7308CEA27326}"/>
                  </a:ext>
                </a:extLst>
              </p:cNvPr>
              <p:cNvSpPr>
                <a:spLocks/>
              </p:cNvSpPr>
              <p:nvPr/>
            </p:nvSpPr>
            <p:spPr bwMode="auto">
              <a:xfrm flipV="1">
                <a:off x="2906564" y="172295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49" name="Freeform 339">
                <a:extLst>
                  <a:ext uri="{FF2B5EF4-FFF2-40B4-BE49-F238E27FC236}">
                    <a16:creationId xmlns:a16="http://schemas.microsoft.com/office/drawing/2014/main" id="{C844AB11-46BC-45C1-96E6-DEB9DE8CD3E2}"/>
                  </a:ext>
                </a:extLst>
              </p:cNvPr>
              <p:cNvSpPr>
                <a:spLocks/>
              </p:cNvSpPr>
              <p:nvPr/>
            </p:nvSpPr>
            <p:spPr bwMode="auto">
              <a:xfrm flipV="1">
                <a:off x="2904280" y="1793329"/>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50" name="Freeform 340">
                <a:extLst>
                  <a:ext uri="{FF2B5EF4-FFF2-40B4-BE49-F238E27FC236}">
                    <a16:creationId xmlns:a16="http://schemas.microsoft.com/office/drawing/2014/main" id="{CCA816C1-DD34-4C2C-8AE3-2165BC714A79}"/>
                  </a:ext>
                </a:extLst>
              </p:cNvPr>
              <p:cNvSpPr>
                <a:spLocks/>
              </p:cNvSpPr>
              <p:nvPr/>
            </p:nvSpPr>
            <p:spPr bwMode="auto">
              <a:xfrm flipV="1">
                <a:off x="2906565" y="1664175"/>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51" name="Freeform 341">
                <a:extLst>
                  <a:ext uri="{FF2B5EF4-FFF2-40B4-BE49-F238E27FC236}">
                    <a16:creationId xmlns:a16="http://schemas.microsoft.com/office/drawing/2014/main" id="{75613728-EDF3-4A27-91DC-E407D2B88FD5}"/>
                  </a:ext>
                </a:extLst>
              </p:cNvPr>
              <p:cNvSpPr>
                <a:spLocks/>
              </p:cNvSpPr>
              <p:nvPr/>
            </p:nvSpPr>
            <p:spPr bwMode="auto">
              <a:xfrm>
                <a:off x="2663551" y="1837309"/>
                <a:ext cx="193878" cy="149448"/>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rgbClr val="E45785"/>
              </a:solidFill>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nvGrpSpPr>
            <p:cNvPr id="123" name="Group 122">
              <a:extLst>
                <a:ext uri="{FF2B5EF4-FFF2-40B4-BE49-F238E27FC236}">
                  <a16:creationId xmlns:a16="http://schemas.microsoft.com/office/drawing/2014/main" id="{A9F21629-3FC0-48F2-BA15-444A68B89386}"/>
                </a:ext>
              </a:extLst>
            </p:cNvPr>
            <p:cNvGrpSpPr/>
            <p:nvPr/>
          </p:nvGrpSpPr>
          <p:grpSpPr>
            <a:xfrm>
              <a:off x="5914019" y="3785416"/>
              <a:ext cx="268410" cy="461598"/>
              <a:chOff x="6597160" y="3738927"/>
              <a:chExt cx="268410" cy="461598"/>
            </a:xfrm>
          </p:grpSpPr>
          <p:sp>
            <p:nvSpPr>
              <p:cNvPr id="124" name="Rectangle: Rounded Corners 22">
                <a:extLst>
                  <a:ext uri="{FF2B5EF4-FFF2-40B4-BE49-F238E27FC236}">
                    <a16:creationId xmlns:a16="http://schemas.microsoft.com/office/drawing/2014/main" id="{8B76A98B-0730-436D-9023-21BA14C6639B}"/>
                  </a:ext>
                </a:extLst>
              </p:cNvPr>
              <p:cNvSpPr/>
              <p:nvPr/>
            </p:nvSpPr>
            <p:spPr bwMode="auto">
              <a:xfrm>
                <a:off x="6597160" y="3738927"/>
                <a:ext cx="268410" cy="461598"/>
              </a:xfrm>
              <a:prstGeom prst="roundRect">
                <a:avLst/>
              </a:prstGeom>
              <a:solidFill>
                <a:schemeClr val="bg1"/>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lnSpc>
                    <a:spcPct val="80000"/>
                  </a:lnSpc>
                  <a:spcBef>
                    <a:spcPts val="1200"/>
                  </a:spcBef>
                  <a:buSzPct val="115000"/>
                </a:pPr>
                <a:endParaRPr lang="en-US" sz="2399" dirty="0" err="1">
                  <a:latin typeface="+mj-lt"/>
                  <a:ea typeface="+mn-ea"/>
                  <a:cs typeface="Calibri" panose="020F0502020204030204" pitchFamily="34" charset="0"/>
                </a:endParaRPr>
              </a:p>
            </p:txBody>
          </p:sp>
          <p:grpSp>
            <p:nvGrpSpPr>
              <p:cNvPr id="125" name="Group 124">
                <a:extLst>
                  <a:ext uri="{FF2B5EF4-FFF2-40B4-BE49-F238E27FC236}">
                    <a16:creationId xmlns:a16="http://schemas.microsoft.com/office/drawing/2014/main" id="{0E1A28BE-17B0-4A2A-944C-45E5FC27EF4A}"/>
                  </a:ext>
                </a:extLst>
              </p:cNvPr>
              <p:cNvGrpSpPr/>
              <p:nvPr/>
            </p:nvGrpSpPr>
            <p:grpSpPr>
              <a:xfrm>
                <a:off x="6618465" y="3774884"/>
                <a:ext cx="225801" cy="389685"/>
                <a:chOff x="2459115" y="3412425"/>
                <a:chExt cx="394792" cy="649051"/>
              </a:xfrm>
            </p:grpSpPr>
            <p:sp>
              <p:nvSpPr>
                <p:cNvPr id="126" name="Freeform 872">
                  <a:extLst>
                    <a:ext uri="{FF2B5EF4-FFF2-40B4-BE49-F238E27FC236}">
                      <a16:creationId xmlns:a16="http://schemas.microsoft.com/office/drawing/2014/main" id="{5DE73AB6-4D57-4137-8440-0F63BCEAB06A}"/>
                    </a:ext>
                  </a:extLst>
                </p:cNvPr>
                <p:cNvSpPr>
                  <a:spLocks/>
                </p:cNvSpPr>
                <p:nvPr/>
              </p:nvSpPr>
              <p:spPr bwMode="auto">
                <a:xfrm>
                  <a:off x="2459115" y="3412425"/>
                  <a:ext cx="394792" cy="649051"/>
                </a:xfrm>
                <a:custGeom>
                  <a:avLst/>
                  <a:gdLst>
                    <a:gd name="T0" fmla="*/ 160 w 160"/>
                    <a:gd name="T1" fmla="*/ 230 h 288"/>
                    <a:gd name="T2" fmla="*/ 160 w 160"/>
                    <a:gd name="T3" fmla="*/ 230 h 288"/>
                    <a:gd name="T4" fmla="*/ 160 w 160"/>
                    <a:gd name="T5" fmla="*/ 275 h 288"/>
                    <a:gd name="T6" fmla="*/ 147 w 160"/>
                    <a:gd name="T7" fmla="*/ 288 h 288"/>
                    <a:gd name="T8" fmla="*/ 13 w 160"/>
                    <a:gd name="T9" fmla="*/ 288 h 288"/>
                    <a:gd name="T10" fmla="*/ 0 w 160"/>
                    <a:gd name="T11" fmla="*/ 275 h 288"/>
                    <a:gd name="T12" fmla="*/ 0 w 160"/>
                    <a:gd name="T13" fmla="*/ 12 h 288"/>
                    <a:gd name="T14" fmla="*/ 13 w 160"/>
                    <a:gd name="T15" fmla="*/ 0 h 288"/>
                    <a:gd name="T16" fmla="*/ 147 w 160"/>
                    <a:gd name="T17" fmla="*/ 0 h 288"/>
                    <a:gd name="T18" fmla="*/ 160 w 160"/>
                    <a:gd name="T19" fmla="*/ 12 h 288"/>
                    <a:gd name="T20" fmla="*/ 160 w 160"/>
                    <a:gd name="T21" fmla="*/ 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88">
                      <a:moveTo>
                        <a:pt x="160" y="230"/>
                      </a:moveTo>
                      <a:lnTo>
                        <a:pt x="160" y="230"/>
                      </a:lnTo>
                      <a:lnTo>
                        <a:pt x="160" y="275"/>
                      </a:lnTo>
                      <a:cubicBezTo>
                        <a:pt x="160" y="282"/>
                        <a:pt x="154" y="288"/>
                        <a:pt x="147" y="288"/>
                      </a:cubicBezTo>
                      <a:lnTo>
                        <a:pt x="13" y="288"/>
                      </a:lnTo>
                      <a:cubicBezTo>
                        <a:pt x="6" y="288"/>
                        <a:pt x="0" y="282"/>
                        <a:pt x="0" y="275"/>
                      </a:cubicBezTo>
                      <a:lnTo>
                        <a:pt x="0" y="12"/>
                      </a:lnTo>
                      <a:cubicBezTo>
                        <a:pt x="0" y="5"/>
                        <a:pt x="6" y="0"/>
                        <a:pt x="13" y="0"/>
                      </a:cubicBezTo>
                      <a:lnTo>
                        <a:pt x="147" y="0"/>
                      </a:lnTo>
                      <a:cubicBezTo>
                        <a:pt x="154" y="0"/>
                        <a:pt x="160" y="5"/>
                        <a:pt x="160" y="12"/>
                      </a:cubicBezTo>
                      <a:lnTo>
                        <a:pt x="160" y="57"/>
                      </a:lnTo>
                    </a:path>
                  </a:pathLst>
                </a:custGeom>
                <a:noFill/>
                <a:ln w="952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fontAlgn="base">
                    <a:spcBef>
                      <a:spcPct val="20000"/>
                    </a:spcBef>
                    <a:spcAft>
                      <a:spcPct val="0"/>
                    </a:spcAft>
                    <a:buClr>
                      <a:srgbClr val="FF0000"/>
                    </a:buClr>
                    <a:buSzPct val="65000"/>
                  </a:pPr>
                  <a:endParaRPr lang="en-US" sz="1100" kern="1200" dirty="0">
                    <a:solidFill>
                      <a:srgbClr val="4D4D4F"/>
                    </a:solidFill>
                    <a:latin typeface="+mj-lt"/>
                    <a:ea typeface="+mn-ea"/>
                    <a:cs typeface="Calibri" panose="020F0502020204030204" pitchFamily="34" charset="0"/>
                  </a:endParaRPr>
                </a:p>
              </p:txBody>
            </p:sp>
            <p:sp>
              <p:nvSpPr>
                <p:cNvPr id="127" name="Freeform 873">
                  <a:extLst>
                    <a:ext uri="{FF2B5EF4-FFF2-40B4-BE49-F238E27FC236}">
                      <a16:creationId xmlns:a16="http://schemas.microsoft.com/office/drawing/2014/main" id="{3D279397-20F6-49BF-8615-FEDBB7CCEAA0}"/>
                    </a:ext>
                  </a:extLst>
                </p:cNvPr>
                <p:cNvSpPr>
                  <a:spLocks/>
                </p:cNvSpPr>
                <p:nvPr/>
              </p:nvSpPr>
              <p:spPr bwMode="auto">
                <a:xfrm>
                  <a:off x="2459115" y="3973584"/>
                  <a:ext cx="394792" cy="0"/>
                </a:xfrm>
                <a:custGeom>
                  <a:avLst/>
                  <a:gdLst>
                    <a:gd name="T0" fmla="*/ 0 w 160"/>
                    <a:gd name="T1" fmla="*/ 0 w 160"/>
                    <a:gd name="T2" fmla="*/ 160 w 160"/>
                  </a:gdLst>
                  <a:ahLst/>
                  <a:cxnLst>
                    <a:cxn ang="0">
                      <a:pos x="T0" y="0"/>
                    </a:cxn>
                    <a:cxn ang="0">
                      <a:pos x="T1" y="0"/>
                    </a:cxn>
                    <a:cxn ang="0">
                      <a:pos x="T2" y="0"/>
                    </a:cxn>
                  </a:cxnLst>
                  <a:rect l="0" t="0" r="r" b="b"/>
                  <a:pathLst>
                    <a:path w="160">
                      <a:moveTo>
                        <a:pt x="0" y="0"/>
                      </a:moveTo>
                      <a:lnTo>
                        <a:pt x="0" y="0"/>
                      </a:lnTo>
                      <a:lnTo>
                        <a:pt x="160" y="0"/>
                      </a:lnTo>
                    </a:path>
                  </a:pathLst>
                </a:custGeom>
                <a:noFill/>
                <a:ln w="9525"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fontAlgn="base">
                    <a:spcBef>
                      <a:spcPct val="20000"/>
                    </a:spcBef>
                    <a:spcAft>
                      <a:spcPct val="0"/>
                    </a:spcAft>
                    <a:buClr>
                      <a:srgbClr val="FF0000"/>
                    </a:buClr>
                    <a:buSzPct val="65000"/>
                  </a:pPr>
                  <a:endParaRPr lang="en-US" sz="1100" kern="1200" dirty="0">
                    <a:solidFill>
                      <a:srgbClr val="4D4D4F"/>
                    </a:solidFill>
                    <a:latin typeface="+mj-lt"/>
                    <a:ea typeface="+mn-ea"/>
                    <a:cs typeface="Calibri" panose="020F0502020204030204" pitchFamily="34" charset="0"/>
                  </a:endParaRPr>
                </a:p>
              </p:txBody>
            </p:sp>
            <p:sp>
              <p:nvSpPr>
                <p:cNvPr id="128" name="Freeform 874">
                  <a:extLst>
                    <a:ext uri="{FF2B5EF4-FFF2-40B4-BE49-F238E27FC236}">
                      <a16:creationId xmlns:a16="http://schemas.microsoft.com/office/drawing/2014/main" id="{51716877-A883-486C-A1E8-570E1C95208F}"/>
                    </a:ext>
                  </a:extLst>
                </p:cNvPr>
                <p:cNvSpPr>
                  <a:spLocks/>
                </p:cNvSpPr>
                <p:nvPr/>
              </p:nvSpPr>
              <p:spPr bwMode="auto">
                <a:xfrm>
                  <a:off x="2459115" y="3484542"/>
                  <a:ext cx="394792" cy="0"/>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9525"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fontAlgn="base">
                    <a:spcBef>
                      <a:spcPct val="20000"/>
                    </a:spcBef>
                    <a:spcAft>
                      <a:spcPct val="0"/>
                    </a:spcAft>
                    <a:buClr>
                      <a:srgbClr val="FF0000"/>
                    </a:buClr>
                    <a:buSzPct val="65000"/>
                  </a:pPr>
                  <a:endParaRPr lang="en-US" sz="1100" kern="1200" dirty="0">
                    <a:solidFill>
                      <a:srgbClr val="4D4D4F"/>
                    </a:solidFill>
                    <a:latin typeface="+mj-lt"/>
                    <a:ea typeface="+mn-ea"/>
                    <a:cs typeface="Calibri" panose="020F0502020204030204" pitchFamily="34" charset="0"/>
                  </a:endParaRPr>
                </a:p>
              </p:txBody>
            </p:sp>
            <p:sp>
              <p:nvSpPr>
                <p:cNvPr id="129" name="Freeform 875">
                  <a:extLst>
                    <a:ext uri="{FF2B5EF4-FFF2-40B4-BE49-F238E27FC236}">
                      <a16:creationId xmlns:a16="http://schemas.microsoft.com/office/drawing/2014/main" id="{B33C731F-314C-4B10-8540-B98388400EE5}"/>
                    </a:ext>
                  </a:extLst>
                </p:cNvPr>
                <p:cNvSpPr>
                  <a:spLocks/>
                </p:cNvSpPr>
                <p:nvPr/>
              </p:nvSpPr>
              <p:spPr bwMode="auto">
                <a:xfrm>
                  <a:off x="2631525" y="4018657"/>
                  <a:ext cx="49974" cy="0"/>
                </a:xfrm>
                <a:custGeom>
                  <a:avLst/>
                  <a:gdLst>
                    <a:gd name="T0" fmla="*/ 0 w 20"/>
                    <a:gd name="T1" fmla="*/ 0 w 20"/>
                    <a:gd name="T2" fmla="*/ 20 w 20"/>
                  </a:gdLst>
                  <a:ahLst/>
                  <a:cxnLst>
                    <a:cxn ang="0">
                      <a:pos x="T0" y="0"/>
                    </a:cxn>
                    <a:cxn ang="0">
                      <a:pos x="T1" y="0"/>
                    </a:cxn>
                    <a:cxn ang="0">
                      <a:pos x="T2" y="0"/>
                    </a:cxn>
                  </a:cxnLst>
                  <a:rect l="0" t="0" r="r" b="b"/>
                  <a:pathLst>
                    <a:path w="20">
                      <a:moveTo>
                        <a:pt x="0" y="0"/>
                      </a:moveTo>
                      <a:lnTo>
                        <a:pt x="0" y="0"/>
                      </a:lnTo>
                      <a:lnTo>
                        <a:pt x="20" y="0"/>
                      </a:lnTo>
                    </a:path>
                  </a:pathLst>
                </a:custGeom>
                <a:noFill/>
                <a:ln w="9525"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fontAlgn="base">
                    <a:spcBef>
                      <a:spcPct val="20000"/>
                    </a:spcBef>
                    <a:spcAft>
                      <a:spcPct val="0"/>
                    </a:spcAft>
                    <a:buClr>
                      <a:srgbClr val="FF0000"/>
                    </a:buClr>
                    <a:buSzPct val="65000"/>
                  </a:pPr>
                  <a:endParaRPr lang="en-US" sz="1100" kern="1200" dirty="0">
                    <a:solidFill>
                      <a:srgbClr val="4D4D4F"/>
                    </a:solidFill>
                    <a:latin typeface="+mj-lt"/>
                    <a:ea typeface="+mn-ea"/>
                    <a:cs typeface="Calibri" panose="020F0502020204030204" pitchFamily="34" charset="0"/>
                  </a:endParaRPr>
                </a:p>
              </p:txBody>
            </p:sp>
            <p:sp>
              <p:nvSpPr>
                <p:cNvPr id="138" name="Freeform 874">
                  <a:extLst>
                    <a:ext uri="{FF2B5EF4-FFF2-40B4-BE49-F238E27FC236}">
                      <a16:creationId xmlns:a16="http://schemas.microsoft.com/office/drawing/2014/main" id="{DA239E2D-8B01-46B8-A1D1-BBAAC22FDC34}"/>
                    </a:ext>
                  </a:extLst>
                </p:cNvPr>
                <p:cNvSpPr>
                  <a:spLocks/>
                </p:cNvSpPr>
                <p:nvPr/>
              </p:nvSpPr>
              <p:spPr bwMode="auto">
                <a:xfrm rot="5400000">
                  <a:off x="2600961" y="3675438"/>
                  <a:ext cx="403923" cy="101968"/>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9525"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fontAlgn="base">
                    <a:spcBef>
                      <a:spcPct val="20000"/>
                    </a:spcBef>
                    <a:spcAft>
                      <a:spcPct val="0"/>
                    </a:spcAft>
                    <a:buClr>
                      <a:srgbClr val="FF0000"/>
                    </a:buClr>
                    <a:buSzPct val="65000"/>
                  </a:pPr>
                  <a:endParaRPr lang="en-US" sz="1100" kern="1200" dirty="0">
                    <a:solidFill>
                      <a:srgbClr val="4D4D4F"/>
                    </a:solidFill>
                    <a:latin typeface="+mj-lt"/>
                    <a:ea typeface="+mn-ea"/>
                    <a:cs typeface="Calibri" panose="020F0502020204030204" pitchFamily="34" charset="0"/>
                  </a:endParaRPr>
                </a:p>
              </p:txBody>
            </p:sp>
            <p:sp>
              <p:nvSpPr>
                <p:cNvPr id="139" name="Freeform 341">
                  <a:extLst>
                    <a:ext uri="{FF2B5EF4-FFF2-40B4-BE49-F238E27FC236}">
                      <a16:creationId xmlns:a16="http://schemas.microsoft.com/office/drawing/2014/main" id="{12C20402-5232-46A4-8ACB-86EE50D6227E}"/>
                    </a:ext>
                  </a:extLst>
                </p:cNvPr>
                <p:cNvSpPr>
                  <a:spLocks/>
                </p:cNvSpPr>
                <p:nvPr/>
              </p:nvSpPr>
              <p:spPr bwMode="auto">
                <a:xfrm>
                  <a:off x="2572804" y="3641943"/>
                  <a:ext cx="178062" cy="136466"/>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rgbClr val="E45785"/>
                </a:solidFill>
                <a:ln w="9525" cap="flat">
                  <a:solidFill>
                    <a:schemeClr val="tx1">
                      <a:lumMod val="75000"/>
                    </a:schemeClr>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sp>
        <p:nvSpPr>
          <p:cNvPr id="152" name="TextBox 151"/>
          <p:cNvSpPr txBox="1"/>
          <p:nvPr/>
        </p:nvSpPr>
        <p:spPr bwMode="auto">
          <a:xfrm>
            <a:off x="5498845" y="3157403"/>
            <a:ext cx="1130389"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Malicious emails</a:t>
            </a:r>
          </a:p>
        </p:txBody>
      </p:sp>
      <p:grpSp>
        <p:nvGrpSpPr>
          <p:cNvPr id="153" name="Group 152">
            <a:extLst>
              <a:ext uri="{FF2B5EF4-FFF2-40B4-BE49-F238E27FC236}">
                <a16:creationId xmlns:a16="http://schemas.microsoft.com/office/drawing/2014/main" id="{4F200AE2-BAB5-4A86-A9C4-58229FC4C016}"/>
              </a:ext>
            </a:extLst>
          </p:cNvPr>
          <p:cNvGrpSpPr/>
          <p:nvPr/>
        </p:nvGrpSpPr>
        <p:grpSpPr>
          <a:xfrm>
            <a:off x="5299787" y="3204781"/>
            <a:ext cx="144932" cy="152809"/>
            <a:chOff x="12851044" y="2040559"/>
            <a:chExt cx="2340000" cy="2467172"/>
          </a:xfrm>
        </p:grpSpPr>
        <p:sp>
          <p:nvSpPr>
            <p:cNvPr id="154" name="Freeform 337">
              <a:extLst>
                <a:ext uri="{FF2B5EF4-FFF2-40B4-BE49-F238E27FC236}">
                  <a16:creationId xmlns:a16="http://schemas.microsoft.com/office/drawing/2014/main" id="{70EFC702-EB76-4B0E-9438-55FCCF184501}"/>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155" name="Group 154">
              <a:extLst>
                <a:ext uri="{FF2B5EF4-FFF2-40B4-BE49-F238E27FC236}">
                  <a16:creationId xmlns:a16="http://schemas.microsoft.com/office/drawing/2014/main" id="{E1A79C90-30FA-45DB-AFC7-A0DB4B80F9B1}"/>
                </a:ext>
              </a:extLst>
            </p:cNvPr>
            <p:cNvGrpSpPr/>
            <p:nvPr/>
          </p:nvGrpSpPr>
          <p:grpSpPr>
            <a:xfrm>
              <a:off x="12940066" y="2040559"/>
              <a:ext cx="1554463" cy="1766590"/>
              <a:chOff x="12940066" y="2040559"/>
              <a:chExt cx="1554463" cy="1766590"/>
            </a:xfrm>
          </p:grpSpPr>
          <p:sp>
            <p:nvSpPr>
              <p:cNvPr id="157" name="Freeform 340">
                <a:extLst>
                  <a:ext uri="{FF2B5EF4-FFF2-40B4-BE49-F238E27FC236}">
                    <a16:creationId xmlns:a16="http://schemas.microsoft.com/office/drawing/2014/main" id="{DC62EEC4-53F9-4C7A-BE00-B0AB7C1061C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58" name="Freeform 340">
                <a:extLst>
                  <a:ext uri="{FF2B5EF4-FFF2-40B4-BE49-F238E27FC236}">
                    <a16:creationId xmlns:a16="http://schemas.microsoft.com/office/drawing/2014/main" id="{C615CA1E-6835-4B58-9612-014823042ECB}"/>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159" name="TextBox 158"/>
          <p:cNvSpPr txBox="1"/>
          <p:nvPr/>
        </p:nvSpPr>
        <p:spPr bwMode="auto">
          <a:xfrm>
            <a:off x="5507443" y="3657685"/>
            <a:ext cx="1265041"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Malicious websites</a:t>
            </a:r>
          </a:p>
        </p:txBody>
      </p:sp>
      <p:grpSp>
        <p:nvGrpSpPr>
          <p:cNvPr id="160" name="Group 159">
            <a:extLst>
              <a:ext uri="{FF2B5EF4-FFF2-40B4-BE49-F238E27FC236}">
                <a16:creationId xmlns:a16="http://schemas.microsoft.com/office/drawing/2014/main" id="{4F200AE2-BAB5-4A86-A9C4-58229FC4C016}"/>
              </a:ext>
            </a:extLst>
          </p:cNvPr>
          <p:cNvGrpSpPr/>
          <p:nvPr/>
        </p:nvGrpSpPr>
        <p:grpSpPr>
          <a:xfrm>
            <a:off x="6968750" y="3212083"/>
            <a:ext cx="144932" cy="152809"/>
            <a:chOff x="12851044" y="2040559"/>
            <a:chExt cx="2340000" cy="2467172"/>
          </a:xfrm>
        </p:grpSpPr>
        <p:sp>
          <p:nvSpPr>
            <p:cNvPr id="161" name="Freeform 337">
              <a:extLst>
                <a:ext uri="{FF2B5EF4-FFF2-40B4-BE49-F238E27FC236}">
                  <a16:creationId xmlns:a16="http://schemas.microsoft.com/office/drawing/2014/main" id="{70EFC702-EB76-4B0E-9438-55FCCF184501}"/>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162" name="Group 161">
              <a:extLst>
                <a:ext uri="{FF2B5EF4-FFF2-40B4-BE49-F238E27FC236}">
                  <a16:creationId xmlns:a16="http://schemas.microsoft.com/office/drawing/2014/main" id="{E1A79C90-30FA-45DB-AFC7-A0DB4B80F9B1}"/>
                </a:ext>
              </a:extLst>
            </p:cNvPr>
            <p:cNvGrpSpPr/>
            <p:nvPr/>
          </p:nvGrpSpPr>
          <p:grpSpPr>
            <a:xfrm>
              <a:off x="12940066" y="2040559"/>
              <a:ext cx="1554463" cy="1766590"/>
              <a:chOff x="12940066" y="2040559"/>
              <a:chExt cx="1554463" cy="1766590"/>
            </a:xfrm>
          </p:grpSpPr>
          <p:sp>
            <p:nvSpPr>
              <p:cNvPr id="163" name="Freeform 340">
                <a:extLst>
                  <a:ext uri="{FF2B5EF4-FFF2-40B4-BE49-F238E27FC236}">
                    <a16:creationId xmlns:a16="http://schemas.microsoft.com/office/drawing/2014/main" id="{DC62EEC4-53F9-4C7A-BE00-B0AB7C1061C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64" name="Freeform 340">
                <a:extLst>
                  <a:ext uri="{FF2B5EF4-FFF2-40B4-BE49-F238E27FC236}">
                    <a16:creationId xmlns:a16="http://schemas.microsoft.com/office/drawing/2014/main" id="{C615CA1E-6835-4B58-9612-014823042ECB}"/>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168" name="TextBox 167"/>
          <p:cNvSpPr txBox="1"/>
          <p:nvPr/>
        </p:nvSpPr>
        <p:spPr bwMode="auto">
          <a:xfrm>
            <a:off x="7226178" y="3663474"/>
            <a:ext cx="1263439"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Rogue applications</a:t>
            </a:r>
          </a:p>
        </p:txBody>
      </p:sp>
      <p:grpSp>
        <p:nvGrpSpPr>
          <p:cNvPr id="169" name="Group 168">
            <a:extLst>
              <a:ext uri="{FF2B5EF4-FFF2-40B4-BE49-F238E27FC236}">
                <a16:creationId xmlns:a16="http://schemas.microsoft.com/office/drawing/2014/main" id="{4F200AE2-BAB5-4A86-A9C4-58229FC4C016}"/>
              </a:ext>
            </a:extLst>
          </p:cNvPr>
          <p:cNvGrpSpPr/>
          <p:nvPr/>
        </p:nvGrpSpPr>
        <p:grpSpPr>
          <a:xfrm>
            <a:off x="6968750" y="3690172"/>
            <a:ext cx="144932" cy="152809"/>
            <a:chOff x="12851044" y="2040559"/>
            <a:chExt cx="2340000" cy="2467172"/>
          </a:xfrm>
        </p:grpSpPr>
        <p:sp>
          <p:nvSpPr>
            <p:cNvPr id="170" name="Freeform 337">
              <a:extLst>
                <a:ext uri="{FF2B5EF4-FFF2-40B4-BE49-F238E27FC236}">
                  <a16:creationId xmlns:a16="http://schemas.microsoft.com/office/drawing/2014/main" id="{70EFC702-EB76-4B0E-9438-55FCCF184501}"/>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171" name="Group 170">
              <a:extLst>
                <a:ext uri="{FF2B5EF4-FFF2-40B4-BE49-F238E27FC236}">
                  <a16:creationId xmlns:a16="http://schemas.microsoft.com/office/drawing/2014/main" id="{E1A79C90-30FA-45DB-AFC7-A0DB4B80F9B1}"/>
                </a:ext>
              </a:extLst>
            </p:cNvPr>
            <p:cNvGrpSpPr/>
            <p:nvPr/>
          </p:nvGrpSpPr>
          <p:grpSpPr>
            <a:xfrm>
              <a:off x="12940066" y="2040559"/>
              <a:ext cx="1554463" cy="1766590"/>
              <a:chOff x="12940066" y="2040559"/>
              <a:chExt cx="1554463" cy="1766590"/>
            </a:xfrm>
          </p:grpSpPr>
          <p:sp>
            <p:nvSpPr>
              <p:cNvPr id="172" name="Freeform 340">
                <a:extLst>
                  <a:ext uri="{FF2B5EF4-FFF2-40B4-BE49-F238E27FC236}">
                    <a16:creationId xmlns:a16="http://schemas.microsoft.com/office/drawing/2014/main" id="{DC62EEC4-53F9-4C7A-BE00-B0AB7C1061C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173" name="Freeform 340">
                <a:extLst>
                  <a:ext uri="{FF2B5EF4-FFF2-40B4-BE49-F238E27FC236}">
                    <a16:creationId xmlns:a16="http://schemas.microsoft.com/office/drawing/2014/main" id="{C615CA1E-6835-4B58-9612-014823042ECB}"/>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grpSp>
        <p:nvGrpSpPr>
          <p:cNvPr id="156" name="Group 155">
            <a:extLst>
              <a:ext uri="{FF2B5EF4-FFF2-40B4-BE49-F238E27FC236}">
                <a16:creationId xmlns:a16="http://schemas.microsoft.com/office/drawing/2014/main" id="{4F200AE2-BAB5-4A86-A9C4-58229FC4C016}"/>
              </a:ext>
            </a:extLst>
          </p:cNvPr>
          <p:cNvGrpSpPr/>
          <p:nvPr/>
        </p:nvGrpSpPr>
        <p:grpSpPr>
          <a:xfrm>
            <a:off x="5299787" y="3694698"/>
            <a:ext cx="144932" cy="152809"/>
            <a:chOff x="12851044" y="2040559"/>
            <a:chExt cx="2340000" cy="2467172"/>
          </a:xfrm>
        </p:grpSpPr>
        <p:sp>
          <p:nvSpPr>
            <p:cNvPr id="233" name="Freeform 337">
              <a:extLst>
                <a:ext uri="{FF2B5EF4-FFF2-40B4-BE49-F238E27FC236}">
                  <a16:creationId xmlns:a16="http://schemas.microsoft.com/office/drawing/2014/main" id="{70EFC702-EB76-4B0E-9438-55FCCF184501}"/>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34" name="Group 233">
              <a:extLst>
                <a:ext uri="{FF2B5EF4-FFF2-40B4-BE49-F238E27FC236}">
                  <a16:creationId xmlns:a16="http://schemas.microsoft.com/office/drawing/2014/main" id="{E1A79C90-30FA-45DB-AFC7-A0DB4B80F9B1}"/>
                </a:ext>
              </a:extLst>
            </p:cNvPr>
            <p:cNvGrpSpPr/>
            <p:nvPr/>
          </p:nvGrpSpPr>
          <p:grpSpPr>
            <a:xfrm>
              <a:off x="12940066" y="2040559"/>
              <a:ext cx="1554463" cy="1766590"/>
              <a:chOff x="12940066" y="2040559"/>
              <a:chExt cx="1554463" cy="1766590"/>
            </a:xfrm>
          </p:grpSpPr>
          <p:sp>
            <p:nvSpPr>
              <p:cNvPr id="235" name="Freeform 340">
                <a:extLst>
                  <a:ext uri="{FF2B5EF4-FFF2-40B4-BE49-F238E27FC236}">
                    <a16:creationId xmlns:a16="http://schemas.microsoft.com/office/drawing/2014/main" id="{DC62EEC4-53F9-4C7A-BE00-B0AB7C1061C3}"/>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36" name="Freeform 340">
                <a:extLst>
                  <a:ext uri="{FF2B5EF4-FFF2-40B4-BE49-F238E27FC236}">
                    <a16:creationId xmlns:a16="http://schemas.microsoft.com/office/drawing/2014/main" id="{C615CA1E-6835-4B58-9612-014823042ECB}"/>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237" name="TextBox 236"/>
          <p:cNvSpPr txBox="1"/>
          <p:nvPr/>
        </p:nvSpPr>
        <p:spPr bwMode="auto">
          <a:xfrm>
            <a:off x="7229579" y="3153378"/>
            <a:ext cx="1111153"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Rogue networks</a:t>
            </a:r>
          </a:p>
        </p:txBody>
      </p:sp>
      <p:sp>
        <p:nvSpPr>
          <p:cNvPr id="243" name="TextBox 242"/>
          <p:cNvSpPr txBox="1"/>
          <p:nvPr/>
        </p:nvSpPr>
        <p:spPr bwMode="auto">
          <a:xfrm>
            <a:off x="9017018" y="3152346"/>
            <a:ext cx="917190"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Theft or Loss</a:t>
            </a:r>
          </a:p>
        </p:txBody>
      </p:sp>
      <p:grpSp>
        <p:nvGrpSpPr>
          <p:cNvPr id="244" name="Group 243">
            <a:extLst>
              <a:ext uri="{FF2B5EF4-FFF2-40B4-BE49-F238E27FC236}">
                <a16:creationId xmlns:a16="http://schemas.microsoft.com/office/drawing/2014/main" id="{27534D1A-8126-4004-98B5-085A8F8164FA}"/>
              </a:ext>
            </a:extLst>
          </p:cNvPr>
          <p:cNvGrpSpPr/>
          <p:nvPr/>
        </p:nvGrpSpPr>
        <p:grpSpPr>
          <a:xfrm>
            <a:off x="8819143" y="3211792"/>
            <a:ext cx="144932" cy="152809"/>
            <a:chOff x="12851044" y="2040559"/>
            <a:chExt cx="2340000" cy="2467172"/>
          </a:xfrm>
        </p:grpSpPr>
        <p:sp>
          <p:nvSpPr>
            <p:cNvPr id="245" name="Freeform 337">
              <a:extLst>
                <a:ext uri="{FF2B5EF4-FFF2-40B4-BE49-F238E27FC236}">
                  <a16:creationId xmlns:a16="http://schemas.microsoft.com/office/drawing/2014/main" id="{4E187CA9-7DE1-45E1-9C69-DF4A36FE0177}"/>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46" name="Group 245">
              <a:extLst>
                <a:ext uri="{FF2B5EF4-FFF2-40B4-BE49-F238E27FC236}">
                  <a16:creationId xmlns:a16="http://schemas.microsoft.com/office/drawing/2014/main" id="{4BACD654-B8A4-4182-999D-F3E9059332D1}"/>
                </a:ext>
              </a:extLst>
            </p:cNvPr>
            <p:cNvGrpSpPr/>
            <p:nvPr/>
          </p:nvGrpSpPr>
          <p:grpSpPr>
            <a:xfrm>
              <a:off x="12940066" y="2040559"/>
              <a:ext cx="1554463" cy="1766590"/>
              <a:chOff x="12940066" y="2040559"/>
              <a:chExt cx="1554463" cy="1766590"/>
            </a:xfrm>
          </p:grpSpPr>
          <p:sp>
            <p:nvSpPr>
              <p:cNvPr id="247" name="Freeform 340">
                <a:extLst>
                  <a:ext uri="{FF2B5EF4-FFF2-40B4-BE49-F238E27FC236}">
                    <a16:creationId xmlns:a16="http://schemas.microsoft.com/office/drawing/2014/main" id="{5B3A23EC-0229-4AA8-ACE8-319F8AD59FE8}"/>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48" name="Freeform 340">
                <a:extLst>
                  <a:ext uri="{FF2B5EF4-FFF2-40B4-BE49-F238E27FC236}">
                    <a16:creationId xmlns:a16="http://schemas.microsoft.com/office/drawing/2014/main" id="{CA59D0A2-80F1-4917-AFB2-7E7E3355ED1D}"/>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249" name="TextBox 248"/>
          <p:cNvSpPr txBox="1"/>
          <p:nvPr/>
        </p:nvSpPr>
        <p:spPr bwMode="auto">
          <a:xfrm>
            <a:off x="9011583" y="3663474"/>
            <a:ext cx="923602"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Human Error</a:t>
            </a:r>
          </a:p>
        </p:txBody>
      </p:sp>
      <p:grpSp>
        <p:nvGrpSpPr>
          <p:cNvPr id="250" name="Group 249">
            <a:extLst>
              <a:ext uri="{FF2B5EF4-FFF2-40B4-BE49-F238E27FC236}">
                <a16:creationId xmlns:a16="http://schemas.microsoft.com/office/drawing/2014/main" id="{27534D1A-8126-4004-98B5-085A8F8164FA}"/>
              </a:ext>
            </a:extLst>
          </p:cNvPr>
          <p:cNvGrpSpPr/>
          <p:nvPr/>
        </p:nvGrpSpPr>
        <p:grpSpPr>
          <a:xfrm>
            <a:off x="8819143" y="3693158"/>
            <a:ext cx="144932" cy="152809"/>
            <a:chOff x="12851044" y="2040559"/>
            <a:chExt cx="2340000" cy="2467172"/>
          </a:xfrm>
        </p:grpSpPr>
        <p:sp>
          <p:nvSpPr>
            <p:cNvPr id="251" name="Freeform 337">
              <a:extLst>
                <a:ext uri="{FF2B5EF4-FFF2-40B4-BE49-F238E27FC236}">
                  <a16:creationId xmlns:a16="http://schemas.microsoft.com/office/drawing/2014/main" id="{4E187CA9-7DE1-45E1-9C69-DF4A36FE0177}"/>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52" name="Group 251">
              <a:extLst>
                <a:ext uri="{FF2B5EF4-FFF2-40B4-BE49-F238E27FC236}">
                  <a16:creationId xmlns:a16="http://schemas.microsoft.com/office/drawing/2014/main" id="{4BACD654-B8A4-4182-999D-F3E9059332D1}"/>
                </a:ext>
              </a:extLst>
            </p:cNvPr>
            <p:cNvGrpSpPr/>
            <p:nvPr/>
          </p:nvGrpSpPr>
          <p:grpSpPr>
            <a:xfrm>
              <a:off x="12940066" y="2040559"/>
              <a:ext cx="1554463" cy="1766590"/>
              <a:chOff x="12940066" y="2040559"/>
              <a:chExt cx="1554463" cy="1766590"/>
            </a:xfrm>
          </p:grpSpPr>
          <p:sp>
            <p:nvSpPr>
              <p:cNvPr id="253" name="Freeform 340">
                <a:extLst>
                  <a:ext uri="{FF2B5EF4-FFF2-40B4-BE49-F238E27FC236}">
                    <a16:creationId xmlns:a16="http://schemas.microsoft.com/office/drawing/2014/main" id="{5B3A23EC-0229-4AA8-ACE8-319F8AD59FE8}"/>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54" name="Freeform 340">
                <a:extLst>
                  <a:ext uri="{FF2B5EF4-FFF2-40B4-BE49-F238E27FC236}">
                    <a16:creationId xmlns:a16="http://schemas.microsoft.com/office/drawing/2014/main" id="{CA59D0A2-80F1-4917-AFB2-7E7E3355ED1D}"/>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255" name="TextBox 254"/>
          <p:cNvSpPr txBox="1"/>
          <p:nvPr/>
        </p:nvSpPr>
        <p:spPr bwMode="auto">
          <a:xfrm>
            <a:off x="10729822" y="3137849"/>
            <a:ext cx="415450" cy="261586"/>
          </a:xfrm>
          <a:prstGeom prst="rect">
            <a:avLst/>
          </a:prstGeom>
          <a:noFill/>
          <a:ln>
            <a:noFill/>
          </a:ln>
          <a:effectLst/>
        </p:spPr>
        <p:txBody>
          <a:bodyPr vert="horz" wrap="none" lIns="91416" tIns="45708" rIns="91416" bIns="45708" numCol="1" rtlCol="0" anchor="ctr" anchorCtr="0" compatLnSpc="1">
            <a:prstTxWarp prst="textNoShape">
              <a:avLst/>
            </a:prstTxWarp>
            <a:spAutoFit/>
          </a:bodyPr>
          <a:lstStyle/>
          <a:p>
            <a:pPr defTabSz="914126"/>
            <a:r>
              <a:rPr lang="en-US" sz="1100" dirty="0">
                <a:latin typeface="+mj-lt"/>
                <a:ea typeface="+mn-ea"/>
                <a:cs typeface="Calibri" panose="020F0502020204030204" pitchFamily="34" charset="0"/>
              </a:rPr>
              <a:t>USB</a:t>
            </a:r>
          </a:p>
        </p:txBody>
      </p:sp>
      <p:grpSp>
        <p:nvGrpSpPr>
          <p:cNvPr id="256" name="Group 255">
            <a:extLst>
              <a:ext uri="{FF2B5EF4-FFF2-40B4-BE49-F238E27FC236}">
                <a16:creationId xmlns:a16="http://schemas.microsoft.com/office/drawing/2014/main" id="{27534D1A-8126-4004-98B5-085A8F8164FA}"/>
              </a:ext>
            </a:extLst>
          </p:cNvPr>
          <p:cNvGrpSpPr/>
          <p:nvPr/>
        </p:nvGrpSpPr>
        <p:grpSpPr>
          <a:xfrm>
            <a:off x="10531948" y="3197295"/>
            <a:ext cx="144932" cy="152809"/>
            <a:chOff x="12851044" y="2040559"/>
            <a:chExt cx="2340000" cy="2467172"/>
          </a:xfrm>
        </p:grpSpPr>
        <p:sp>
          <p:nvSpPr>
            <p:cNvPr id="257" name="Freeform 337">
              <a:extLst>
                <a:ext uri="{FF2B5EF4-FFF2-40B4-BE49-F238E27FC236}">
                  <a16:creationId xmlns:a16="http://schemas.microsoft.com/office/drawing/2014/main" id="{4E187CA9-7DE1-45E1-9C69-DF4A36FE0177}"/>
                </a:ext>
              </a:extLst>
            </p:cNvPr>
            <p:cNvSpPr>
              <a:spLocks/>
            </p:cNvSpPr>
            <p:nvPr/>
          </p:nvSpPr>
          <p:spPr bwMode="auto">
            <a:xfrm>
              <a:off x="12851044" y="2167731"/>
              <a:ext cx="2340000" cy="2340000"/>
            </a:xfrm>
            <a:prstGeom prst="roundRect">
              <a:avLst/>
            </a:pr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nvGrpSpPr>
            <p:cNvPr id="258" name="Group 257">
              <a:extLst>
                <a:ext uri="{FF2B5EF4-FFF2-40B4-BE49-F238E27FC236}">
                  <a16:creationId xmlns:a16="http://schemas.microsoft.com/office/drawing/2014/main" id="{4BACD654-B8A4-4182-999D-F3E9059332D1}"/>
                </a:ext>
              </a:extLst>
            </p:cNvPr>
            <p:cNvGrpSpPr/>
            <p:nvPr/>
          </p:nvGrpSpPr>
          <p:grpSpPr>
            <a:xfrm>
              <a:off x="12940066" y="2040559"/>
              <a:ext cx="1554463" cy="1766590"/>
              <a:chOff x="12940066" y="2040559"/>
              <a:chExt cx="1554463" cy="1766590"/>
            </a:xfrm>
          </p:grpSpPr>
          <p:sp>
            <p:nvSpPr>
              <p:cNvPr id="259" name="Freeform 340">
                <a:extLst>
                  <a:ext uri="{FF2B5EF4-FFF2-40B4-BE49-F238E27FC236}">
                    <a16:creationId xmlns:a16="http://schemas.microsoft.com/office/drawing/2014/main" id="{5B3A23EC-0229-4AA8-ACE8-319F8AD59FE8}"/>
                  </a:ext>
                </a:extLst>
              </p:cNvPr>
              <p:cNvSpPr>
                <a:spLocks/>
              </p:cNvSpPr>
              <p:nvPr/>
            </p:nvSpPr>
            <p:spPr bwMode="auto">
              <a:xfrm rot="18515887" flipV="1">
                <a:off x="12894155" y="2086470"/>
                <a:ext cx="1646286" cy="1554463"/>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sp>
            <p:nvSpPr>
              <p:cNvPr id="260" name="Freeform 340">
                <a:extLst>
                  <a:ext uri="{FF2B5EF4-FFF2-40B4-BE49-F238E27FC236}">
                    <a16:creationId xmlns:a16="http://schemas.microsoft.com/office/drawing/2014/main" id="{CA59D0A2-80F1-4917-AFB2-7E7E3355ED1D}"/>
                  </a:ext>
                </a:extLst>
              </p:cNvPr>
              <p:cNvSpPr>
                <a:spLocks/>
              </p:cNvSpPr>
              <p:nvPr/>
            </p:nvSpPr>
            <p:spPr bwMode="auto">
              <a:xfrm rot="3084113" flipH="1" flipV="1">
                <a:off x="13403002" y="2864613"/>
                <a:ext cx="969574" cy="915497"/>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9525" cap="flat">
                <a:solidFill>
                  <a:schemeClr val="tx1"/>
                </a:solidFill>
                <a:prstDash val="solid"/>
                <a:round/>
              </a:ln>
            </p:spPr>
            <p:txBody>
              <a:bodyPr rtlCol="0" anchor="ctr"/>
              <a:lstStyle/>
              <a:p>
                <a:pPr defTabSz="913578" fontAlgn="base">
                  <a:spcBef>
                    <a:spcPct val="20000"/>
                  </a:spcBef>
                  <a:spcAft>
                    <a:spcPct val="0"/>
                  </a:spcAft>
                  <a:buClr>
                    <a:srgbClr val="FF0000"/>
                  </a:buClr>
                  <a:buSzPct val="65000"/>
                  <a:defRPr/>
                </a:pPr>
                <a:endParaRPr lang="en-US" sz="1100" kern="1200" dirty="0">
                  <a:solidFill>
                    <a:srgbClr val="4D4D4F"/>
                  </a:solidFill>
                  <a:latin typeface="+mj-lt"/>
                  <a:ea typeface="+mn-ea"/>
                  <a:cs typeface="Calibri" panose="020F0502020204030204" pitchFamily="34" charset="0"/>
                </a:endParaRPr>
              </a:p>
            </p:txBody>
          </p:sp>
        </p:grpSp>
      </p:grpSp>
      <p:sp>
        <p:nvSpPr>
          <p:cNvPr id="175" name="Title 5"/>
          <p:cNvSpPr>
            <a:spLocks noGrp="1"/>
          </p:cNvSpPr>
          <p:nvPr>
            <p:ph type="title"/>
          </p:nvPr>
        </p:nvSpPr>
        <p:spPr>
          <a:xfrm>
            <a:off x="575058" y="468288"/>
            <a:ext cx="11019501" cy="914162"/>
          </a:xfrm>
        </p:spPr>
        <p:txBody>
          <a:bodyPr/>
          <a:lstStyle/>
          <a:p>
            <a:r>
              <a:rPr lang="en-US" sz="3200" b="1" dirty="0">
                <a:latin typeface="+mj-lt"/>
              </a:rPr>
              <a:t>HARMONY: 360° USER PROTECTION </a:t>
            </a:r>
            <a:br>
              <a:rPr lang="en-US" sz="3200" b="1" dirty="0">
                <a:latin typeface="+mj-lt"/>
              </a:rPr>
            </a:br>
            <a:r>
              <a:rPr lang="en-US" sz="3200" dirty="0">
                <a:solidFill>
                  <a:schemeClr val="tx1"/>
                </a:solidFill>
                <a:latin typeface="+mj-lt"/>
              </a:rPr>
              <a:t>AGAINST KNOWN AND ZERO-DAYS THREATS</a:t>
            </a:r>
            <a:endParaRPr lang="en-US" sz="3200" dirty="0">
              <a:latin typeface="+mj-lt"/>
            </a:endParaRPr>
          </a:p>
        </p:txBody>
      </p:sp>
    </p:spTree>
    <p:extLst>
      <p:ext uri="{BB962C8B-B14F-4D97-AF65-F5344CB8AC3E}">
        <p14:creationId xmlns:p14="http://schemas.microsoft.com/office/powerpoint/2010/main" val="540312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819"/>
        <p:cNvGrpSpPr/>
        <p:nvPr/>
      </p:nvGrpSpPr>
      <p:grpSpPr>
        <a:xfrm>
          <a:off x="0" y="0"/>
          <a:ext cx="0" cy="0"/>
          <a:chOff x="0" y="0"/>
          <a:chExt cx="0" cy="0"/>
        </a:xfrm>
      </p:grpSpPr>
      <p:pic>
        <p:nvPicPr>
          <p:cNvPr id="1821" name="Google Shape;1821;p15"/>
          <p:cNvPicPr preferRelativeResize="0"/>
          <p:nvPr/>
        </p:nvPicPr>
        <p:blipFill rotWithShape="1">
          <a:blip r:embed="rId3" cstate="print">
            <a:alphaModFix/>
            <a:extLst>
              <a:ext uri="{28A0092B-C50C-407E-A947-70E740481C1C}">
                <a14:useLocalDpi xmlns:a14="http://schemas.microsoft.com/office/drawing/2010/main"/>
              </a:ext>
            </a:extLst>
          </a:blip>
          <a:srcRect l="9717" t="9703" r="10158"/>
          <a:stretch/>
        </p:blipFill>
        <p:spPr>
          <a:xfrm>
            <a:off x="3931191" y="3313201"/>
            <a:ext cx="4846957" cy="3532684"/>
          </a:xfrm>
          <a:prstGeom prst="rect">
            <a:avLst/>
          </a:prstGeom>
          <a:noFill/>
          <a:ln>
            <a:noFill/>
          </a:ln>
        </p:spPr>
      </p:pic>
      <p:pic>
        <p:nvPicPr>
          <p:cNvPr id="50" name="Picture 3" descr="Graphical user interface, application, email&#10;&#10;Description automatically generated"/>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651966" y="3637901"/>
            <a:ext cx="3456944" cy="236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24" name="Google Shape;1824;p15"/>
          <p:cNvSpPr txBox="1">
            <a:spLocks noGrp="1"/>
          </p:cNvSpPr>
          <p:nvPr>
            <p:ph type="title"/>
          </p:nvPr>
        </p:nvSpPr>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MALWARE PROTECTION</a:t>
            </a:r>
            <a:br>
              <a:rPr lang="en-US" sz="3200" b="1" dirty="0">
                <a:latin typeface="+mj-lt"/>
                <a:sym typeface="Calibri"/>
              </a:rPr>
            </a:br>
            <a:br>
              <a:rPr lang="en-US" sz="3200" b="1" dirty="0">
                <a:latin typeface="+mj-lt"/>
                <a:sym typeface="Calibri"/>
              </a:rPr>
            </a:br>
            <a:endParaRPr lang="en-US" sz="3200" b="1" dirty="0">
              <a:latin typeface="+mj-lt"/>
            </a:endParaRPr>
          </a:p>
        </p:txBody>
      </p:sp>
      <p:sp>
        <p:nvSpPr>
          <p:cNvPr id="4" name="Date Placeholder 3" hidden="1"/>
          <p:cNvSpPr>
            <a:spLocks noGrp="1"/>
          </p:cNvSpPr>
          <p:nvPr>
            <p:ph type="dt" idx="10"/>
          </p:nvPr>
        </p:nvSpPr>
        <p:spPr/>
        <p:txBody>
          <a:bodyPr/>
          <a:lstStyle/>
          <a:p>
            <a:endParaRPr lang="en-US" dirty="0"/>
          </a:p>
        </p:txBody>
      </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1825" name="Google Shape;1825;p15" descr="Pen, pendrive, usb Free Icon of Office Icons"/>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pic>
        <p:nvPicPr>
          <p:cNvPr id="1827" name="Google Shape;1827;p15" descr="A picture containing comb&#10;&#10;Description automatically generated"/>
          <p:cNvPicPr preferRelativeResize="0"/>
          <p:nvPr/>
        </p:nvPicPr>
        <p:blipFill rotWithShape="1">
          <a:blip r:embed="rId5">
            <a:alphaModFix amt="20000"/>
          </a:blip>
          <a:srcRect/>
          <a:stretch/>
        </p:blipFill>
        <p:spPr>
          <a:xfrm flipH="1">
            <a:off x="2737598" y="6961106"/>
            <a:ext cx="2690191" cy="1129261"/>
          </a:xfrm>
          <a:prstGeom prst="rect">
            <a:avLst/>
          </a:prstGeom>
          <a:noFill/>
          <a:ln>
            <a:noFill/>
          </a:ln>
        </p:spPr>
      </p:pic>
      <p:sp>
        <p:nvSpPr>
          <p:cNvPr id="137" name="Rectangle 136">
            <a:extLst>
              <a:ext uri="{FF2B5EF4-FFF2-40B4-BE49-F238E27FC236}">
                <a16:creationId xmlns:a16="http://schemas.microsoft.com/office/drawing/2014/main" id="{1BBF344B-96B8-4AED-B0EF-85F614807416}"/>
              </a:ext>
            </a:extLst>
          </p:cNvPr>
          <p:cNvSpPr/>
          <p:nvPr/>
        </p:nvSpPr>
        <p:spPr>
          <a:xfrm>
            <a:off x="1264714" y="4051755"/>
            <a:ext cx="2182043" cy="338554"/>
          </a:xfrm>
          <a:prstGeom prst="rect">
            <a:avLst/>
          </a:prstGeom>
        </p:spPr>
        <p:txBody>
          <a:bodyPr wrap="square">
            <a:spAutoFit/>
          </a:bodyPr>
          <a:lstStyle/>
          <a:p>
            <a:pPr>
              <a:spcBef>
                <a:spcPts val="0"/>
              </a:spcBef>
            </a:pPr>
            <a:r>
              <a:rPr lang="en-US" sz="1600" dirty="0">
                <a:solidFill>
                  <a:schemeClr val="tx1">
                    <a:lumMod val="60000"/>
                    <a:lumOff val="40000"/>
                  </a:schemeClr>
                </a:solidFill>
                <a:latin typeface="+mj-lt"/>
                <a:cs typeface="Calibri" panose="020F0502020204030204" pitchFamily="34" charset="0"/>
              </a:rPr>
              <a:t>File less attacks</a:t>
            </a:r>
          </a:p>
        </p:txBody>
      </p:sp>
      <p:sp>
        <p:nvSpPr>
          <p:cNvPr id="138" name="Rectangle 137">
            <a:extLst>
              <a:ext uri="{FF2B5EF4-FFF2-40B4-BE49-F238E27FC236}">
                <a16:creationId xmlns:a16="http://schemas.microsoft.com/office/drawing/2014/main" id="{BC4BBACE-F0E8-4EC8-9ABD-747D7391768A}"/>
              </a:ext>
            </a:extLst>
          </p:cNvPr>
          <p:cNvSpPr/>
          <p:nvPr/>
        </p:nvSpPr>
        <p:spPr>
          <a:xfrm>
            <a:off x="1264715" y="4832076"/>
            <a:ext cx="3287814"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files on USB</a:t>
            </a:r>
          </a:p>
        </p:txBody>
      </p:sp>
      <p:sp>
        <p:nvSpPr>
          <p:cNvPr id="139" name="Rectangle 138">
            <a:extLst>
              <a:ext uri="{FF2B5EF4-FFF2-40B4-BE49-F238E27FC236}">
                <a16:creationId xmlns:a16="http://schemas.microsoft.com/office/drawing/2014/main" id="{FE18702C-D66E-4A77-9021-7DBE0A5C9C58}"/>
              </a:ext>
            </a:extLst>
          </p:cNvPr>
          <p:cNvSpPr/>
          <p:nvPr/>
        </p:nvSpPr>
        <p:spPr>
          <a:xfrm>
            <a:off x="1264715" y="5612396"/>
            <a:ext cx="3590030"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mobile apps</a:t>
            </a:r>
          </a:p>
        </p:txBody>
      </p:sp>
      <p:sp>
        <p:nvSpPr>
          <p:cNvPr id="140" name="Rectangle 139">
            <a:extLst>
              <a:ext uri="{FF2B5EF4-FFF2-40B4-BE49-F238E27FC236}">
                <a16:creationId xmlns:a16="http://schemas.microsoft.com/office/drawing/2014/main" id="{91495ED8-2009-40F4-890B-31F3A08AF11E}"/>
              </a:ext>
            </a:extLst>
          </p:cNvPr>
          <p:cNvSpPr/>
          <p:nvPr/>
        </p:nvSpPr>
        <p:spPr>
          <a:xfrm>
            <a:off x="1264715" y="3271434"/>
            <a:ext cx="3813408"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email attachments</a:t>
            </a:r>
          </a:p>
        </p:txBody>
      </p:sp>
      <p:sp>
        <p:nvSpPr>
          <p:cNvPr id="141" name="Rectangle 140">
            <a:extLst>
              <a:ext uri="{FF2B5EF4-FFF2-40B4-BE49-F238E27FC236}">
                <a16:creationId xmlns:a16="http://schemas.microsoft.com/office/drawing/2014/main" id="{063BEF92-043B-4319-9CE6-7D3615D3A4A1}"/>
              </a:ext>
            </a:extLst>
          </p:cNvPr>
          <p:cNvSpPr/>
          <p:nvPr/>
        </p:nvSpPr>
        <p:spPr>
          <a:xfrm>
            <a:off x="1264715" y="2491113"/>
            <a:ext cx="3815541" cy="338554"/>
          </a:xfrm>
          <a:prstGeom prst="rect">
            <a:avLst/>
          </a:prstGeom>
        </p:spPr>
        <p:txBody>
          <a:bodyPr wrap="square">
            <a:spAutoFit/>
          </a:bodyPr>
          <a:lstStyle/>
          <a:p>
            <a:r>
              <a:rPr lang="en-US" sz="1600" b="1" dirty="0">
                <a:solidFill>
                  <a:schemeClr val="accent6"/>
                </a:solidFill>
                <a:latin typeface="+mj-lt"/>
                <a:cs typeface="Calibri" panose="020F0502020204030204" pitchFamily="34" charset="0"/>
              </a:rPr>
              <a:t>Web downloads and links</a:t>
            </a:r>
          </a:p>
        </p:txBody>
      </p:sp>
      <p:sp>
        <p:nvSpPr>
          <p:cNvPr id="42" name="Freeform: Shape 41">
            <a:extLst>
              <a:ext uri="{FF2B5EF4-FFF2-40B4-BE49-F238E27FC236}">
                <a16:creationId xmlns:a16="http://schemas.microsoft.com/office/drawing/2014/main" id="{975949E0-A847-4BD8-B4D0-0E89C5DE490A}"/>
              </a:ext>
            </a:extLst>
          </p:cNvPr>
          <p:cNvSpPr/>
          <p:nvPr/>
        </p:nvSpPr>
        <p:spPr>
          <a:xfrm>
            <a:off x="610819" y="2515671"/>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adFill>
            <a:gsLst>
              <a:gs pos="18000">
                <a:srgbClr val="43115A"/>
              </a:gs>
              <a:gs pos="0">
                <a:schemeClr val="accent6"/>
              </a:gs>
              <a:gs pos="680">
                <a:schemeClr val="accent6"/>
              </a:gs>
              <a:gs pos="100000">
                <a:schemeClr val="tx2"/>
              </a:gs>
            </a:gsLst>
            <a:lin ang="0" scaled="0"/>
          </a:gra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3" name="Freeform: Shape 42">
            <a:extLst>
              <a:ext uri="{FF2B5EF4-FFF2-40B4-BE49-F238E27FC236}">
                <a16:creationId xmlns:a16="http://schemas.microsoft.com/office/drawing/2014/main" id="{FBD0813F-9772-4B07-8FEE-340B20F6C943}"/>
              </a:ext>
            </a:extLst>
          </p:cNvPr>
          <p:cNvSpPr/>
          <p:nvPr/>
        </p:nvSpPr>
        <p:spPr>
          <a:xfrm>
            <a:off x="692030" y="2468164"/>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adFill>
            <a:gsLst>
              <a:gs pos="6000">
                <a:srgbClr val="43115A"/>
              </a:gs>
              <a:gs pos="0">
                <a:schemeClr val="accent6"/>
              </a:gs>
              <a:gs pos="680">
                <a:schemeClr val="accent6"/>
              </a:gs>
              <a:gs pos="100000">
                <a:schemeClr val="tx2"/>
              </a:gs>
            </a:gsLst>
            <a:lin ang="0" scaled="0"/>
          </a:gra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sp>
        <p:nvSpPr>
          <p:cNvPr id="44" name="Freeform: Shape 43">
            <a:extLst>
              <a:ext uri="{FF2B5EF4-FFF2-40B4-BE49-F238E27FC236}">
                <a16:creationId xmlns:a16="http://schemas.microsoft.com/office/drawing/2014/main" id="{96E14413-96D7-4EBE-96BC-DD29A3D4392D}"/>
              </a:ext>
            </a:extLst>
          </p:cNvPr>
          <p:cNvSpPr/>
          <p:nvPr/>
        </p:nvSpPr>
        <p:spPr>
          <a:xfrm>
            <a:off x="610819" y="3282697"/>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5" name="Freeform: Shape 44">
            <a:extLst>
              <a:ext uri="{FF2B5EF4-FFF2-40B4-BE49-F238E27FC236}">
                <a16:creationId xmlns:a16="http://schemas.microsoft.com/office/drawing/2014/main" id="{2126DC14-BD64-4AC7-9383-B3779FC3062A}"/>
              </a:ext>
            </a:extLst>
          </p:cNvPr>
          <p:cNvSpPr/>
          <p:nvPr/>
        </p:nvSpPr>
        <p:spPr>
          <a:xfrm>
            <a:off x="610819" y="4063286"/>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6" name="Freeform: Shape 45">
            <a:extLst>
              <a:ext uri="{FF2B5EF4-FFF2-40B4-BE49-F238E27FC236}">
                <a16:creationId xmlns:a16="http://schemas.microsoft.com/office/drawing/2014/main" id="{95DB9A13-6461-4E39-B30D-87CE8B4FEE35}"/>
              </a:ext>
            </a:extLst>
          </p:cNvPr>
          <p:cNvSpPr/>
          <p:nvPr/>
        </p:nvSpPr>
        <p:spPr>
          <a:xfrm>
            <a:off x="610819" y="484387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7" name="Freeform: Shape 46">
            <a:extLst>
              <a:ext uri="{FF2B5EF4-FFF2-40B4-BE49-F238E27FC236}">
                <a16:creationId xmlns:a16="http://schemas.microsoft.com/office/drawing/2014/main" id="{9812DB3C-C4F5-4439-B986-20FD3469708D}"/>
              </a:ext>
            </a:extLst>
          </p:cNvPr>
          <p:cNvSpPr/>
          <p:nvPr/>
        </p:nvSpPr>
        <p:spPr>
          <a:xfrm>
            <a:off x="610819" y="5624464"/>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grpSp>
        <p:nvGrpSpPr>
          <p:cNvPr id="10" name="Group 9"/>
          <p:cNvGrpSpPr/>
          <p:nvPr/>
        </p:nvGrpSpPr>
        <p:grpSpPr>
          <a:xfrm>
            <a:off x="7722879" y="3341114"/>
            <a:ext cx="4271577" cy="1754840"/>
            <a:chOff x="7722879" y="3341114"/>
            <a:chExt cx="4271577" cy="1754840"/>
          </a:xfrm>
        </p:grpSpPr>
        <p:sp>
          <p:nvSpPr>
            <p:cNvPr id="1877" name="Google Shape;1877;p15"/>
            <p:cNvSpPr/>
            <p:nvPr/>
          </p:nvSpPr>
          <p:spPr>
            <a:xfrm>
              <a:off x="7722879" y="3341114"/>
              <a:ext cx="746253" cy="728066"/>
            </a:xfrm>
            <a:prstGeom prst="ellipse">
              <a:avLst/>
            </a:prstGeom>
            <a:solidFill>
              <a:schemeClr val="accent6">
                <a:alpha val="4705"/>
              </a:schemeClr>
            </a:solidFill>
            <a:ln w="12700" cap="flat" cmpd="sng">
              <a:solidFill>
                <a:schemeClr val="lt2"/>
              </a:solidFill>
              <a:prstDash val="solid"/>
              <a:miter lim="800000"/>
              <a:headEnd type="none" w="sm" len="sm"/>
              <a:tailEnd type="none" w="sm" len="sm"/>
            </a:ln>
          </p:spPr>
          <p:txBody>
            <a:bodyPr spcFirstLastPara="1" wrap="square" lIns="91450" tIns="45725" rIns="91450" bIns="45725" anchor="ctr" anchorCtr="0">
              <a:noAutofit/>
            </a:bodyPr>
            <a:lstStyle/>
            <a:p>
              <a:pPr marL="0" marR="0" lvl="0" indent="0" algn="l" rtl="0">
                <a:lnSpc>
                  <a:spcPct val="80000"/>
                </a:lnSpc>
                <a:spcBef>
                  <a:spcPts val="0"/>
                </a:spcBef>
                <a:spcAft>
                  <a:spcPts val="0"/>
                </a:spcAft>
                <a:buNone/>
              </a:pPr>
              <a:endParaRPr sz="1800" dirty="0">
                <a:solidFill>
                  <a:srgbClr val="39393B"/>
                </a:solidFill>
                <a:latin typeface="Calibri" panose="020F0502020204030204" pitchFamily="34" charset="0"/>
                <a:cs typeface="Calibri" panose="020F0502020204030204" pitchFamily="34" charset="0"/>
                <a:sym typeface="Arial"/>
              </a:endParaRPr>
            </a:p>
          </p:txBody>
        </p:sp>
        <p:cxnSp>
          <p:nvCxnSpPr>
            <p:cNvPr id="1880" name="Google Shape;1880;p15"/>
            <p:cNvCxnSpPr/>
            <p:nvPr/>
          </p:nvCxnSpPr>
          <p:spPr>
            <a:xfrm>
              <a:off x="8469132" y="3705147"/>
              <a:ext cx="285678" cy="0"/>
            </a:xfrm>
            <a:prstGeom prst="straightConnector1">
              <a:avLst/>
            </a:prstGeom>
            <a:solidFill>
              <a:schemeClr val="lt1"/>
            </a:solidFill>
            <a:ln w="12700" cap="rnd" cmpd="sng">
              <a:solidFill>
                <a:schemeClr val="accent1"/>
              </a:solidFill>
              <a:prstDash val="dash"/>
              <a:round/>
              <a:headEnd type="none" w="sm" len="sm"/>
              <a:tailEnd type="none" w="sm" len="sm"/>
            </a:ln>
          </p:spPr>
        </p:cxnSp>
        <p:pic>
          <p:nvPicPr>
            <p:cNvPr id="49" name="Picture 3" descr="Graphical user interface, application, email&#10;&#10;Description automatically generated"/>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8754810" y="3533725"/>
              <a:ext cx="3239646" cy="156222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1" name="Rounded Rectangle 21"/>
            <p:cNvSpPr/>
            <p:nvPr/>
          </p:nvSpPr>
          <p:spPr bwMode="auto">
            <a:xfrm>
              <a:off x="8877585" y="4198219"/>
              <a:ext cx="2982966" cy="721144"/>
            </a:xfrm>
            <a:prstGeom prst="rect">
              <a:avLst/>
            </a:prstGeom>
            <a:solidFill>
              <a:srgbClr val="D51067">
                <a:alpha val="5098"/>
              </a:srgbClr>
            </a:solidFill>
            <a:ln w="12700" algn="ctr">
              <a:solidFill>
                <a:schemeClr val="tx1"/>
              </a:solidFill>
              <a:miter lim="800000"/>
              <a:headEnd/>
              <a:tailEnd/>
            </a:ln>
            <a:effectLst/>
          </p:spPr>
          <p:txBody>
            <a:bodyPr rot="0" spcFirstLastPara="0" vertOverflow="overflow" horzOverflow="overflow" vert="horz" wrap="square" lIns="91464" tIns="45732" rIns="91464" bIns="45732"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1" dirty="0" err="1">
                <a:ln>
                  <a:solidFill>
                    <a:schemeClr val="tx1"/>
                  </a:solidFill>
                </a:ln>
                <a:latin typeface="Calibri" panose="020F0502020204030204" pitchFamily="34" charset="0"/>
                <a:cs typeface="Calibri" panose="020F0502020204030204" pitchFamily="34" charset="0"/>
              </a:endParaRPr>
            </a:p>
          </p:txBody>
        </p:sp>
      </p:grpSp>
      <p:grpSp>
        <p:nvGrpSpPr>
          <p:cNvPr id="11" name="Group 10"/>
          <p:cNvGrpSpPr/>
          <p:nvPr/>
        </p:nvGrpSpPr>
        <p:grpSpPr>
          <a:xfrm>
            <a:off x="8791779" y="2445758"/>
            <a:ext cx="2713397" cy="1696272"/>
            <a:chOff x="8791779" y="2445758"/>
            <a:chExt cx="2713397" cy="1696272"/>
          </a:xfrm>
        </p:grpSpPr>
        <p:sp>
          <p:nvSpPr>
            <p:cNvPr id="1878" name="Google Shape;1878;p15"/>
            <p:cNvSpPr/>
            <p:nvPr/>
          </p:nvSpPr>
          <p:spPr>
            <a:xfrm>
              <a:off x="8862112" y="2468164"/>
              <a:ext cx="2643064" cy="557977"/>
            </a:xfrm>
            <a:prstGeom prst="rect">
              <a:avLst/>
            </a:prstGeom>
            <a:noFill/>
            <a:ln>
              <a:noFill/>
            </a:ln>
          </p:spPr>
          <p:txBody>
            <a:bodyPr spcFirstLastPara="1" wrap="square" lIns="91450" tIns="45725" rIns="91450" bIns="45725" anchor="ctr" anchorCtr="0">
              <a:noAutofit/>
            </a:bodyPr>
            <a:lstStyle/>
            <a:p>
              <a:pPr marL="0" marR="0" lvl="0" indent="0" algn="l" rtl="0">
                <a:spcBef>
                  <a:spcPts val="0"/>
                </a:spcBef>
                <a:spcAft>
                  <a:spcPts val="0"/>
                </a:spcAft>
                <a:buNone/>
              </a:pPr>
              <a:r>
                <a:rPr lang="en-US" sz="1801" dirty="0">
                  <a:solidFill>
                    <a:schemeClr val="tx1"/>
                  </a:solidFill>
                  <a:latin typeface="+mj-lt"/>
                  <a:cs typeface="Calibri" panose="020F0502020204030204" pitchFamily="34" charset="0"/>
                  <a:sym typeface="Arial"/>
                </a:rPr>
                <a:t>Malware download</a:t>
              </a:r>
              <a:endParaRPr dirty="0">
                <a:solidFill>
                  <a:schemeClr val="tx1"/>
                </a:solidFill>
                <a:latin typeface="+mj-lt"/>
                <a:cs typeface="Calibri" panose="020F0502020204030204" pitchFamily="34" charset="0"/>
              </a:endParaRPr>
            </a:p>
            <a:p>
              <a:pPr marL="0" marR="0" lvl="0" indent="0" algn="l" rtl="0">
                <a:spcBef>
                  <a:spcPts val="0"/>
                </a:spcBef>
                <a:spcAft>
                  <a:spcPts val="0"/>
                </a:spcAft>
                <a:buNone/>
              </a:pPr>
              <a:r>
                <a:rPr lang="en-US" sz="1801" dirty="0">
                  <a:solidFill>
                    <a:schemeClr val="tx1"/>
                  </a:solidFill>
                  <a:latin typeface="+mj-lt"/>
                  <a:cs typeface="Calibri" panose="020F0502020204030204" pitchFamily="34" charset="0"/>
                  <a:sym typeface="Arial"/>
                </a:rPr>
                <a:t>blocked</a:t>
              </a:r>
              <a:endParaRPr dirty="0">
                <a:solidFill>
                  <a:schemeClr val="tx1"/>
                </a:solidFill>
                <a:latin typeface="+mj-lt"/>
                <a:cs typeface="Calibri" panose="020F0502020204030204" pitchFamily="34" charset="0"/>
              </a:endParaRPr>
            </a:p>
          </p:txBody>
        </p:sp>
        <p:cxnSp>
          <p:nvCxnSpPr>
            <p:cNvPr id="48" name="Google Shape;2135;p18">
              <a:extLst>
                <a:ext uri="{FF2B5EF4-FFF2-40B4-BE49-F238E27FC236}">
                  <a16:creationId xmlns:a16="http://schemas.microsoft.com/office/drawing/2014/main" id="{DA556AF3-B5A6-41C5-9A3C-1A7C5E71C9BC}"/>
                </a:ext>
              </a:extLst>
            </p:cNvPr>
            <p:cNvCxnSpPr>
              <a:cxnSpLocks/>
            </p:cNvCxnSpPr>
            <p:nvPr/>
          </p:nvCxnSpPr>
          <p:spPr>
            <a:xfrm>
              <a:off x="8791779" y="2445758"/>
              <a:ext cx="0" cy="576000"/>
            </a:xfrm>
            <a:prstGeom prst="straightConnector1">
              <a:avLst/>
            </a:prstGeom>
            <a:noFill/>
            <a:ln w="38100" cap="rnd" cmpd="sng">
              <a:solidFill>
                <a:schemeClr val="accent1"/>
              </a:solidFill>
              <a:prstDash val="solid"/>
              <a:round/>
              <a:headEnd type="none" w="sm" len="sm"/>
              <a:tailEnd type="none" w="sm" len="sm"/>
            </a:ln>
          </p:spPr>
        </p:cxnSp>
        <p:cxnSp>
          <p:nvCxnSpPr>
            <p:cNvPr id="54" name="Straight Arrow Connector 53">
              <a:extLst>
                <a:ext uri="{FF2B5EF4-FFF2-40B4-BE49-F238E27FC236}">
                  <a16:creationId xmlns:a16="http://schemas.microsoft.com/office/drawing/2014/main" id="{EAE44CB3-7D6F-4416-B7EB-AEFE613363C1}"/>
                </a:ext>
              </a:extLst>
            </p:cNvPr>
            <p:cNvCxnSpPr/>
            <p:nvPr/>
          </p:nvCxnSpPr>
          <p:spPr bwMode="auto">
            <a:xfrm>
              <a:off x="9046975" y="3268264"/>
              <a:ext cx="0" cy="873766"/>
            </a:xfrm>
            <a:prstGeom prst="straightConnector1">
              <a:avLst/>
            </a:prstGeom>
            <a:solidFill>
              <a:schemeClr val="bg1"/>
            </a:solidFill>
            <a:ln w="12700" cap="rnd" cmpd="sng" algn="ctr">
              <a:solidFill>
                <a:schemeClr val="accent1"/>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027" name="Picture 6" descr="Graphical user interface, text, application, email&#10;&#10;Description automatically generated"/>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4639061" y="5681541"/>
            <a:ext cx="1340507" cy="32702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8" name="Striped Right Arrow 7"/>
          <p:cNvSpPr/>
          <p:nvPr/>
        </p:nvSpPr>
        <p:spPr>
          <a:xfrm rot="5400000">
            <a:off x="4864272" y="5464652"/>
            <a:ext cx="209725" cy="203336"/>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Calibri" panose="020F0502020204030204" pitchFamily="34" charset="0"/>
            </a:endParaRPr>
          </a:p>
        </p:txBody>
      </p:sp>
      <p:grpSp>
        <p:nvGrpSpPr>
          <p:cNvPr id="9" name="Group 8"/>
          <p:cNvGrpSpPr/>
          <p:nvPr/>
        </p:nvGrpSpPr>
        <p:grpSpPr>
          <a:xfrm>
            <a:off x="8807252" y="5640494"/>
            <a:ext cx="2497242" cy="576000"/>
            <a:chOff x="8807252" y="5640494"/>
            <a:chExt cx="2497242" cy="576000"/>
          </a:xfrm>
        </p:grpSpPr>
        <p:sp>
          <p:nvSpPr>
            <p:cNvPr id="57" name="Google Shape;1878;p15"/>
            <p:cNvSpPr/>
            <p:nvPr/>
          </p:nvSpPr>
          <p:spPr>
            <a:xfrm>
              <a:off x="8877585" y="5662901"/>
              <a:ext cx="2426909" cy="553593"/>
            </a:xfrm>
            <a:prstGeom prst="rect">
              <a:avLst/>
            </a:prstGeom>
            <a:noFill/>
            <a:ln>
              <a:noFill/>
            </a:ln>
          </p:spPr>
          <p:txBody>
            <a:bodyPr spcFirstLastPara="1" wrap="square" lIns="91450" tIns="45725" rIns="91450" bIns="45725" anchor="ctr" anchorCtr="0">
              <a:noAutofit/>
            </a:bodyPr>
            <a:lstStyle/>
            <a:p>
              <a:pPr marL="0" marR="0" lvl="0" indent="0" algn="l" rtl="0">
                <a:spcBef>
                  <a:spcPts val="0"/>
                </a:spcBef>
                <a:spcAft>
                  <a:spcPts val="0"/>
                </a:spcAft>
                <a:buNone/>
              </a:pPr>
              <a:r>
                <a:rPr lang="en-US" sz="1801" dirty="0">
                  <a:solidFill>
                    <a:schemeClr val="tx1"/>
                  </a:solidFill>
                  <a:latin typeface="+mj-lt"/>
                  <a:cs typeface="Calibri" panose="020F0502020204030204" pitchFamily="34" charset="0"/>
                </a:rPr>
                <a:t>A sanitized file version is available</a:t>
              </a:r>
              <a:endParaRPr dirty="0">
                <a:solidFill>
                  <a:schemeClr val="tx1"/>
                </a:solidFill>
                <a:latin typeface="+mj-lt"/>
                <a:cs typeface="Calibri" panose="020F0502020204030204" pitchFamily="34" charset="0"/>
              </a:endParaRPr>
            </a:p>
          </p:txBody>
        </p:sp>
        <p:cxnSp>
          <p:nvCxnSpPr>
            <p:cNvPr id="58" name="Google Shape;2135;p18">
              <a:extLst>
                <a:ext uri="{FF2B5EF4-FFF2-40B4-BE49-F238E27FC236}">
                  <a16:creationId xmlns:a16="http://schemas.microsoft.com/office/drawing/2014/main" id="{DA556AF3-B5A6-41C5-9A3C-1A7C5E71C9BC}"/>
                </a:ext>
              </a:extLst>
            </p:cNvPr>
            <p:cNvCxnSpPr>
              <a:cxnSpLocks/>
            </p:cNvCxnSpPr>
            <p:nvPr/>
          </p:nvCxnSpPr>
          <p:spPr>
            <a:xfrm>
              <a:off x="8807252" y="5640494"/>
              <a:ext cx="0" cy="576000"/>
            </a:xfrm>
            <a:prstGeom prst="straightConnector1">
              <a:avLst/>
            </a:prstGeom>
            <a:noFill/>
            <a:ln w="38100" cap="rnd" cmpd="sng">
              <a:solidFill>
                <a:schemeClr val="accent1"/>
              </a:solidFill>
              <a:prstDash val="solid"/>
              <a:round/>
              <a:headEnd type="none" w="sm" len="sm"/>
              <a:tailEnd type="none" w="sm" len="sm"/>
            </a:ln>
          </p:spPr>
        </p:cxnSp>
      </p:grpSp>
      <p:grpSp>
        <p:nvGrpSpPr>
          <p:cNvPr id="12" name="Group 11"/>
          <p:cNvGrpSpPr/>
          <p:nvPr/>
        </p:nvGrpSpPr>
        <p:grpSpPr>
          <a:xfrm>
            <a:off x="10449777" y="160338"/>
            <a:ext cx="1410774" cy="1409827"/>
            <a:chOff x="9661178" y="-197972"/>
            <a:chExt cx="2383352" cy="2613615"/>
          </a:xfrm>
        </p:grpSpPr>
        <p:pic>
          <p:nvPicPr>
            <p:cNvPr id="41" name="Picture 40"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59" name="Group 58">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61"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62"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63"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0298" y="1008033"/>
            <a:ext cx="1750906" cy="731520"/>
          </a:xfrm>
          <a:prstGeom prst="rect">
            <a:avLst/>
          </a:prstGeom>
        </p:spPr>
      </p:pic>
    </p:spTree>
    <p:extLst>
      <p:ext uri="{BB962C8B-B14F-4D97-AF65-F5344CB8AC3E}">
        <p14:creationId xmlns:p14="http://schemas.microsoft.com/office/powerpoint/2010/main" val="3929609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027"/>
                                        </p:tgtEl>
                                        <p:attrNameLst>
                                          <p:attrName>style.visibility</p:attrName>
                                        </p:attrNameLst>
                                      </p:cBhvr>
                                      <p:to>
                                        <p:strVal val="visible"/>
                                      </p:to>
                                    </p:set>
                                    <p:animEffect transition="in" filter="fade">
                                      <p:cBhvr>
                                        <p:cTn id="13" dur="1000"/>
                                        <p:tgtEl>
                                          <p:spTgt spid="1027"/>
                                        </p:tgtEl>
                                      </p:cBhvr>
                                    </p:animEffect>
                                    <p:anim calcmode="lin" valueType="num">
                                      <p:cBhvr>
                                        <p:cTn id="14" dur="1000" fill="hold"/>
                                        <p:tgtEl>
                                          <p:spTgt spid="1027"/>
                                        </p:tgtEl>
                                        <p:attrNameLst>
                                          <p:attrName>ppt_x</p:attrName>
                                        </p:attrNameLst>
                                      </p:cBhvr>
                                      <p:tavLst>
                                        <p:tav tm="0">
                                          <p:val>
                                            <p:strVal val="#ppt_x"/>
                                          </p:val>
                                        </p:tav>
                                        <p:tav tm="100000">
                                          <p:val>
                                            <p:strVal val="#ppt_x"/>
                                          </p:val>
                                        </p:tav>
                                      </p:tavLst>
                                    </p:anim>
                                    <p:anim calcmode="lin" valueType="num">
                                      <p:cBhvr>
                                        <p:cTn id="15" dur="1000" fill="hold"/>
                                        <p:tgtEl>
                                          <p:spTgt spid="102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819"/>
        <p:cNvGrpSpPr/>
        <p:nvPr/>
      </p:nvGrpSpPr>
      <p:grpSpPr>
        <a:xfrm>
          <a:off x="0" y="0"/>
          <a:ext cx="0" cy="0"/>
          <a:chOff x="0" y="0"/>
          <a:chExt cx="0" cy="0"/>
        </a:xfrm>
      </p:grpSpPr>
      <p:sp>
        <p:nvSpPr>
          <p:cNvPr id="1825" name="Google Shape;1825;p15" descr="Pen, pendrive, usb Free Icon of Office Icons"/>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pic>
        <p:nvPicPr>
          <p:cNvPr id="1827" name="Google Shape;1827;p15" descr="A picture containing comb&#10;&#10;Description automatically generated"/>
          <p:cNvPicPr preferRelativeResize="0"/>
          <p:nvPr/>
        </p:nvPicPr>
        <p:blipFill rotWithShape="1">
          <a:blip r:embed="rId3">
            <a:alphaModFix amt="20000"/>
          </a:blip>
          <a:srcRect/>
          <a:stretch/>
        </p:blipFill>
        <p:spPr>
          <a:xfrm flipH="1">
            <a:off x="2737598" y="6961106"/>
            <a:ext cx="2690191" cy="1129261"/>
          </a:xfrm>
          <a:prstGeom prst="rect">
            <a:avLst/>
          </a:prstGeom>
          <a:noFill/>
          <a:ln>
            <a:noFill/>
          </a:ln>
        </p:spPr>
      </p:pic>
      <p:sp>
        <p:nvSpPr>
          <p:cNvPr id="137" name="Rectangle 136">
            <a:extLst>
              <a:ext uri="{FF2B5EF4-FFF2-40B4-BE49-F238E27FC236}">
                <a16:creationId xmlns:a16="http://schemas.microsoft.com/office/drawing/2014/main" id="{1BBF344B-96B8-4AED-B0EF-85F614807416}"/>
              </a:ext>
            </a:extLst>
          </p:cNvPr>
          <p:cNvSpPr/>
          <p:nvPr/>
        </p:nvSpPr>
        <p:spPr>
          <a:xfrm>
            <a:off x="1264714" y="4051755"/>
            <a:ext cx="2182043" cy="338554"/>
          </a:xfrm>
          <a:prstGeom prst="rect">
            <a:avLst/>
          </a:prstGeom>
        </p:spPr>
        <p:txBody>
          <a:bodyPr wrap="square">
            <a:spAutoFit/>
          </a:bodyPr>
          <a:lstStyle/>
          <a:p>
            <a:pPr>
              <a:spcBef>
                <a:spcPts val="0"/>
              </a:spcBef>
            </a:pPr>
            <a:r>
              <a:rPr lang="en-US" sz="1600" dirty="0">
                <a:solidFill>
                  <a:schemeClr val="tx1">
                    <a:lumMod val="60000"/>
                    <a:lumOff val="40000"/>
                  </a:schemeClr>
                </a:solidFill>
                <a:latin typeface="+mj-lt"/>
                <a:cs typeface="Calibri" panose="020F0502020204030204" pitchFamily="34" charset="0"/>
              </a:rPr>
              <a:t>File less attacks</a:t>
            </a:r>
          </a:p>
        </p:txBody>
      </p:sp>
      <p:sp>
        <p:nvSpPr>
          <p:cNvPr id="138" name="Rectangle 137">
            <a:extLst>
              <a:ext uri="{FF2B5EF4-FFF2-40B4-BE49-F238E27FC236}">
                <a16:creationId xmlns:a16="http://schemas.microsoft.com/office/drawing/2014/main" id="{BC4BBACE-F0E8-4EC8-9ABD-747D7391768A}"/>
              </a:ext>
            </a:extLst>
          </p:cNvPr>
          <p:cNvSpPr/>
          <p:nvPr/>
        </p:nvSpPr>
        <p:spPr>
          <a:xfrm>
            <a:off x="1264715" y="4832076"/>
            <a:ext cx="3287814"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files on USB</a:t>
            </a:r>
          </a:p>
        </p:txBody>
      </p:sp>
      <p:sp>
        <p:nvSpPr>
          <p:cNvPr id="139" name="Rectangle 138">
            <a:extLst>
              <a:ext uri="{FF2B5EF4-FFF2-40B4-BE49-F238E27FC236}">
                <a16:creationId xmlns:a16="http://schemas.microsoft.com/office/drawing/2014/main" id="{FE18702C-D66E-4A77-9021-7DBE0A5C9C58}"/>
              </a:ext>
            </a:extLst>
          </p:cNvPr>
          <p:cNvSpPr/>
          <p:nvPr/>
        </p:nvSpPr>
        <p:spPr>
          <a:xfrm>
            <a:off x="1264715" y="5612396"/>
            <a:ext cx="3590030"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mobile apps</a:t>
            </a:r>
          </a:p>
        </p:txBody>
      </p:sp>
      <p:sp>
        <p:nvSpPr>
          <p:cNvPr id="140" name="Rectangle 139">
            <a:extLst>
              <a:ext uri="{FF2B5EF4-FFF2-40B4-BE49-F238E27FC236}">
                <a16:creationId xmlns:a16="http://schemas.microsoft.com/office/drawing/2014/main" id="{91495ED8-2009-40F4-890B-31F3A08AF11E}"/>
              </a:ext>
            </a:extLst>
          </p:cNvPr>
          <p:cNvSpPr/>
          <p:nvPr/>
        </p:nvSpPr>
        <p:spPr>
          <a:xfrm>
            <a:off x="1264715" y="3271434"/>
            <a:ext cx="3813408" cy="338554"/>
          </a:xfrm>
          <a:prstGeom prst="rect">
            <a:avLst/>
          </a:prstGeom>
        </p:spPr>
        <p:txBody>
          <a:bodyPr wrap="square">
            <a:spAutoFit/>
          </a:bodyPr>
          <a:lstStyle/>
          <a:p>
            <a:r>
              <a:rPr lang="en-US" sz="1600" b="1" dirty="0">
                <a:solidFill>
                  <a:schemeClr val="accent6"/>
                </a:solidFill>
                <a:latin typeface="+mj-lt"/>
                <a:cs typeface="Calibri" panose="020F0502020204030204" pitchFamily="34" charset="0"/>
              </a:rPr>
              <a:t>Malicious email attachments</a:t>
            </a:r>
          </a:p>
        </p:txBody>
      </p:sp>
      <p:sp>
        <p:nvSpPr>
          <p:cNvPr id="141" name="Rectangle 140">
            <a:extLst>
              <a:ext uri="{FF2B5EF4-FFF2-40B4-BE49-F238E27FC236}">
                <a16:creationId xmlns:a16="http://schemas.microsoft.com/office/drawing/2014/main" id="{063BEF92-043B-4319-9CE6-7D3615D3A4A1}"/>
              </a:ext>
            </a:extLst>
          </p:cNvPr>
          <p:cNvSpPr/>
          <p:nvPr/>
        </p:nvSpPr>
        <p:spPr>
          <a:xfrm>
            <a:off x="1264715" y="2491113"/>
            <a:ext cx="3815541"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Web downloads and links</a:t>
            </a:r>
          </a:p>
        </p:txBody>
      </p:sp>
      <p:sp>
        <p:nvSpPr>
          <p:cNvPr id="42" name="Freeform: Shape 41">
            <a:extLst>
              <a:ext uri="{FF2B5EF4-FFF2-40B4-BE49-F238E27FC236}">
                <a16:creationId xmlns:a16="http://schemas.microsoft.com/office/drawing/2014/main" id="{975949E0-A847-4BD8-B4D0-0E89C5DE490A}"/>
              </a:ext>
            </a:extLst>
          </p:cNvPr>
          <p:cNvSpPr/>
          <p:nvPr/>
        </p:nvSpPr>
        <p:spPr>
          <a:xfrm>
            <a:off x="610819" y="2515671"/>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3" name="Freeform: Shape 42">
            <a:extLst>
              <a:ext uri="{FF2B5EF4-FFF2-40B4-BE49-F238E27FC236}">
                <a16:creationId xmlns:a16="http://schemas.microsoft.com/office/drawing/2014/main" id="{FBD0813F-9772-4B07-8FEE-340B20F6C943}"/>
              </a:ext>
            </a:extLst>
          </p:cNvPr>
          <p:cNvSpPr/>
          <p:nvPr/>
        </p:nvSpPr>
        <p:spPr>
          <a:xfrm>
            <a:off x="692030" y="2468164"/>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solidFill>
            <a:schemeClr val="tx1">
              <a:lumMod val="40000"/>
              <a:lumOff val="60000"/>
            </a:schemeClr>
          </a:soli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sp>
        <p:nvSpPr>
          <p:cNvPr id="45" name="Freeform: Shape 44">
            <a:extLst>
              <a:ext uri="{FF2B5EF4-FFF2-40B4-BE49-F238E27FC236}">
                <a16:creationId xmlns:a16="http://schemas.microsoft.com/office/drawing/2014/main" id="{2126DC14-BD64-4AC7-9383-B3779FC3062A}"/>
              </a:ext>
            </a:extLst>
          </p:cNvPr>
          <p:cNvSpPr/>
          <p:nvPr/>
        </p:nvSpPr>
        <p:spPr>
          <a:xfrm>
            <a:off x="610819" y="4063286"/>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6" name="Freeform: Shape 45">
            <a:extLst>
              <a:ext uri="{FF2B5EF4-FFF2-40B4-BE49-F238E27FC236}">
                <a16:creationId xmlns:a16="http://schemas.microsoft.com/office/drawing/2014/main" id="{95DB9A13-6461-4E39-B30D-87CE8B4FEE35}"/>
              </a:ext>
            </a:extLst>
          </p:cNvPr>
          <p:cNvSpPr/>
          <p:nvPr/>
        </p:nvSpPr>
        <p:spPr>
          <a:xfrm>
            <a:off x="610819" y="484387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47" name="Freeform: Shape 46">
            <a:extLst>
              <a:ext uri="{FF2B5EF4-FFF2-40B4-BE49-F238E27FC236}">
                <a16:creationId xmlns:a16="http://schemas.microsoft.com/office/drawing/2014/main" id="{9812DB3C-C4F5-4439-B986-20FD3469708D}"/>
              </a:ext>
            </a:extLst>
          </p:cNvPr>
          <p:cNvSpPr/>
          <p:nvPr/>
        </p:nvSpPr>
        <p:spPr>
          <a:xfrm>
            <a:off x="610819" y="5624464"/>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62" name="Freeform: Shape 61">
            <a:extLst>
              <a:ext uri="{FF2B5EF4-FFF2-40B4-BE49-F238E27FC236}">
                <a16:creationId xmlns:a16="http://schemas.microsoft.com/office/drawing/2014/main" id="{10CAB346-689A-429E-86E5-9FCA5FD8A651}"/>
              </a:ext>
            </a:extLst>
          </p:cNvPr>
          <p:cNvSpPr/>
          <p:nvPr/>
        </p:nvSpPr>
        <p:spPr>
          <a:xfrm>
            <a:off x="619568" y="32397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adFill>
            <a:gsLst>
              <a:gs pos="18000">
                <a:srgbClr val="43115A"/>
              </a:gs>
              <a:gs pos="0">
                <a:schemeClr val="accent6"/>
              </a:gs>
              <a:gs pos="680">
                <a:schemeClr val="accent6"/>
              </a:gs>
              <a:gs pos="100000">
                <a:schemeClr val="tx2"/>
              </a:gs>
            </a:gsLst>
            <a:lin ang="0" scaled="0"/>
          </a:gra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63" name="Freeform: Shape 62">
            <a:extLst>
              <a:ext uri="{FF2B5EF4-FFF2-40B4-BE49-F238E27FC236}">
                <a16:creationId xmlns:a16="http://schemas.microsoft.com/office/drawing/2014/main" id="{21FD6585-5BB5-441F-8CE0-9200863F7F90}"/>
              </a:ext>
            </a:extLst>
          </p:cNvPr>
          <p:cNvSpPr/>
          <p:nvPr/>
        </p:nvSpPr>
        <p:spPr>
          <a:xfrm>
            <a:off x="700779" y="31921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adFill>
            <a:gsLst>
              <a:gs pos="6000">
                <a:srgbClr val="43115A"/>
              </a:gs>
              <a:gs pos="0">
                <a:schemeClr val="accent6"/>
              </a:gs>
              <a:gs pos="680">
                <a:schemeClr val="accent6"/>
              </a:gs>
              <a:gs pos="100000">
                <a:schemeClr val="tx2"/>
              </a:gs>
            </a:gsLst>
            <a:lin ang="0" scaled="0"/>
          </a:gra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pic>
        <p:nvPicPr>
          <p:cNvPr id="64" name="Google Shape;1907;p16">
            <a:extLst>
              <a:ext uri="{FF2B5EF4-FFF2-40B4-BE49-F238E27FC236}">
                <a16:creationId xmlns:a16="http://schemas.microsoft.com/office/drawing/2014/main" id="{064A2393-92D1-4FA1-A6BF-C9FBEADEB76A}"/>
              </a:ext>
            </a:extLst>
          </p:cNvPr>
          <p:cNvPicPr preferRelativeResize="0"/>
          <p:nvPr/>
        </p:nvPicPr>
        <p:blipFill rotWithShape="1">
          <a:blip r:embed="rId4">
            <a:alphaModFix/>
          </a:blip>
          <a:srcRect/>
          <a:stretch/>
        </p:blipFill>
        <p:spPr>
          <a:xfrm>
            <a:off x="3113896" y="1565803"/>
            <a:ext cx="9160261" cy="5496156"/>
          </a:xfrm>
          <a:prstGeom prst="rect">
            <a:avLst/>
          </a:prstGeom>
          <a:noFill/>
          <a:ln>
            <a:noFill/>
          </a:ln>
        </p:spPr>
      </p:pic>
      <p:sp>
        <p:nvSpPr>
          <p:cNvPr id="66" name="Google Shape;1961;p16">
            <a:extLst>
              <a:ext uri="{FF2B5EF4-FFF2-40B4-BE49-F238E27FC236}">
                <a16:creationId xmlns:a16="http://schemas.microsoft.com/office/drawing/2014/main" id="{78D8BEF0-2D7D-4D8D-820B-F34CAB2C7E94}"/>
              </a:ext>
            </a:extLst>
          </p:cNvPr>
          <p:cNvSpPr/>
          <p:nvPr/>
        </p:nvSpPr>
        <p:spPr>
          <a:xfrm flipH="1">
            <a:off x="5673429" y="1789493"/>
            <a:ext cx="298724" cy="292194"/>
          </a:xfrm>
          <a:custGeom>
            <a:avLst/>
            <a:gdLst/>
            <a:ahLst/>
            <a:cxnLst/>
            <a:rect l="l" t="t" r="r" b="b"/>
            <a:pathLst>
              <a:path w="603250" h="603250" extrusionOk="0">
                <a:moveTo>
                  <a:pt x="0" y="0"/>
                </a:moveTo>
                <a:cubicBezTo>
                  <a:pt x="333166" y="0"/>
                  <a:pt x="603250" y="270084"/>
                  <a:pt x="603250" y="603250"/>
                </a:cubicBezTo>
              </a:path>
            </a:pathLst>
          </a:custGeom>
          <a:noFill/>
          <a:ln w="19050" cap="flat" cmpd="sng">
            <a:solidFill>
              <a:schemeClr val="lt1"/>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078123" y="2555588"/>
            <a:ext cx="5307568" cy="3378154"/>
          </a:xfrm>
          <a:prstGeom prst="rect">
            <a:avLst/>
          </a:prstGeom>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10250" y="1825216"/>
            <a:ext cx="4183716" cy="3956457"/>
          </a:xfrm>
          <a:prstGeom prst="rect">
            <a:avLst/>
          </a:prstGeom>
          <a:ln>
            <a:solidFill>
              <a:schemeClr val="tx2"/>
            </a:solidFill>
          </a:ln>
          <a:effectLst>
            <a:outerShdw blurRad="50800" dist="38100" dir="2700000" algn="tl" rotWithShape="0">
              <a:prstClr val="black">
                <a:alpha val="40000"/>
              </a:prstClr>
            </a:outerShdw>
          </a:effectLst>
        </p:spPr>
      </p:pic>
      <p:sp>
        <p:nvSpPr>
          <p:cNvPr id="44" name="Rounded Rectangle 21"/>
          <p:cNvSpPr/>
          <p:nvPr/>
        </p:nvSpPr>
        <p:spPr bwMode="auto">
          <a:xfrm>
            <a:off x="7407855" y="3532302"/>
            <a:ext cx="3354134" cy="227700"/>
          </a:xfrm>
          <a:prstGeom prst="rect">
            <a:avLst/>
          </a:prstGeom>
          <a:solidFill>
            <a:srgbClr val="D51067">
              <a:alpha val="5098"/>
            </a:srgbClr>
          </a:solidFill>
          <a:ln w="12700" algn="ctr">
            <a:solidFill>
              <a:schemeClr val="tx1"/>
            </a:solidFill>
            <a:miter lim="800000"/>
            <a:headEnd/>
            <a:tailEnd/>
          </a:ln>
          <a:effectLst/>
        </p:spPr>
        <p:txBody>
          <a:bodyPr rot="0" spcFirstLastPara="0" vertOverflow="overflow" horzOverflow="overflow" vert="horz" wrap="square" lIns="91464" tIns="45732" rIns="91464" bIns="45732"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2401" dirty="0" err="1">
              <a:ln>
                <a:solidFill>
                  <a:schemeClr val="tx1"/>
                </a:solidFill>
              </a:ln>
              <a:latin typeface="Calibri" panose="020F0502020204030204" pitchFamily="34" charset="0"/>
              <a:cs typeface="Calibri" panose="020F0502020204030204" pitchFamily="34" charset="0"/>
            </a:endParaRPr>
          </a:p>
        </p:txBody>
      </p:sp>
      <p:grpSp>
        <p:nvGrpSpPr>
          <p:cNvPr id="26" name="Group 25"/>
          <p:cNvGrpSpPr/>
          <p:nvPr/>
        </p:nvGrpSpPr>
        <p:grpSpPr>
          <a:xfrm>
            <a:off x="10449777" y="160338"/>
            <a:ext cx="1410774" cy="1409827"/>
            <a:chOff x="9661178" y="-197972"/>
            <a:chExt cx="2383352" cy="2613615"/>
          </a:xfrm>
        </p:grpSpPr>
        <p:pic>
          <p:nvPicPr>
            <p:cNvPr id="27" name="Picture 26"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29" name="Group 28">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31"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32"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33"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2150" y="998249"/>
            <a:ext cx="1750908" cy="731520"/>
          </a:xfrm>
          <a:prstGeom prst="rect">
            <a:avLst/>
          </a:prstGeom>
        </p:spPr>
      </p:pic>
      <p:sp>
        <p:nvSpPr>
          <p:cNvPr id="35" name="Google Shape;1824;p15"/>
          <p:cNvSpPr txBox="1">
            <a:spLocks noGrp="1"/>
          </p:cNvSpPr>
          <p:nvPr>
            <p:ph type="title"/>
          </p:nvPr>
        </p:nvSpPr>
        <p:spPr>
          <a:xfrm>
            <a:off x="583842" y="460552"/>
            <a:ext cx="11022371" cy="914400"/>
          </a:xfrm>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MALWARE PROTECTION</a:t>
            </a:r>
            <a:endParaRPr lang="en-US" sz="3200" b="1" dirty="0">
              <a:latin typeface="+mj-lt"/>
            </a:endParaRPr>
          </a:p>
        </p:txBody>
      </p:sp>
    </p:spTree>
    <p:extLst>
      <p:ext uri="{BB962C8B-B14F-4D97-AF65-F5344CB8AC3E}">
        <p14:creationId xmlns:p14="http://schemas.microsoft.com/office/powerpoint/2010/main" val="42862809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991"/>
        <p:cNvGrpSpPr/>
        <p:nvPr/>
      </p:nvGrpSpPr>
      <p:grpSpPr>
        <a:xfrm>
          <a:off x="0" y="0"/>
          <a:ext cx="0" cy="0"/>
          <a:chOff x="0" y="0"/>
          <a:chExt cx="0" cy="0"/>
        </a:xfrm>
      </p:grpSpPr>
      <p:grpSp>
        <p:nvGrpSpPr>
          <p:cNvPr id="100" name="Group 99">
            <a:extLst>
              <a:ext uri="{FF2B5EF4-FFF2-40B4-BE49-F238E27FC236}">
                <a16:creationId xmlns:a16="http://schemas.microsoft.com/office/drawing/2014/main" id="{B03593A8-D242-471D-8E6E-B2CC2415C63B}"/>
              </a:ext>
            </a:extLst>
          </p:cNvPr>
          <p:cNvGrpSpPr/>
          <p:nvPr/>
        </p:nvGrpSpPr>
        <p:grpSpPr>
          <a:xfrm>
            <a:off x="619568" y="4796368"/>
            <a:ext cx="409095" cy="410265"/>
            <a:chOff x="771968" y="3344598"/>
            <a:chExt cx="409095" cy="410265"/>
          </a:xfrm>
        </p:grpSpPr>
        <p:sp>
          <p:nvSpPr>
            <p:cNvPr id="101" name="Freeform: Shape 100">
              <a:extLst>
                <a:ext uri="{FF2B5EF4-FFF2-40B4-BE49-F238E27FC236}">
                  <a16:creationId xmlns:a16="http://schemas.microsoft.com/office/drawing/2014/main" id="{9B1571C5-83DB-44D6-983A-A242C94A1A4D}"/>
                </a:ext>
              </a:extLst>
            </p:cNvPr>
            <p:cNvSpPr/>
            <p:nvPr/>
          </p:nvSpPr>
          <p:spPr>
            <a:xfrm>
              <a:off x="771968" y="33921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adFill>
              <a:gsLst>
                <a:gs pos="18000">
                  <a:srgbClr val="43115A"/>
                </a:gs>
                <a:gs pos="0">
                  <a:schemeClr val="accent6"/>
                </a:gs>
                <a:gs pos="680">
                  <a:schemeClr val="accent6"/>
                </a:gs>
                <a:gs pos="100000">
                  <a:schemeClr val="tx2"/>
                </a:gs>
              </a:gsLst>
              <a:lin ang="0" scaled="0"/>
            </a:gradFill>
            <a:ln w="9525" cap="flat">
              <a:noFill/>
              <a:prstDash val="solid"/>
              <a:miter/>
            </a:ln>
          </p:spPr>
          <p:txBody>
            <a:bodyPr rtlCol="0" anchor="ctr"/>
            <a:lstStyle/>
            <a:p>
              <a:endParaRPr lang="en-US" sz="1600" dirty="0">
                <a:latin typeface="+mj-lt"/>
                <a:cs typeface="Calibri" panose="020F0502020204030204" pitchFamily="34" charset="0"/>
              </a:endParaRPr>
            </a:p>
          </p:txBody>
        </p:sp>
        <p:sp>
          <p:nvSpPr>
            <p:cNvPr id="102" name="Freeform: Shape 101">
              <a:extLst>
                <a:ext uri="{FF2B5EF4-FFF2-40B4-BE49-F238E27FC236}">
                  <a16:creationId xmlns:a16="http://schemas.microsoft.com/office/drawing/2014/main" id="{7CC0D1E3-71AA-406C-8B73-BB0F197C7C36}"/>
                </a:ext>
              </a:extLst>
            </p:cNvPr>
            <p:cNvSpPr/>
            <p:nvPr/>
          </p:nvSpPr>
          <p:spPr>
            <a:xfrm>
              <a:off x="853179" y="33445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adFill>
              <a:gsLst>
                <a:gs pos="6000">
                  <a:srgbClr val="43115A"/>
                </a:gs>
                <a:gs pos="0">
                  <a:schemeClr val="accent6"/>
                </a:gs>
                <a:gs pos="680">
                  <a:schemeClr val="accent6"/>
                </a:gs>
                <a:gs pos="100000">
                  <a:schemeClr val="tx2"/>
                </a:gs>
              </a:gsLst>
              <a:lin ang="0" scaled="0"/>
            </a:gradFill>
            <a:ln w="12700" cap="flat">
              <a:solidFill>
                <a:schemeClr val="bg1"/>
              </a:solidFill>
              <a:prstDash val="solid"/>
              <a:miter/>
            </a:ln>
          </p:spPr>
          <p:txBody>
            <a:bodyPr rtlCol="0" anchor="ctr"/>
            <a:lstStyle/>
            <a:p>
              <a:endParaRPr lang="en-US" sz="1600" dirty="0">
                <a:latin typeface="+mj-lt"/>
                <a:cs typeface="Calibri" panose="020F0502020204030204" pitchFamily="34" charset="0"/>
              </a:endParaRPr>
            </a:p>
          </p:txBody>
        </p:sp>
      </p:grpSp>
      <p:grpSp>
        <p:nvGrpSpPr>
          <p:cNvPr id="2" name="Group 1">
            <a:extLst>
              <a:ext uri="{FF2B5EF4-FFF2-40B4-BE49-F238E27FC236}">
                <a16:creationId xmlns:a16="http://schemas.microsoft.com/office/drawing/2014/main" id="{5F68DEBD-E30B-41D3-8F38-6CE3BA5DC184}"/>
              </a:ext>
            </a:extLst>
          </p:cNvPr>
          <p:cNvGrpSpPr/>
          <p:nvPr/>
        </p:nvGrpSpPr>
        <p:grpSpPr>
          <a:xfrm>
            <a:off x="601602" y="4014855"/>
            <a:ext cx="409095" cy="410265"/>
            <a:chOff x="771968" y="3344598"/>
            <a:chExt cx="409095" cy="410265"/>
          </a:xfrm>
        </p:grpSpPr>
        <p:sp>
          <p:nvSpPr>
            <p:cNvPr id="97" name="Freeform: Shape 96">
              <a:extLst>
                <a:ext uri="{FF2B5EF4-FFF2-40B4-BE49-F238E27FC236}">
                  <a16:creationId xmlns:a16="http://schemas.microsoft.com/office/drawing/2014/main" id="{9772B0F4-22F2-4ED7-8683-5D4CAE2681E2}"/>
                </a:ext>
              </a:extLst>
            </p:cNvPr>
            <p:cNvSpPr/>
            <p:nvPr/>
          </p:nvSpPr>
          <p:spPr>
            <a:xfrm>
              <a:off x="771968" y="33921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adFill>
              <a:gsLst>
                <a:gs pos="18000">
                  <a:srgbClr val="43115A"/>
                </a:gs>
                <a:gs pos="0">
                  <a:schemeClr val="accent6"/>
                </a:gs>
                <a:gs pos="680">
                  <a:schemeClr val="accent6"/>
                </a:gs>
                <a:gs pos="100000">
                  <a:schemeClr val="tx2"/>
                </a:gs>
              </a:gsLst>
              <a:lin ang="0" scaled="0"/>
            </a:gradFill>
            <a:ln w="9525" cap="flat">
              <a:noFill/>
              <a:prstDash val="solid"/>
              <a:miter/>
            </a:ln>
          </p:spPr>
          <p:txBody>
            <a:bodyPr rtlCol="0" anchor="ctr"/>
            <a:lstStyle/>
            <a:p>
              <a:endParaRPr lang="en-US" sz="1600" dirty="0">
                <a:latin typeface="+mj-lt"/>
                <a:cs typeface="Calibri" panose="020F0502020204030204" pitchFamily="34" charset="0"/>
              </a:endParaRPr>
            </a:p>
          </p:txBody>
        </p:sp>
        <p:sp>
          <p:nvSpPr>
            <p:cNvPr id="98" name="Freeform: Shape 97">
              <a:extLst>
                <a:ext uri="{FF2B5EF4-FFF2-40B4-BE49-F238E27FC236}">
                  <a16:creationId xmlns:a16="http://schemas.microsoft.com/office/drawing/2014/main" id="{15D34416-3229-4AB0-8FBE-544B777F147E}"/>
                </a:ext>
              </a:extLst>
            </p:cNvPr>
            <p:cNvSpPr/>
            <p:nvPr/>
          </p:nvSpPr>
          <p:spPr>
            <a:xfrm>
              <a:off x="853179" y="33445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adFill>
              <a:gsLst>
                <a:gs pos="6000">
                  <a:srgbClr val="43115A"/>
                </a:gs>
                <a:gs pos="0">
                  <a:schemeClr val="accent6"/>
                </a:gs>
                <a:gs pos="680">
                  <a:schemeClr val="accent6"/>
                </a:gs>
                <a:gs pos="100000">
                  <a:schemeClr val="tx2"/>
                </a:gs>
              </a:gsLst>
              <a:lin ang="0" scaled="0"/>
            </a:gradFill>
            <a:ln w="12700" cap="flat">
              <a:solidFill>
                <a:schemeClr val="bg1"/>
              </a:solidFill>
              <a:prstDash val="solid"/>
              <a:miter/>
            </a:ln>
          </p:spPr>
          <p:txBody>
            <a:bodyPr rtlCol="0" anchor="ctr"/>
            <a:lstStyle/>
            <a:p>
              <a:endParaRPr lang="en-US" sz="1600" dirty="0">
                <a:latin typeface="+mj-lt"/>
                <a:cs typeface="Calibri" panose="020F0502020204030204" pitchFamily="34" charset="0"/>
              </a:endParaRPr>
            </a:p>
          </p:txBody>
        </p:sp>
      </p:grpSp>
      <p:sp>
        <p:nvSpPr>
          <p:cNvPr id="1994" name="Google Shape;1994;p17" descr="Pen, pendrive, usb Free Icon of Office Icons"/>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pic>
        <p:nvPicPr>
          <p:cNvPr id="2047" name="Google Shape;2047;p17"/>
          <p:cNvPicPr preferRelativeResize="0"/>
          <p:nvPr/>
        </p:nvPicPr>
        <p:blipFill rotWithShape="1">
          <a:blip r:embed="rId3">
            <a:alphaModFix/>
          </a:blip>
          <a:srcRect/>
          <a:stretch/>
        </p:blipFill>
        <p:spPr>
          <a:xfrm>
            <a:off x="4854745" y="2248412"/>
            <a:ext cx="7463177" cy="4475947"/>
          </a:xfrm>
          <a:custGeom>
            <a:avLst/>
            <a:gdLst/>
            <a:ahLst/>
            <a:cxnLst/>
            <a:rect l="l" t="t" r="r" b="b"/>
            <a:pathLst>
              <a:path w="6435172" h="3859414" extrusionOk="0">
                <a:moveTo>
                  <a:pt x="887588" y="296702"/>
                </a:moveTo>
                <a:lnTo>
                  <a:pt x="887588" y="3090952"/>
                </a:lnTo>
                <a:lnTo>
                  <a:pt x="5551351" y="3090952"/>
                </a:lnTo>
                <a:lnTo>
                  <a:pt x="5551351" y="296702"/>
                </a:lnTo>
                <a:close/>
                <a:moveTo>
                  <a:pt x="0" y="0"/>
                </a:moveTo>
                <a:lnTo>
                  <a:pt x="6435172" y="0"/>
                </a:lnTo>
                <a:lnTo>
                  <a:pt x="6435172" y="3859414"/>
                </a:lnTo>
                <a:lnTo>
                  <a:pt x="0" y="3859414"/>
                </a:lnTo>
                <a:close/>
              </a:path>
            </a:pathLst>
          </a:custGeom>
          <a:noFill/>
          <a:ln>
            <a:noFill/>
          </a:ln>
        </p:spPr>
      </p:pic>
      <p:pic>
        <p:nvPicPr>
          <p:cNvPr id="2048" name="Google Shape;2048;p17"/>
          <p:cNvPicPr preferRelativeResize="0"/>
          <p:nvPr/>
        </p:nvPicPr>
        <p:blipFill rotWithShape="1">
          <a:blip r:embed="rId4">
            <a:alphaModFix/>
          </a:blip>
          <a:srcRect/>
          <a:stretch/>
        </p:blipFill>
        <p:spPr>
          <a:xfrm>
            <a:off x="5846639" y="2578806"/>
            <a:ext cx="5479388" cy="3282303"/>
          </a:xfrm>
          <a:prstGeom prst="rect">
            <a:avLst/>
          </a:prstGeom>
          <a:noFill/>
          <a:ln>
            <a:noFill/>
          </a:ln>
        </p:spPr>
      </p:pic>
      <p:pic>
        <p:nvPicPr>
          <p:cNvPr id="2049" name="Google Shape;2049;p17"/>
          <p:cNvPicPr preferRelativeResize="0"/>
          <p:nvPr/>
        </p:nvPicPr>
        <p:blipFill rotWithShape="1">
          <a:blip r:embed="rId5">
            <a:alphaModFix/>
          </a:blip>
          <a:srcRect/>
          <a:stretch/>
        </p:blipFill>
        <p:spPr>
          <a:xfrm>
            <a:off x="6052265" y="2690098"/>
            <a:ext cx="2985010" cy="2175641"/>
          </a:xfrm>
          <a:prstGeom prst="rect">
            <a:avLst/>
          </a:prstGeom>
          <a:noFill/>
          <a:ln>
            <a:noFill/>
          </a:ln>
        </p:spPr>
      </p:pic>
      <p:pic>
        <p:nvPicPr>
          <p:cNvPr id="2050" name="Google Shape;2050;p17"/>
          <p:cNvPicPr preferRelativeResize="0"/>
          <p:nvPr/>
        </p:nvPicPr>
        <p:blipFill rotWithShape="1">
          <a:blip r:embed="rId6">
            <a:alphaModFix/>
          </a:blip>
          <a:srcRect/>
          <a:stretch/>
        </p:blipFill>
        <p:spPr>
          <a:xfrm>
            <a:off x="8690596" y="3528615"/>
            <a:ext cx="2351376" cy="1931746"/>
          </a:xfrm>
          <a:prstGeom prst="rect">
            <a:avLst/>
          </a:prstGeom>
          <a:noFill/>
          <a:ln>
            <a:noFill/>
          </a:ln>
        </p:spPr>
      </p:pic>
      <p:sp>
        <p:nvSpPr>
          <p:cNvPr id="2051" name="Google Shape;2051;p17"/>
          <p:cNvSpPr/>
          <p:nvPr/>
        </p:nvSpPr>
        <p:spPr>
          <a:xfrm>
            <a:off x="6377393" y="1597575"/>
            <a:ext cx="4149941" cy="785384"/>
          </a:xfrm>
          <a:prstGeom prst="rect">
            <a:avLst/>
          </a:prstGeom>
          <a:noFill/>
          <a:ln>
            <a:noFill/>
          </a:ln>
        </p:spPr>
        <p:txBody>
          <a:bodyPr spcFirstLastPara="1" wrap="square" lIns="0" tIns="0" rIns="0" bIns="0" anchor="ctr" anchorCtr="0">
            <a:noAutofit/>
          </a:bodyPr>
          <a:lstStyle/>
          <a:p>
            <a:pPr marL="0" marR="0" lvl="0" indent="0" rtl="0">
              <a:lnSpc>
                <a:spcPct val="80000"/>
              </a:lnSpc>
              <a:spcBef>
                <a:spcPts val="0"/>
              </a:spcBef>
              <a:spcAft>
                <a:spcPts val="0"/>
              </a:spcAft>
              <a:buNone/>
            </a:pPr>
            <a:r>
              <a:rPr lang="en-US" sz="1600" dirty="0">
                <a:solidFill>
                  <a:schemeClr val="tx1"/>
                </a:solidFill>
                <a:latin typeface="+mj-lt"/>
                <a:ea typeface="Calibri"/>
                <a:cs typeface="Calibri" panose="020F0502020204030204" pitchFamily="34" charset="0"/>
                <a:sym typeface="Calibri"/>
              </a:rPr>
              <a:t>Automated recovery </a:t>
            </a:r>
            <a:endParaRPr lang="en-US" dirty="0">
              <a:solidFill>
                <a:schemeClr val="tx1"/>
              </a:solidFill>
              <a:latin typeface="+mj-lt"/>
              <a:cs typeface="Calibri" panose="020F0502020204030204" pitchFamily="34" charset="0"/>
            </a:endParaRPr>
          </a:p>
          <a:p>
            <a:pPr marL="0" marR="0" lvl="0" indent="0" rtl="0">
              <a:lnSpc>
                <a:spcPct val="80000"/>
              </a:lnSpc>
              <a:spcBef>
                <a:spcPts val="0"/>
              </a:spcBef>
              <a:spcAft>
                <a:spcPts val="0"/>
              </a:spcAft>
              <a:buNone/>
            </a:pPr>
            <a:r>
              <a:rPr lang="en-US" sz="1600" dirty="0">
                <a:solidFill>
                  <a:schemeClr val="tx1"/>
                </a:solidFill>
                <a:latin typeface="+mj-lt"/>
                <a:ea typeface="Calibri"/>
                <a:cs typeface="Calibri" panose="020F0502020204030204" pitchFamily="34" charset="0"/>
                <a:sym typeface="Calibri"/>
              </a:rPr>
              <a:t>Safely restores ransomware-encrypted files</a:t>
            </a:r>
            <a:endParaRPr dirty="0">
              <a:solidFill>
                <a:schemeClr val="tx1"/>
              </a:solidFill>
              <a:latin typeface="+mj-lt"/>
              <a:cs typeface="Calibri" panose="020F0502020204030204" pitchFamily="34" charset="0"/>
            </a:endParaRPr>
          </a:p>
        </p:txBody>
      </p:sp>
      <p:sp>
        <p:nvSpPr>
          <p:cNvPr id="2052" name="Google Shape;2052;p17"/>
          <p:cNvSpPr/>
          <p:nvPr/>
        </p:nvSpPr>
        <p:spPr>
          <a:xfrm flipH="1">
            <a:off x="4215862" y="3769075"/>
            <a:ext cx="1172925" cy="785384"/>
          </a:xfrm>
          <a:prstGeom prst="rect">
            <a:avLst/>
          </a:prstGeom>
          <a:noFill/>
          <a:ln>
            <a:noFill/>
          </a:ln>
        </p:spPr>
        <p:txBody>
          <a:bodyPr spcFirstLastPara="1" wrap="square" lIns="0" tIns="0" rIns="0" bIns="0" anchor="ctr" anchorCtr="0">
            <a:noAutofit/>
          </a:bodyPr>
          <a:lstStyle/>
          <a:p>
            <a:pPr marL="0" marR="0" lvl="0" indent="0" algn="r" rtl="0">
              <a:lnSpc>
                <a:spcPct val="80000"/>
              </a:lnSpc>
              <a:spcBef>
                <a:spcPts val="0"/>
              </a:spcBef>
              <a:spcAft>
                <a:spcPts val="0"/>
              </a:spcAft>
              <a:buNone/>
            </a:pPr>
            <a:r>
              <a:rPr lang="en-US" sz="1600" dirty="0">
                <a:solidFill>
                  <a:schemeClr val="tx1"/>
                </a:solidFill>
                <a:latin typeface="+mj-lt"/>
                <a:cs typeface="Calibri" panose="020F0502020204030204" pitchFamily="34" charset="0"/>
                <a:sym typeface="Calibri"/>
              </a:rPr>
              <a:t>On-device runtime protection  </a:t>
            </a:r>
            <a:endParaRPr sz="1600" dirty="0">
              <a:solidFill>
                <a:schemeClr val="tx1"/>
              </a:solidFill>
              <a:latin typeface="+mj-lt"/>
              <a:cs typeface="Calibri" panose="020F0502020204030204" pitchFamily="34" charset="0"/>
              <a:sym typeface="Calibri"/>
            </a:endParaRPr>
          </a:p>
        </p:txBody>
      </p:sp>
      <p:sp>
        <p:nvSpPr>
          <p:cNvPr id="85" name="Rectangle 84">
            <a:extLst>
              <a:ext uri="{FF2B5EF4-FFF2-40B4-BE49-F238E27FC236}">
                <a16:creationId xmlns:a16="http://schemas.microsoft.com/office/drawing/2014/main" id="{57991002-6227-4E9D-A8F8-05F1B4A74039}"/>
              </a:ext>
            </a:extLst>
          </p:cNvPr>
          <p:cNvSpPr/>
          <p:nvPr/>
        </p:nvSpPr>
        <p:spPr>
          <a:xfrm>
            <a:off x="1264714" y="4051755"/>
            <a:ext cx="2182043" cy="369332"/>
          </a:xfrm>
          <a:prstGeom prst="rect">
            <a:avLst/>
          </a:prstGeom>
        </p:spPr>
        <p:txBody>
          <a:bodyPr wrap="square">
            <a:spAutoFit/>
          </a:bodyPr>
          <a:lstStyle/>
          <a:p>
            <a:pPr>
              <a:spcBef>
                <a:spcPts val="0"/>
              </a:spcBef>
            </a:pPr>
            <a:r>
              <a:rPr lang="en-US" sz="1800" b="1" dirty="0">
                <a:solidFill>
                  <a:schemeClr val="accent6"/>
                </a:solidFill>
                <a:latin typeface="+mj-lt"/>
                <a:cs typeface="Calibri" panose="020F0502020204030204" pitchFamily="34" charset="0"/>
              </a:rPr>
              <a:t>File less attacks</a:t>
            </a:r>
          </a:p>
        </p:txBody>
      </p:sp>
      <p:sp>
        <p:nvSpPr>
          <p:cNvPr id="86" name="Rectangle 85">
            <a:extLst>
              <a:ext uri="{FF2B5EF4-FFF2-40B4-BE49-F238E27FC236}">
                <a16:creationId xmlns:a16="http://schemas.microsoft.com/office/drawing/2014/main" id="{20CA996B-106C-44A8-A5E0-742041B785E4}"/>
              </a:ext>
            </a:extLst>
          </p:cNvPr>
          <p:cNvSpPr/>
          <p:nvPr/>
        </p:nvSpPr>
        <p:spPr>
          <a:xfrm>
            <a:off x="1264715" y="4832076"/>
            <a:ext cx="3287814" cy="369332"/>
          </a:xfrm>
          <a:prstGeom prst="rect">
            <a:avLst/>
          </a:prstGeom>
        </p:spPr>
        <p:txBody>
          <a:bodyPr wrap="square">
            <a:spAutoFit/>
          </a:bodyPr>
          <a:lstStyle/>
          <a:p>
            <a:r>
              <a:rPr lang="en-US" sz="1800" b="1" dirty="0">
                <a:solidFill>
                  <a:schemeClr val="accent6"/>
                </a:solidFill>
                <a:latin typeface="+mj-lt"/>
                <a:cs typeface="Calibri" panose="020F0502020204030204" pitchFamily="34" charset="0"/>
              </a:rPr>
              <a:t>Malicious files on USB</a:t>
            </a:r>
          </a:p>
        </p:txBody>
      </p:sp>
      <p:sp>
        <p:nvSpPr>
          <p:cNvPr id="87" name="Rectangle 86">
            <a:extLst>
              <a:ext uri="{FF2B5EF4-FFF2-40B4-BE49-F238E27FC236}">
                <a16:creationId xmlns:a16="http://schemas.microsoft.com/office/drawing/2014/main" id="{4798E4EB-766B-407B-9B01-DA3E155D0BDF}"/>
              </a:ext>
            </a:extLst>
          </p:cNvPr>
          <p:cNvSpPr/>
          <p:nvPr/>
        </p:nvSpPr>
        <p:spPr>
          <a:xfrm>
            <a:off x="1264715" y="5612396"/>
            <a:ext cx="3590030" cy="369332"/>
          </a:xfrm>
          <a:prstGeom prst="rect">
            <a:avLst/>
          </a:prstGeom>
        </p:spPr>
        <p:txBody>
          <a:bodyPr wrap="square">
            <a:spAutoFit/>
          </a:bodyPr>
          <a:lstStyle/>
          <a:p>
            <a:r>
              <a:rPr lang="en-US" sz="1800" dirty="0">
                <a:solidFill>
                  <a:schemeClr val="tx1">
                    <a:lumMod val="60000"/>
                    <a:lumOff val="40000"/>
                  </a:schemeClr>
                </a:solidFill>
                <a:latin typeface="+mj-lt"/>
                <a:cs typeface="Calibri" panose="020F0502020204030204" pitchFamily="34" charset="0"/>
              </a:rPr>
              <a:t>Malicious mobile apps</a:t>
            </a:r>
          </a:p>
        </p:txBody>
      </p:sp>
      <p:sp>
        <p:nvSpPr>
          <p:cNvPr id="88" name="Rectangle 87">
            <a:extLst>
              <a:ext uri="{FF2B5EF4-FFF2-40B4-BE49-F238E27FC236}">
                <a16:creationId xmlns:a16="http://schemas.microsoft.com/office/drawing/2014/main" id="{4BC284B2-B530-4EDC-93D2-152CD0A5A323}"/>
              </a:ext>
            </a:extLst>
          </p:cNvPr>
          <p:cNvSpPr/>
          <p:nvPr/>
        </p:nvSpPr>
        <p:spPr>
          <a:xfrm>
            <a:off x="1264715" y="3271434"/>
            <a:ext cx="3813408" cy="369332"/>
          </a:xfrm>
          <a:prstGeom prst="rect">
            <a:avLst/>
          </a:prstGeom>
        </p:spPr>
        <p:txBody>
          <a:bodyPr wrap="square">
            <a:spAutoFit/>
          </a:bodyPr>
          <a:lstStyle/>
          <a:p>
            <a:r>
              <a:rPr lang="en-US" sz="1800" dirty="0">
                <a:solidFill>
                  <a:schemeClr val="tx1">
                    <a:lumMod val="60000"/>
                    <a:lumOff val="40000"/>
                  </a:schemeClr>
                </a:solidFill>
                <a:latin typeface="+mj-lt"/>
                <a:cs typeface="Calibri" panose="020F0502020204030204" pitchFamily="34" charset="0"/>
              </a:rPr>
              <a:t>Malicious email attachments</a:t>
            </a:r>
          </a:p>
        </p:txBody>
      </p:sp>
      <p:sp>
        <p:nvSpPr>
          <p:cNvPr id="89" name="Rectangle 88">
            <a:extLst>
              <a:ext uri="{FF2B5EF4-FFF2-40B4-BE49-F238E27FC236}">
                <a16:creationId xmlns:a16="http://schemas.microsoft.com/office/drawing/2014/main" id="{F073885F-D8F1-4153-B3A6-ABDC442BE5BF}"/>
              </a:ext>
            </a:extLst>
          </p:cNvPr>
          <p:cNvSpPr/>
          <p:nvPr/>
        </p:nvSpPr>
        <p:spPr>
          <a:xfrm>
            <a:off x="1264715" y="2491113"/>
            <a:ext cx="3815541" cy="369332"/>
          </a:xfrm>
          <a:prstGeom prst="rect">
            <a:avLst/>
          </a:prstGeom>
        </p:spPr>
        <p:txBody>
          <a:bodyPr wrap="square">
            <a:spAutoFit/>
          </a:bodyPr>
          <a:lstStyle/>
          <a:p>
            <a:r>
              <a:rPr lang="en-US" sz="1800" dirty="0">
                <a:solidFill>
                  <a:schemeClr val="tx1">
                    <a:lumMod val="60000"/>
                    <a:lumOff val="40000"/>
                  </a:schemeClr>
                </a:solidFill>
                <a:latin typeface="+mj-lt"/>
                <a:cs typeface="Calibri" panose="020F0502020204030204" pitchFamily="34" charset="0"/>
              </a:rPr>
              <a:t>Web downloads and links</a:t>
            </a:r>
          </a:p>
        </p:txBody>
      </p:sp>
      <p:sp>
        <p:nvSpPr>
          <p:cNvPr id="90" name="Freeform: Shape 89">
            <a:extLst>
              <a:ext uri="{FF2B5EF4-FFF2-40B4-BE49-F238E27FC236}">
                <a16:creationId xmlns:a16="http://schemas.microsoft.com/office/drawing/2014/main" id="{EC330F3B-0FC1-4296-A696-F720E82929F1}"/>
              </a:ext>
            </a:extLst>
          </p:cNvPr>
          <p:cNvSpPr/>
          <p:nvPr/>
        </p:nvSpPr>
        <p:spPr>
          <a:xfrm>
            <a:off x="610819" y="2515671"/>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sz="1600" dirty="0">
              <a:latin typeface="+mj-lt"/>
              <a:cs typeface="Calibri" panose="020F0502020204030204" pitchFamily="34" charset="0"/>
            </a:endParaRPr>
          </a:p>
        </p:txBody>
      </p:sp>
      <p:sp>
        <p:nvSpPr>
          <p:cNvPr id="91" name="Freeform: Shape 90">
            <a:extLst>
              <a:ext uri="{FF2B5EF4-FFF2-40B4-BE49-F238E27FC236}">
                <a16:creationId xmlns:a16="http://schemas.microsoft.com/office/drawing/2014/main" id="{A2D4A642-B8CD-40ED-9051-6E64F4373D48}"/>
              </a:ext>
            </a:extLst>
          </p:cNvPr>
          <p:cNvSpPr/>
          <p:nvPr/>
        </p:nvSpPr>
        <p:spPr>
          <a:xfrm>
            <a:off x="692030" y="2468164"/>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solidFill>
            <a:schemeClr val="tx1">
              <a:lumMod val="40000"/>
              <a:lumOff val="60000"/>
            </a:schemeClr>
          </a:solidFill>
          <a:ln w="12700" cap="flat">
            <a:solidFill>
              <a:schemeClr val="bg1"/>
            </a:solidFill>
            <a:prstDash val="solid"/>
            <a:miter/>
          </a:ln>
        </p:spPr>
        <p:txBody>
          <a:bodyPr rtlCol="0" anchor="ctr"/>
          <a:lstStyle/>
          <a:p>
            <a:endParaRPr lang="en-US" sz="1600" dirty="0">
              <a:latin typeface="+mj-lt"/>
              <a:cs typeface="Calibri" panose="020F0502020204030204" pitchFamily="34" charset="0"/>
            </a:endParaRPr>
          </a:p>
        </p:txBody>
      </p:sp>
      <p:sp>
        <p:nvSpPr>
          <p:cNvPr id="94" name="Freeform: Shape 93">
            <a:extLst>
              <a:ext uri="{FF2B5EF4-FFF2-40B4-BE49-F238E27FC236}">
                <a16:creationId xmlns:a16="http://schemas.microsoft.com/office/drawing/2014/main" id="{A4A70CDE-EF61-4975-B009-602972243DC9}"/>
              </a:ext>
            </a:extLst>
          </p:cNvPr>
          <p:cNvSpPr/>
          <p:nvPr/>
        </p:nvSpPr>
        <p:spPr>
          <a:xfrm>
            <a:off x="610819" y="5624464"/>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sz="1600" dirty="0">
              <a:latin typeface="+mj-lt"/>
              <a:cs typeface="Calibri" panose="020F0502020204030204" pitchFamily="34" charset="0"/>
            </a:endParaRPr>
          </a:p>
        </p:txBody>
      </p:sp>
      <p:sp>
        <p:nvSpPr>
          <p:cNvPr id="95" name="Freeform: Shape 94">
            <a:extLst>
              <a:ext uri="{FF2B5EF4-FFF2-40B4-BE49-F238E27FC236}">
                <a16:creationId xmlns:a16="http://schemas.microsoft.com/office/drawing/2014/main" id="{DBA430CE-EEDA-4047-86E2-C133B228BA78}"/>
              </a:ext>
            </a:extLst>
          </p:cNvPr>
          <p:cNvSpPr/>
          <p:nvPr/>
        </p:nvSpPr>
        <p:spPr>
          <a:xfrm>
            <a:off x="619568" y="32397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sz="1600" dirty="0">
              <a:latin typeface="+mj-lt"/>
              <a:cs typeface="Calibri" panose="020F0502020204030204" pitchFamily="34" charset="0"/>
            </a:endParaRPr>
          </a:p>
        </p:txBody>
      </p:sp>
      <p:sp>
        <p:nvSpPr>
          <p:cNvPr id="96" name="Freeform: Shape 95">
            <a:extLst>
              <a:ext uri="{FF2B5EF4-FFF2-40B4-BE49-F238E27FC236}">
                <a16:creationId xmlns:a16="http://schemas.microsoft.com/office/drawing/2014/main" id="{2D747D4B-C6B5-487C-BC23-FFBA10C35F00}"/>
              </a:ext>
            </a:extLst>
          </p:cNvPr>
          <p:cNvSpPr/>
          <p:nvPr/>
        </p:nvSpPr>
        <p:spPr>
          <a:xfrm>
            <a:off x="700779" y="31921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solidFill>
            <a:schemeClr val="tx1">
              <a:lumMod val="40000"/>
              <a:lumOff val="60000"/>
            </a:schemeClr>
          </a:solidFill>
          <a:ln w="12700" cap="flat">
            <a:solidFill>
              <a:schemeClr val="bg1"/>
            </a:solidFill>
            <a:prstDash val="solid"/>
            <a:miter/>
          </a:ln>
        </p:spPr>
        <p:txBody>
          <a:bodyPr rtlCol="0" anchor="ctr"/>
          <a:lstStyle/>
          <a:p>
            <a:endParaRPr lang="en-US" sz="1600" dirty="0">
              <a:latin typeface="+mj-lt"/>
              <a:cs typeface="Calibri" panose="020F0502020204030204" pitchFamily="34" charset="0"/>
            </a:endParaRPr>
          </a:p>
        </p:txBody>
      </p:sp>
      <p:cxnSp>
        <p:nvCxnSpPr>
          <p:cNvPr id="103" name="Google Shape;1879;p15">
            <a:extLst>
              <a:ext uri="{FF2B5EF4-FFF2-40B4-BE49-F238E27FC236}">
                <a16:creationId xmlns:a16="http://schemas.microsoft.com/office/drawing/2014/main" id="{49ACF866-6881-4E11-B46A-863FB9F50483}"/>
              </a:ext>
            </a:extLst>
          </p:cNvPr>
          <p:cNvCxnSpPr>
            <a:cxnSpLocks/>
          </p:cNvCxnSpPr>
          <p:nvPr/>
        </p:nvCxnSpPr>
        <p:spPr>
          <a:xfrm>
            <a:off x="9387724" y="2205420"/>
            <a:ext cx="0" cy="1632431"/>
          </a:xfrm>
          <a:prstGeom prst="straightConnector1">
            <a:avLst/>
          </a:prstGeom>
          <a:solidFill>
            <a:schemeClr val="lt1"/>
          </a:solidFill>
          <a:ln w="12700" cap="rnd" cmpd="sng">
            <a:solidFill>
              <a:schemeClr val="accent1"/>
            </a:solidFill>
            <a:prstDash val="solid"/>
            <a:round/>
            <a:headEnd type="oval" w="sm" len="sm"/>
            <a:tailEnd type="oval" w="sm" len="sm"/>
          </a:ln>
        </p:spPr>
      </p:cxnSp>
      <p:cxnSp>
        <p:nvCxnSpPr>
          <p:cNvPr id="110" name="Google Shape;2135;p18">
            <a:extLst>
              <a:ext uri="{FF2B5EF4-FFF2-40B4-BE49-F238E27FC236}">
                <a16:creationId xmlns:a16="http://schemas.microsoft.com/office/drawing/2014/main" id="{B3AC97B7-9A70-4B76-8CAE-2D88C98B3E4F}"/>
              </a:ext>
            </a:extLst>
          </p:cNvPr>
          <p:cNvCxnSpPr/>
          <p:nvPr/>
        </p:nvCxnSpPr>
        <p:spPr>
          <a:xfrm>
            <a:off x="5533245" y="3837851"/>
            <a:ext cx="0" cy="647831"/>
          </a:xfrm>
          <a:prstGeom prst="straightConnector1">
            <a:avLst/>
          </a:prstGeom>
          <a:noFill/>
          <a:ln w="38100" cap="rnd" cmpd="sng">
            <a:solidFill>
              <a:schemeClr val="accent1"/>
            </a:solidFill>
            <a:prstDash val="solid"/>
            <a:round/>
            <a:headEnd type="none" w="sm" len="sm"/>
            <a:tailEnd type="none" w="sm" len="sm"/>
          </a:ln>
        </p:spPr>
      </p:cxnSp>
      <p:cxnSp>
        <p:nvCxnSpPr>
          <p:cNvPr id="111" name="Google Shape;2135;p18">
            <a:extLst>
              <a:ext uri="{FF2B5EF4-FFF2-40B4-BE49-F238E27FC236}">
                <a16:creationId xmlns:a16="http://schemas.microsoft.com/office/drawing/2014/main" id="{AE27439F-ACAE-441D-BD46-ADDD017AB6E2}"/>
              </a:ext>
            </a:extLst>
          </p:cNvPr>
          <p:cNvCxnSpPr/>
          <p:nvPr/>
        </p:nvCxnSpPr>
        <p:spPr>
          <a:xfrm>
            <a:off x="6252095" y="1666351"/>
            <a:ext cx="0" cy="576000"/>
          </a:xfrm>
          <a:prstGeom prst="straightConnector1">
            <a:avLst/>
          </a:prstGeom>
          <a:noFill/>
          <a:ln w="38100" cap="rnd" cmpd="sng">
            <a:solidFill>
              <a:schemeClr val="accent1"/>
            </a:solidFill>
            <a:prstDash val="solid"/>
            <a:round/>
            <a:headEnd type="none" w="sm" len="sm"/>
            <a:tailEnd type="none" w="sm" len="sm"/>
          </a:ln>
        </p:spPr>
      </p:cxnSp>
      <p:cxnSp>
        <p:nvCxnSpPr>
          <p:cNvPr id="113" name="Google Shape;1879;p15">
            <a:extLst>
              <a:ext uri="{FF2B5EF4-FFF2-40B4-BE49-F238E27FC236}">
                <a16:creationId xmlns:a16="http://schemas.microsoft.com/office/drawing/2014/main" id="{476C8495-E3EF-4D07-B555-9A98E2062720}"/>
              </a:ext>
            </a:extLst>
          </p:cNvPr>
          <p:cNvCxnSpPr>
            <a:cxnSpLocks/>
          </p:cNvCxnSpPr>
          <p:nvPr/>
        </p:nvCxnSpPr>
        <p:spPr>
          <a:xfrm rot="5400000">
            <a:off x="6429579" y="3330044"/>
            <a:ext cx="0" cy="1632431"/>
          </a:xfrm>
          <a:prstGeom prst="straightConnector1">
            <a:avLst/>
          </a:prstGeom>
          <a:solidFill>
            <a:schemeClr val="lt1"/>
          </a:solidFill>
          <a:ln w="12700" cap="rnd" cmpd="sng">
            <a:solidFill>
              <a:schemeClr val="accent1"/>
            </a:solidFill>
            <a:prstDash val="solid"/>
            <a:round/>
            <a:headEnd type="oval" w="sm" len="sm"/>
            <a:tailEnd type="oval" w="sm" len="sm"/>
          </a:ln>
        </p:spPr>
      </p:cxnSp>
      <p:sp>
        <p:nvSpPr>
          <p:cNvPr id="3" name="Footer Placeholder 2" hidden="1"/>
          <p:cNvSpPr>
            <a:spLocks noGrp="1"/>
          </p:cNvSpPr>
          <p:nvPr>
            <p:ph type="ftr" sz="quarter" idx="11"/>
          </p:nvPr>
        </p:nvSpPr>
        <p:spPr/>
        <p:txBody>
          <a:bodyPr/>
          <a:lstStyle/>
          <a:p>
            <a:r>
              <a:rPr lang="en-US" dirty="0"/>
              <a:t> [Internal Use] for Check Point employees​</a:t>
            </a:r>
          </a:p>
        </p:txBody>
      </p:sp>
      <p:sp>
        <p:nvSpPr>
          <p:cNvPr id="4" name="Date Placeholder 3" hidden="1"/>
          <p:cNvSpPr>
            <a:spLocks noGrp="1"/>
          </p:cNvSpPr>
          <p:nvPr>
            <p:ph type="dt" idx="10"/>
          </p:nvPr>
        </p:nvSpPr>
        <p:spPr/>
        <p:txBody>
          <a:bodyPr/>
          <a:lstStyle/>
          <a:p>
            <a:endParaRPr lang="en-US" dirty="0"/>
          </a:p>
        </p:txBody>
      </p:sp>
      <p:grpSp>
        <p:nvGrpSpPr>
          <p:cNvPr id="35" name="Group 34"/>
          <p:cNvGrpSpPr/>
          <p:nvPr/>
        </p:nvGrpSpPr>
        <p:grpSpPr>
          <a:xfrm>
            <a:off x="10449777" y="160338"/>
            <a:ext cx="1410774" cy="1409827"/>
            <a:chOff x="9661178" y="-197972"/>
            <a:chExt cx="2383352" cy="2613615"/>
          </a:xfrm>
        </p:grpSpPr>
        <p:pic>
          <p:nvPicPr>
            <p:cNvPr id="36" name="Picture 35"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37" name="Group 36">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38"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39"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40"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2309" y="1005563"/>
            <a:ext cx="1750908" cy="731520"/>
          </a:xfrm>
          <a:prstGeom prst="rect">
            <a:avLst/>
          </a:prstGeom>
        </p:spPr>
      </p:pic>
      <p:sp>
        <p:nvSpPr>
          <p:cNvPr id="41" name="Google Shape;1824;p15"/>
          <p:cNvSpPr txBox="1">
            <a:spLocks noGrp="1"/>
          </p:cNvSpPr>
          <p:nvPr>
            <p:ph type="title"/>
          </p:nvPr>
        </p:nvSpPr>
        <p:spPr>
          <a:xfrm>
            <a:off x="583842" y="460552"/>
            <a:ext cx="11022371" cy="914400"/>
          </a:xfrm>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MALWARE PROTECTION</a:t>
            </a:r>
            <a:endParaRPr lang="en-US" sz="3200" b="1" dirty="0">
              <a:latin typeface="+mj-lt"/>
            </a:endParaRPr>
          </a:p>
        </p:txBody>
      </p:sp>
    </p:spTree>
    <p:extLst>
      <p:ext uri="{BB962C8B-B14F-4D97-AF65-F5344CB8AC3E}">
        <p14:creationId xmlns:p14="http://schemas.microsoft.com/office/powerpoint/2010/main" val="26341637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072"/>
        <p:cNvGrpSpPr/>
        <p:nvPr/>
      </p:nvGrpSpPr>
      <p:grpSpPr>
        <a:xfrm>
          <a:off x="0" y="0"/>
          <a:ext cx="0" cy="0"/>
          <a:chOff x="0" y="0"/>
          <a:chExt cx="0" cy="0"/>
        </a:xfrm>
      </p:grpSpPr>
      <p:grpSp>
        <p:nvGrpSpPr>
          <p:cNvPr id="117" name="Group 116">
            <a:extLst>
              <a:ext uri="{FF2B5EF4-FFF2-40B4-BE49-F238E27FC236}">
                <a16:creationId xmlns:a16="http://schemas.microsoft.com/office/drawing/2014/main" id="{FC6CC763-F760-4C3F-A5EE-D4FA487958AF}"/>
              </a:ext>
            </a:extLst>
          </p:cNvPr>
          <p:cNvGrpSpPr/>
          <p:nvPr/>
        </p:nvGrpSpPr>
        <p:grpSpPr>
          <a:xfrm>
            <a:off x="614805" y="5576540"/>
            <a:ext cx="409095" cy="410265"/>
            <a:chOff x="771968" y="3344598"/>
            <a:chExt cx="409095" cy="410265"/>
          </a:xfrm>
        </p:grpSpPr>
        <p:sp>
          <p:nvSpPr>
            <p:cNvPr id="118" name="Freeform: Shape 117">
              <a:extLst>
                <a:ext uri="{FF2B5EF4-FFF2-40B4-BE49-F238E27FC236}">
                  <a16:creationId xmlns:a16="http://schemas.microsoft.com/office/drawing/2014/main" id="{D36CF5C9-1295-438A-9994-20593971D02B}"/>
                </a:ext>
              </a:extLst>
            </p:cNvPr>
            <p:cNvSpPr/>
            <p:nvPr/>
          </p:nvSpPr>
          <p:spPr>
            <a:xfrm>
              <a:off x="771968" y="33921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adFill>
              <a:gsLst>
                <a:gs pos="18000">
                  <a:srgbClr val="43115A"/>
                </a:gs>
                <a:gs pos="0">
                  <a:schemeClr val="accent6"/>
                </a:gs>
                <a:gs pos="680">
                  <a:schemeClr val="accent6"/>
                </a:gs>
                <a:gs pos="100000">
                  <a:schemeClr val="tx2"/>
                </a:gs>
              </a:gsLst>
              <a:lin ang="0" scaled="0"/>
            </a:gra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119" name="Freeform: Shape 118">
              <a:extLst>
                <a:ext uri="{FF2B5EF4-FFF2-40B4-BE49-F238E27FC236}">
                  <a16:creationId xmlns:a16="http://schemas.microsoft.com/office/drawing/2014/main" id="{9DA7F75B-F680-491B-9851-11D864D33A86}"/>
                </a:ext>
              </a:extLst>
            </p:cNvPr>
            <p:cNvSpPr/>
            <p:nvPr/>
          </p:nvSpPr>
          <p:spPr>
            <a:xfrm>
              <a:off x="853179" y="33445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adFill>
              <a:gsLst>
                <a:gs pos="6000">
                  <a:srgbClr val="43115A"/>
                </a:gs>
                <a:gs pos="0">
                  <a:schemeClr val="accent6"/>
                </a:gs>
                <a:gs pos="680">
                  <a:schemeClr val="accent6"/>
                </a:gs>
                <a:gs pos="100000">
                  <a:schemeClr val="tx2"/>
                </a:gs>
              </a:gsLst>
              <a:lin ang="0" scaled="0"/>
            </a:gra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grpSp>
      <p:sp>
        <p:nvSpPr>
          <p:cNvPr id="2075" name="Google Shape;2075;p18" descr="Pen, pendrive, usb Free Icon of Office Icons"/>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grpSp>
        <p:nvGrpSpPr>
          <p:cNvPr id="2128" name="Google Shape;2128;p18"/>
          <p:cNvGrpSpPr/>
          <p:nvPr/>
        </p:nvGrpSpPr>
        <p:grpSpPr>
          <a:xfrm>
            <a:off x="7484238" y="1839870"/>
            <a:ext cx="3154747" cy="5061960"/>
            <a:chOff x="4492128" y="1642481"/>
            <a:chExt cx="3154747" cy="5061960"/>
          </a:xfrm>
        </p:grpSpPr>
        <p:grpSp>
          <p:nvGrpSpPr>
            <p:cNvPr id="2129" name="Google Shape;2129;p18"/>
            <p:cNvGrpSpPr/>
            <p:nvPr/>
          </p:nvGrpSpPr>
          <p:grpSpPr>
            <a:xfrm>
              <a:off x="4492128" y="1642481"/>
              <a:ext cx="3154747" cy="5061960"/>
              <a:chOff x="4492128" y="1908445"/>
              <a:chExt cx="3154747" cy="5061960"/>
            </a:xfrm>
          </p:grpSpPr>
          <p:sp>
            <p:nvSpPr>
              <p:cNvPr id="2130" name="Google Shape;2130;p18"/>
              <p:cNvSpPr/>
              <p:nvPr/>
            </p:nvSpPr>
            <p:spPr>
              <a:xfrm>
                <a:off x="4492128" y="6499203"/>
                <a:ext cx="3154747" cy="471202"/>
              </a:xfrm>
              <a:prstGeom prst="ellipse">
                <a:avLst/>
              </a:prstGeom>
              <a:solidFill>
                <a:srgbClr val="939395">
                  <a:alpha val="64705"/>
                </a:srgbClr>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2131" name="Google Shape;2131;p18"/>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4756260" y="1908445"/>
                <a:ext cx="2689981" cy="4842576"/>
              </a:xfrm>
              <a:prstGeom prst="rect">
                <a:avLst/>
              </a:prstGeom>
              <a:noFill/>
              <a:ln>
                <a:noFill/>
              </a:ln>
            </p:spPr>
          </p:pic>
        </p:grpSp>
        <p:sp>
          <p:nvSpPr>
            <p:cNvPr id="2132" name="Google Shape;2132;p18"/>
            <p:cNvSpPr/>
            <p:nvPr/>
          </p:nvSpPr>
          <p:spPr>
            <a:xfrm>
              <a:off x="5047677" y="2168085"/>
              <a:ext cx="2131839" cy="3789135"/>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grpSp>
      <p:grpSp>
        <p:nvGrpSpPr>
          <p:cNvPr id="2133" name="Google Shape;2133;p18"/>
          <p:cNvGrpSpPr/>
          <p:nvPr/>
        </p:nvGrpSpPr>
        <p:grpSpPr>
          <a:xfrm>
            <a:off x="4946170" y="2198996"/>
            <a:ext cx="2779018" cy="785179"/>
            <a:chOff x="1923809" y="1902240"/>
            <a:chExt cx="2779742" cy="785384"/>
          </a:xfrm>
        </p:grpSpPr>
        <p:sp>
          <p:nvSpPr>
            <p:cNvPr id="2134" name="Google Shape;2134;p18"/>
            <p:cNvSpPr/>
            <p:nvPr/>
          </p:nvSpPr>
          <p:spPr>
            <a:xfrm flipH="1">
              <a:off x="1923809" y="1902240"/>
              <a:ext cx="2602244" cy="785384"/>
            </a:xfrm>
            <a:prstGeom prst="rect">
              <a:avLst/>
            </a:prstGeom>
            <a:noFill/>
            <a:ln>
              <a:noFill/>
            </a:ln>
          </p:spPr>
          <p:txBody>
            <a:bodyPr spcFirstLastPara="1" wrap="square" lIns="0" tIns="0" rIns="0" bIns="0" anchor="ctr" anchorCtr="0">
              <a:noAutofit/>
            </a:bodyPr>
            <a:lstStyle/>
            <a:p>
              <a:pPr marL="0" marR="0" lvl="0" indent="0" algn="r" rtl="0">
                <a:lnSpc>
                  <a:spcPct val="80000"/>
                </a:lnSpc>
                <a:spcBef>
                  <a:spcPts val="0"/>
                </a:spcBef>
                <a:spcAft>
                  <a:spcPts val="0"/>
                </a:spcAft>
                <a:buNone/>
              </a:pPr>
              <a:r>
                <a:rPr lang="en-US" sz="1600" dirty="0">
                  <a:solidFill>
                    <a:schemeClr val="tx1"/>
                  </a:solidFill>
                  <a:latin typeface="+mj-lt"/>
                  <a:ea typeface="Calibri"/>
                  <a:cs typeface="Calibri" panose="020F0502020204030204" pitchFamily="34" charset="0"/>
                  <a:sym typeface="Calibri"/>
                </a:rPr>
                <a:t>User </a:t>
              </a:r>
              <a:r>
                <a:rPr lang="en-US" sz="1600" dirty="0">
                  <a:solidFill>
                    <a:schemeClr val="tx1"/>
                  </a:solidFill>
                  <a:latin typeface="+mj-lt"/>
                  <a:cs typeface="Calibri" panose="020F0502020204030204" pitchFamily="34" charset="0"/>
                  <a:sym typeface="Calibri"/>
                </a:rPr>
                <a:t>attempts to download an app using a QR code </a:t>
              </a:r>
              <a:endParaRPr sz="1600" dirty="0">
                <a:solidFill>
                  <a:schemeClr val="tx1"/>
                </a:solidFill>
                <a:latin typeface="+mj-lt"/>
                <a:cs typeface="Calibri" panose="020F0502020204030204" pitchFamily="34" charset="0"/>
                <a:sym typeface="Calibri"/>
              </a:endParaRPr>
            </a:p>
          </p:txBody>
        </p:sp>
        <p:cxnSp>
          <p:nvCxnSpPr>
            <p:cNvPr id="2135" name="Google Shape;2135;p18"/>
            <p:cNvCxnSpPr/>
            <p:nvPr/>
          </p:nvCxnSpPr>
          <p:spPr>
            <a:xfrm>
              <a:off x="4703551" y="1932366"/>
              <a:ext cx="0" cy="648000"/>
            </a:xfrm>
            <a:prstGeom prst="straightConnector1">
              <a:avLst/>
            </a:prstGeom>
            <a:noFill/>
            <a:ln w="38100" cap="rnd" cmpd="sng">
              <a:solidFill>
                <a:schemeClr val="accent1"/>
              </a:solidFill>
              <a:prstDash val="solid"/>
              <a:round/>
              <a:headEnd type="none" w="sm" len="sm"/>
              <a:tailEnd type="none" w="sm" len="sm"/>
            </a:ln>
          </p:spPr>
        </p:cxnSp>
      </p:grpSp>
      <p:pic>
        <p:nvPicPr>
          <p:cNvPr id="2136" name="Google Shape;2136;p18"/>
          <p:cNvPicPr preferRelativeResize="0"/>
          <p:nvPr/>
        </p:nvPicPr>
        <p:blipFill rotWithShape="1">
          <a:blip r:embed="rId4" cstate="print">
            <a:alphaModFix/>
            <a:extLst>
              <a:ext uri="{28A0092B-C50C-407E-A947-70E740481C1C}">
                <a14:useLocalDpi xmlns:a14="http://schemas.microsoft.com/office/drawing/2010/main"/>
              </a:ext>
            </a:extLst>
          </a:blip>
          <a:srcRect l="2815"/>
          <a:stretch/>
        </p:blipFill>
        <p:spPr>
          <a:xfrm>
            <a:off x="8047456" y="2050846"/>
            <a:ext cx="2173333" cy="4309599"/>
          </a:xfrm>
          <a:prstGeom prst="rect">
            <a:avLst/>
          </a:prstGeom>
          <a:noFill/>
          <a:ln>
            <a:noFill/>
          </a:ln>
        </p:spPr>
      </p:pic>
      <p:pic>
        <p:nvPicPr>
          <p:cNvPr id="2137" name="Google Shape;2137;p18"/>
          <p:cNvPicPr preferRelativeResize="0"/>
          <p:nvPr/>
        </p:nvPicPr>
        <p:blipFill rotWithShape="1">
          <a:blip r:embed="rId5">
            <a:alphaModFix/>
          </a:blip>
          <a:srcRect/>
          <a:stretch/>
        </p:blipFill>
        <p:spPr>
          <a:xfrm>
            <a:off x="8047457" y="2080644"/>
            <a:ext cx="2130096" cy="4206649"/>
          </a:xfrm>
          <a:prstGeom prst="rect">
            <a:avLst/>
          </a:prstGeom>
          <a:noFill/>
          <a:ln>
            <a:noFill/>
          </a:ln>
        </p:spPr>
      </p:pic>
      <p:grpSp>
        <p:nvGrpSpPr>
          <p:cNvPr id="2138" name="Google Shape;2138;p18"/>
          <p:cNvGrpSpPr/>
          <p:nvPr/>
        </p:nvGrpSpPr>
        <p:grpSpPr>
          <a:xfrm>
            <a:off x="4982782" y="3237650"/>
            <a:ext cx="2722352" cy="785179"/>
            <a:chOff x="1980490" y="1863674"/>
            <a:chExt cx="2723061" cy="785384"/>
          </a:xfrm>
          <a:noFill/>
        </p:grpSpPr>
        <p:sp>
          <p:nvSpPr>
            <p:cNvPr id="2139" name="Google Shape;2139;p18"/>
            <p:cNvSpPr/>
            <p:nvPr/>
          </p:nvSpPr>
          <p:spPr>
            <a:xfrm flipH="1">
              <a:off x="1980490" y="1863674"/>
              <a:ext cx="2602244" cy="785384"/>
            </a:xfrm>
            <a:prstGeom prst="rect">
              <a:avLst/>
            </a:prstGeom>
            <a:grpFill/>
            <a:ln>
              <a:noFill/>
            </a:ln>
          </p:spPr>
          <p:txBody>
            <a:bodyPr spcFirstLastPara="1" wrap="square" lIns="0" tIns="0" rIns="0" bIns="0" anchor="ctr" anchorCtr="0">
              <a:noAutofit/>
            </a:bodyPr>
            <a:lstStyle/>
            <a:p>
              <a:pPr marL="0" marR="0" lvl="0" indent="0" algn="r" rtl="0">
                <a:lnSpc>
                  <a:spcPct val="80000"/>
                </a:lnSpc>
                <a:spcBef>
                  <a:spcPts val="0"/>
                </a:spcBef>
                <a:spcAft>
                  <a:spcPts val="0"/>
                </a:spcAft>
                <a:buNone/>
              </a:pPr>
              <a:r>
                <a:rPr lang="en-US" sz="1600" dirty="0">
                  <a:solidFill>
                    <a:schemeClr val="tx1"/>
                  </a:solidFill>
                  <a:latin typeface="+mj-lt"/>
                  <a:ea typeface="Calibri"/>
                  <a:cs typeface="Calibri" panose="020F0502020204030204" pitchFamily="34" charset="0"/>
                  <a:sym typeface="Calibri"/>
                </a:rPr>
                <a:t>The download of the suspicious app is blocked </a:t>
              </a:r>
              <a:endParaRPr sz="1600" b="1" dirty="0">
                <a:solidFill>
                  <a:schemeClr val="tx1"/>
                </a:solidFill>
                <a:latin typeface="+mj-lt"/>
                <a:ea typeface="Calibri"/>
                <a:cs typeface="Calibri" panose="020F0502020204030204" pitchFamily="34" charset="0"/>
                <a:sym typeface="Calibri"/>
              </a:endParaRPr>
            </a:p>
          </p:txBody>
        </p:sp>
        <p:cxnSp>
          <p:nvCxnSpPr>
            <p:cNvPr id="2140" name="Google Shape;2140;p18"/>
            <p:cNvCxnSpPr/>
            <p:nvPr/>
          </p:nvCxnSpPr>
          <p:spPr>
            <a:xfrm>
              <a:off x="4703551" y="1932366"/>
              <a:ext cx="0" cy="648000"/>
            </a:xfrm>
            <a:prstGeom prst="straightConnector1">
              <a:avLst/>
            </a:prstGeom>
            <a:grpFill/>
            <a:ln w="38100" cap="rnd" cmpd="sng">
              <a:solidFill>
                <a:schemeClr val="accent1"/>
              </a:solidFill>
              <a:prstDash val="solid"/>
              <a:round/>
              <a:headEnd type="none" w="sm" len="sm"/>
              <a:tailEnd type="none" w="sm" len="sm"/>
            </a:ln>
          </p:spPr>
        </p:cxnSp>
      </p:grpSp>
      <p:grpSp>
        <p:nvGrpSpPr>
          <p:cNvPr id="2141" name="Google Shape;2141;p18"/>
          <p:cNvGrpSpPr/>
          <p:nvPr/>
        </p:nvGrpSpPr>
        <p:grpSpPr>
          <a:xfrm>
            <a:off x="8020372" y="2081286"/>
            <a:ext cx="2153463" cy="4132170"/>
            <a:chOff x="7915806" y="445325"/>
            <a:chExt cx="2997982" cy="5664836"/>
          </a:xfrm>
        </p:grpSpPr>
        <p:pic>
          <p:nvPicPr>
            <p:cNvPr id="2142" name="Google Shape;2142;p18"/>
            <p:cNvPicPr preferRelativeResize="0"/>
            <p:nvPr/>
          </p:nvPicPr>
          <p:blipFill rotWithShape="1">
            <a:blip r:embed="rId6">
              <a:alphaModFix/>
            </a:blip>
            <a:srcRect/>
            <a:stretch/>
          </p:blipFill>
          <p:spPr>
            <a:xfrm>
              <a:off x="7915806" y="445325"/>
              <a:ext cx="2986488" cy="5664836"/>
            </a:xfrm>
            <a:prstGeom prst="rect">
              <a:avLst/>
            </a:prstGeom>
            <a:noFill/>
            <a:ln>
              <a:noFill/>
            </a:ln>
          </p:spPr>
        </p:pic>
        <p:pic>
          <p:nvPicPr>
            <p:cNvPr id="2143" name="Google Shape;2143;p18"/>
            <p:cNvPicPr preferRelativeResize="0"/>
            <p:nvPr/>
          </p:nvPicPr>
          <p:blipFill rotWithShape="1">
            <a:blip r:embed="rId7">
              <a:alphaModFix/>
            </a:blip>
            <a:srcRect/>
            <a:stretch/>
          </p:blipFill>
          <p:spPr>
            <a:xfrm>
              <a:off x="7924779" y="1101325"/>
              <a:ext cx="2989009" cy="2729733"/>
            </a:xfrm>
            <a:prstGeom prst="rect">
              <a:avLst/>
            </a:prstGeom>
            <a:noFill/>
            <a:ln>
              <a:noFill/>
            </a:ln>
          </p:spPr>
        </p:pic>
        <p:pic>
          <p:nvPicPr>
            <p:cNvPr id="2144" name="Google Shape;2144;p18"/>
            <p:cNvPicPr preferRelativeResize="0"/>
            <p:nvPr/>
          </p:nvPicPr>
          <p:blipFill rotWithShape="1">
            <a:blip r:embed="rId8">
              <a:alphaModFix/>
            </a:blip>
            <a:srcRect/>
            <a:stretch/>
          </p:blipFill>
          <p:spPr>
            <a:xfrm>
              <a:off x="7936840" y="3157410"/>
              <a:ext cx="2869028" cy="2287873"/>
            </a:xfrm>
            <a:prstGeom prst="rect">
              <a:avLst/>
            </a:prstGeom>
            <a:noFill/>
            <a:ln>
              <a:noFill/>
            </a:ln>
          </p:spPr>
        </p:pic>
      </p:grpSp>
      <p:sp>
        <p:nvSpPr>
          <p:cNvPr id="89" name="Google Shape;1994;p17" descr="Pen, pendrive, usb Free Icon of Office Icons">
            <a:extLst>
              <a:ext uri="{FF2B5EF4-FFF2-40B4-BE49-F238E27FC236}">
                <a16:creationId xmlns:a16="http://schemas.microsoft.com/office/drawing/2014/main" id="{BE5E807B-E599-41F3-89A7-AA152450797B}"/>
              </a:ext>
            </a:extLst>
          </p:cNvPr>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grpSp>
        <p:nvGrpSpPr>
          <p:cNvPr id="101" name="Group 100">
            <a:extLst>
              <a:ext uri="{FF2B5EF4-FFF2-40B4-BE49-F238E27FC236}">
                <a16:creationId xmlns:a16="http://schemas.microsoft.com/office/drawing/2014/main" id="{4C48E50C-1F68-483F-9938-F8CCAE71E64E}"/>
              </a:ext>
            </a:extLst>
          </p:cNvPr>
          <p:cNvGrpSpPr/>
          <p:nvPr/>
        </p:nvGrpSpPr>
        <p:grpSpPr>
          <a:xfrm>
            <a:off x="619568" y="4796368"/>
            <a:ext cx="409095" cy="410265"/>
            <a:chOff x="771968" y="3344598"/>
            <a:chExt cx="409095" cy="410265"/>
          </a:xfrm>
          <a:solidFill>
            <a:schemeClr val="tx1">
              <a:lumMod val="40000"/>
              <a:lumOff val="60000"/>
            </a:schemeClr>
          </a:solidFill>
        </p:grpSpPr>
        <p:sp>
          <p:nvSpPr>
            <p:cNvPr id="102" name="Freeform: Shape 101">
              <a:extLst>
                <a:ext uri="{FF2B5EF4-FFF2-40B4-BE49-F238E27FC236}">
                  <a16:creationId xmlns:a16="http://schemas.microsoft.com/office/drawing/2014/main" id="{4ABD4884-724E-471C-B297-5C3153BB80D0}"/>
                </a:ext>
              </a:extLst>
            </p:cNvPr>
            <p:cNvSpPr/>
            <p:nvPr/>
          </p:nvSpPr>
          <p:spPr>
            <a:xfrm>
              <a:off x="771968" y="33921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p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103" name="Freeform: Shape 102">
              <a:extLst>
                <a:ext uri="{FF2B5EF4-FFF2-40B4-BE49-F238E27FC236}">
                  <a16:creationId xmlns:a16="http://schemas.microsoft.com/office/drawing/2014/main" id="{56DA138A-F7B7-440F-AE90-BD6A86E84078}"/>
                </a:ext>
              </a:extLst>
            </p:cNvPr>
            <p:cNvSpPr/>
            <p:nvPr/>
          </p:nvSpPr>
          <p:spPr>
            <a:xfrm>
              <a:off x="853179" y="33445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p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grpSp>
      <p:grpSp>
        <p:nvGrpSpPr>
          <p:cNvPr id="104" name="Group 103">
            <a:extLst>
              <a:ext uri="{FF2B5EF4-FFF2-40B4-BE49-F238E27FC236}">
                <a16:creationId xmlns:a16="http://schemas.microsoft.com/office/drawing/2014/main" id="{B89BEB93-BE36-4874-A3AF-5A8AC5C2CF0B}"/>
              </a:ext>
            </a:extLst>
          </p:cNvPr>
          <p:cNvGrpSpPr/>
          <p:nvPr/>
        </p:nvGrpSpPr>
        <p:grpSpPr>
          <a:xfrm>
            <a:off x="601602" y="4014855"/>
            <a:ext cx="409095" cy="410265"/>
            <a:chOff x="771968" y="3344598"/>
            <a:chExt cx="409095" cy="410265"/>
          </a:xfrm>
          <a:solidFill>
            <a:schemeClr val="tx1">
              <a:lumMod val="40000"/>
              <a:lumOff val="60000"/>
            </a:schemeClr>
          </a:solidFill>
        </p:grpSpPr>
        <p:sp>
          <p:nvSpPr>
            <p:cNvPr id="105" name="Freeform: Shape 104">
              <a:extLst>
                <a:ext uri="{FF2B5EF4-FFF2-40B4-BE49-F238E27FC236}">
                  <a16:creationId xmlns:a16="http://schemas.microsoft.com/office/drawing/2014/main" id="{D5AE3AF9-7B9B-4554-B34D-2035538CA5EF}"/>
                </a:ext>
              </a:extLst>
            </p:cNvPr>
            <p:cNvSpPr/>
            <p:nvPr/>
          </p:nvSpPr>
          <p:spPr>
            <a:xfrm>
              <a:off x="771968" y="33921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grp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106" name="Freeform: Shape 105">
              <a:extLst>
                <a:ext uri="{FF2B5EF4-FFF2-40B4-BE49-F238E27FC236}">
                  <a16:creationId xmlns:a16="http://schemas.microsoft.com/office/drawing/2014/main" id="{2D035979-02D9-4B36-8DAE-BD7243A39DB9}"/>
                </a:ext>
              </a:extLst>
            </p:cNvPr>
            <p:cNvSpPr/>
            <p:nvPr/>
          </p:nvSpPr>
          <p:spPr>
            <a:xfrm>
              <a:off x="853179" y="33445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grp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grpSp>
      <p:sp>
        <p:nvSpPr>
          <p:cNvPr id="107" name="Rectangle 106">
            <a:extLst>
              <a:ext uri="{FF2B5EF4-FFF2-40B4-BE49-F238E27FC236}">
                <a16:creationId xmlns:a16="http://schemas.microsoft.com/office/drawing/2014/main" id="{2B088A34-14D2-4CFC-A990-4EBBE2DCC611}"/>
              </a:ext>
            </a:extLst>
          </p:cNvPr>
          <p:cNvSpPr/>
          <p:nvPr/>
        </p:nvSpPr>
        <p:spPr>
          <a:xfrm>
            <a:off x="1264714" y="4051755"/>
            <a:ext cx="2182043" cy="338554"/>
          </a:xfrm>
          <a:prstGeom prst="rect">
            <a:avLst/>
          </a:prstGeom>
        </p:spPr>
        <p:txBody>
          <a:bodyPr wrap="square">
            <a:spAutoFit/>
          </a:bodyPr>
          <a:lstStyle/>
          <a:p>
            <a:pPr>
              <a:spcBef>
                <a:spcPts val="0"/>
              </a:spcBef>
            </a:pPr>
            <a:r>
              <a:rPr lang="en-US" sz="1600" dirty="0">
                <a:solidFill>
                  <a:schemeClr val="tx1">
                    <a:lumMod val="60000"/>
                    <a:lumOff val="40000"/>
                  </a:schemeClr>
                </a:solidFill>
                <a:latin typeface="+mj-lt"/>
                <a:cs typeface="Calibri" panose="020F0502020204030204" pitchFamily="34" charset="0"/>
              </a:rPr>
              <a:t>File less attacks</a:t>
            </a:r>
          </a:p>
        </p:txBody>
      </p:sp>
      <p:sp>
        <p:nvSpPr>
          <p:cNvPr id="108" name="Rectangle 107">
            <a:extLst>
              <a:ext uri="{FF2B5EF4-FFF2-40B4-BE49-F238E27FC236}">
                <a16:creationId xmlns:a16="http://schemas.microsoft.com/office/drawing/2014/main" id="{95F98B4B-DB8E-426F-BEC5-2F21888115E2}"/>
              </a:ext>
            </a:extLst>
          </p:cNvPr>
          <p:cNvSpPr/>
          <p:nvPr/>
        </p:nvSpPr>
        <p:spPr>
          <a:xfrm>
            <a:off x="1264715" y="4832076"/>
            <a:ext cx="3287814"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files on USB</a:t>
            </a:r>
          </a:p>
        </p:txBody>
      </p:sp>
      <p:sp>
        <p:nvSpPr>
          <p:cNvPr id="109" name="Rectangle 108">
            <a:extLst>
              <a:ext uri="{FF2B5EF4-FFF2-40B4-BE49-F238E27FC236}">
                <a16:creationId xmlns:a16="http://schemas.microsoft.com/office/drawing/2014/main" id="{54406393-92B1-4468-B3ED-79C4139CA376}"/>
              </a:ext>
            </a:extLst>
          </p:cNvPr>
          <p:cNvSpPr/>
          <p:nvPr/>
        </p:nvSpPr>
        <p:spPr>
          <a:xfrm>
            <a:off x="1264715" y="5612396"/>
            <a:ext cx="3590030" cy="338554"/>
          </a:xfrm>
          <a:prstGeom prst="rect">
            <a:avLst/>
          </a:prstGeom>
        </p:spPr>
        <p:txBody>
          <a:bodyPr wrap="square">
            <a:spAutoFit/>
          </a:bodyPr>
          <a:lstStyle/>
          <a:p>
            <a:r>
              <a:rPr lang="en-US" sz="1600" b="1" dirty="0">
                <a:solidFill>
                  <a:schemeClr val="accent6"/>
                </a:solidFill>
                <a:latin typeface="+mj-lt"/>
                <a:cs typeface="Calibri" panose="020F0502020204030204" pitchFamily="34" charset="0"/>
              </a:rPr>
              <a:t>Malicious mobile apps</a:t>
            </a:r>
          </a:p>
        </p:txBody>
      </p:sp>
      <p:sp>
        <p:nvSpPr>
          <p:cNvPr id="110" name="Rectangle 109">
            <a:extLst>
              <a:ext uri="{FF2B5EF4-FFF2-40B4-BE49-F238E27FC236}">
                <a16:creationId xmlns:a16="http://schemas.microsoft.com/office/drawing/2014/main" id="{9E2F7FF2-719F-4ECB-94CA-EFC34E916681}"/>
              </a:ext>
            </a:extLst>
          </p:cNvPr>
          <p:cNvSpPr/>
          <p:nvPr/>
        </p:nvSpPr>
        <p:spPr>
          <a:xfrm>
            <a:off x="1264715" y="3271434"/>
            <a:ext cx="3813408"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Malicious email attachments</a:t>
            </a:r>
          </a:p>
        </p:txBody>
      </p:sp>
      <p:sp>
        <p:nvSpPr>
          <p:cNvPr id="111" name="Rectangle 110">
            <a:extLst>
              <a:ext uri="{FF2B5EF4-FFF2-40B4-BE49-F238E27FC236}">
                <a16:creationId xmlns:a16="http://schemas.microsoft.com/office/drawing/2014/main" id="{6E958369-BA1D-43CC-BC06-2CF68BB505B0}"/>
              </a:ext>
            </a:extLst>
          </p:cNvPr>
          <p:cNvSpPr/>
          <p:nvPr/>
        </p:nvSpPr>
        <p:spPr>
          <a:xfrm>
            <a:off x="1264715" y="2491113"/>
            <a:ext cx="3815541" cy="338554"/>
          </a:xfrm>
          <a:prstGeom prst="rect">
            <a:avLst/>
          </a:prstGeom>
        </p:spPr>
        <p:txBody>
          <a:bodyPr wrap="square">
            <a:spAutoFit/>
          </a:bodyPr>
          <a:lstStyle/>
          <a:p>
            <a:r>
              <a:rPr lang="en-US" sz="1600" dirty="0">
                <a:solidFill>
                  <a:schemeClr val="tx1">
                    <a:lumMod val="60000"/>
                    <a:lumOff val="40000"/>
                  </a:schemeClr>
                </a:solidFill>
                <a:latin typeface="+mj-lt"/>
                <a:cs typeface="Calibri" panose="020F0502020204030204" pitchFamily="34" charset="0"/>
              </a:rPr>
              <a:t>Web downloads and links</a:t>
            </a:r>
          </a:p>
        </p:txBody>
      </p:sp>
      <p:sp>
        <p:nvSpPr>
          <p:cNvPr id="112" name="Freeform: Shape 111">
            <a:extLst>
              <a:ext uri="{FF2B5EF4-FFF2-40B4-BE49-F238E27FC236}">
                <a16:creationId xmlns:a16="http://schemas.microsoft.com/office/drawing/2014/main" id="{9CA22EAD-34EC-43B6-B1BE-0D509659BF23}"/>
              </a:ext>
            </a:extLst>
          </p:cNvPr>
          <p:cNvSpPr/>
          <p:nvPr/>
        </p:nvSpPr>
        <p:spPr>
          <a:xfrm>
            <a:off x="610819" y="2515671"/>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113" name="Freeform: Shape 112">
            <a:extLst>
              <a:ext uri="{FF2B5EF4-FFF2-40B4-BE49-F238E27FC236}">
                <a16:creationId xmlns:a16="http://schemas.microsoft.com/office/drawing/2014/main" id="{882C34CE-4269-4AB4-BA95-4C6A59935867}"/>
              </a:ext>
            </a:extLst>
          </p:cNvPr>
          <p:cNvSpPr/>
          <p:nvPr/>
        </p:nvSpPr>
        <p:spPr>
          <a:xfrm>
            <a:off x="692030" y="2468164"/>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solidFill>
            <a:schemeClr val="tx1">
              <a:lumMod val="40000"/>
              <a:lumOff val="60000"/>
            </a:schemeClr>
          </a:soli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sp>
        <p:nvSpPr>
          <p:cNvPr id="115" name="Freeform: Shape 114">
            <a:extLst>
              <a:ext uri="{FF2B5EF4-FFF2-40B4-BE49-F238E27FC236}">
                <a16:creationId xmlns:a16="http://schemas.microsoft.com/office/drawing/2014/main" id="{FA60C4E9-034E-4EDA-AE20-E4E393F939ED}"/>
              </a:ext>
            </a:extLst>
          </p:cNvPr>
          <p:cNvSpPr/>
          <p:nvPr/>
        </p:nvSpPr>
        <p:spPr>
          <a:xfrm>
            <a:off x="619568" y="3239705"/>
            <a:ext cx="390662" cy="362758"/>
          </a:xfrm>
          <a:custGeom>
            <a:avLst/>
            <a:gdLst>
              <a:gd name="connsiteX0" fmla="*/ 3585886 w 4016178"/>
              <a:gd name="connsiteY0" fmla="*/ 3729314 h 3729313"/>
              <a:gd name="connsiteX1" fmla="*/ 430301 w 4016178"/>
              <a:gd name="connsiteY1" fmla="*/ 3729314 h 3729313"/>
              <a:gd name="connsiteX2" fmla="*/ 0 w 4016178"/>
              <a:gd name="connsiteY2" fmla="*/ 3299003 h 3729313"/>
              <a:gd name="connsiteX3" fmla="*/ 0 w 4016178"/>
              <a:gd name="connsiteY3" fmla="*/ 430301 h 3729313"/>
              <a:gd name="connsiteX4" fmla="*/ 430301 w 4016178"/>
              <a:gd name="connsiteY4" fmla="*/ 0 h 3729313"/>
              <a:gd name="connsiteX5" fmla="*/ 3585877 w 4016178"/>
              <a:gd name="connsiteY5" fmla="*/ 0 h 3729313"/>
              <a:gd name="connsiteX6" fmla="*/ 4016178 w 4016178"/>
              <a:gd name="connsiteY6" fmla="*/ 430301 h 3729313"/>
              <a:gd name="connsiteX7" fmla="*/ 4016178 w 4016178"/>
              <a:gd name="connsiteY7" fmla="*/ 3299003 h 3729313"/>
              <a:gd name="connsiteX8" fmla="*/ 3585886 w 4016178"/>
              <a:gd name="connsiteY8" fmla="*/ 3729314 h 3729313"/>
              <a:gd name="connsiteX9" fmla="*/ 573738 w 4016178"/>
              <a:gd name="connsiteY9" fmla="*/ 3155566 h 3729313"/>
              <a:gd name="connsiteX10" fmla="*/ 3442440 w 4016178"/>
              <a:gd name="connsiteY10" fmla="*/ 3155566 h 3729313"/>
              <a:gd name="connsiteX11" fmla="*/ 3442440 w 4016178"/>
              <a:gd name="connsiteY11" fmla="*/ 573738 h 3729313"/>
              <a:gd name="connsiteX12" fmla="*/ 573738 w 4016178"/>
              <a:gd name="connsiteY12" fmla="*/ 573738 h 3729313"/>
              <a:gd name="connsiteX13" fmla="*/ 573738 w 4016178"/>
              <a:gd name="connsiteY13" fmla="*/ 3155566 h 37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16178" h="3729313">
                <a:moveTo>
                  <a:pt x="3585886" y="3729314"/>
                </a:moveTo>
                <a:lnTo>
                  <a:pt x="430301" y="3729314"/>
                </a:lnTo>
                <a:cubicBezTo>
                  <a:pt x="192996" y="3729314"/>
                  <a:pt x="0" y="3536318"/>
                  <a:pt x="0" y="3299003"/>
                </a:cubicBezTo>
                <a:lnTo>
                  <a:pt x="0" y="430301"/>
                </a:lnTo>
                <a:cubicBezTo>
                  <a:pt x="0" y="192986"/>
                  <a:pt x="192996" y="0"/>
                  <a:pt x="430301" y="0"/>
                </a:cubicBezTo>
                <a:lnTo>
                  <a:pt x="3585877" y="0"/>
                </a:lnTo>
                <a:cubicBezTo>
                  <a:pt x="3823192" y="0"/>
                  <a:pt x="4016178" y="192996"/>
                  <a:pt x="4016178" y="430301"/>
                </a:cubicBezTo>
                <a:lnTo>
                  <a:pt x="4016178" y="3299003"/>
                </a:lnTo>
                <a:cubicBezTo>
                  <a:pt x="4016188" y="3536318"/>
                  <a:pt x="3823192" y="3729314"/>
                  <a:pt x="3585886" y="3729314"/>
                </a:cubicBezTo>
                <a:close/>
                <a:moveTo>
                  <a:pt x="573738" y="3155566"/>
                </a:moveTo>
                <a:lnTo>
                  <a:pt x="3442440" y="3155566"/>
                </a:lnTo>
                <a:lnTo>
                  <a:pt x="3442440" y="573738"/>
                </a:lnTo>
                <a:lnTo>
                  <a:pt x="573738" y="573738"/>
                </a:lnTo>
                <a:lnTo>
                  <a:pt x="573738" y="3155566"/>
                </a:lnTo>
                <a:close/>
              </a:path>
            </a:pathLst>
          </a:custGeom>
          <a:solidFill>
            <a:schemeClr val="tx1">
              <a:lumMod val="40000"/>
              <a:lumOff val="60000"/>
            </a:schemeClr>
          </a:solidFill>
          <a:ln w="9525" cap="flat">
            <a:noFill/>
            <a:prstDash val="solid"/>
            <a:miter/>
          </a:ln>
        </p:spPr>
        <p:txBody>
          <a:bodyPr rtlCol="0" anchor="ctr"/>
          <a:lstStyle/>
          <a:p>
            <a:endParaRPr lang="en-US" dirty="0">
              <a:latin typeface="+mj-lt"/>
              <a:cs typeface="Calibri" panose="020F0502020204030204" pitchFamily="34" charset="0"/>
            </a:endParaRPr>
          </a:p>
        </p:txBody>
      </p:sp>
      <p:sp>
        <p:nvSpPr>
          <p:cNvPr id="116" name="Freeform: Shape 115">
            <a:extLst>
              <a:ext uri="{FF2B5EF4-FFF2-40B4-BE49-F238E27FC236}">
                <a16:creationId xmlns:a16="http://schemas.microsoft.com/office/drawing/2014/main" id="{F6425451-B2ED-422A-BAA7-372BFB00A46A}"/>
              </a:ext>
            </a:extLst>
          </p:cNvPr>
          <p:cNvSpPr/>
          <p:nvPr/>
        </p:nvSpPr>
        <p:spPr>
          <a:xfrm>
            <a:off x="700779" y="3192198"/>
            <a:ext cx="327884" cy="319766"/>
          </a:xfrm>
          <a:custGeom>
            <a:avLst/>
            <a:gdLst>
              <a:gd name="connsiteX0" fmla="*/ 1219242 w 3370795"/>
              <a:gd name="connsiteY0" fmla="*/ 3287339 h 3287339"/>
              <a:gd name="connsiteX1" fmla="*/ 946932 w 3370795"/>
              <a:gd name="connsiteY1" fmla="*/ 3162124 h 3287339"/>
              <a:gd name="connsiteX2" fmla="*/ 86319 w 3370795"/>
              <a:gd name="connsiteY2" fmla="*/ 2158074 h 3287339"/>
              <a:gd name="connsiteX3" fmla="*/ 125258 w 3370795"/>
              <a:gd name="connsiteY3" fmla="*/ 1652468 h 3287339"/>
              <a:gd name="connsiteX4" fmla="*/ 630940 w 3370795"/>
              <a:gd name="connsiteY4" fmla="*/ 1691340 h 3287339"/>
              <a:gd name="connsiteX5" fmla="*/ 1193563 w 3370795"/>
              <a:gd name="connsiteY5" fmla="*/ 2347698 h 3287339"/>
              <a:gd name="connsiteX6" fmla="*/ 2971737 w 3370795"/>
              <a:gd name="connsiteY6" fmla="*/ 203478 h 3287339"/>
              <a:gd name="connsiteX7" fmla="*/ 3258611 w 3370795"/>
              <a:gd name="connsiteY7" fmla="*/ 418628 h 3287339"/>
              <a:gd name="connsiteX8" fmla="*/ 1510993 w 3370795"/>
              <a:gd name="connsiteY8" fmla="*/ 3137159 h 3287339"/>
              <a:gd name="connsiteX9" fmla="*/ 1235025 w 3370795"/>
              <a:gd name="connsiteY9" fmla="*/ 3286977 h 3287339"/>
              <a:gd name="connsiteX10" fmla="*/ 1219242 w 3370795"/>
              <a:gd name="connsiteY10" fmla="*/ 3287339 h 328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795" h="3287339">
                <a:moveTo>
                  <a:pt x="1219242" y="3287339"/>
                </a:moveTo>
                <a:cubicBezTo>
                  <a:pt x="1114819" y="3287339"/>
                  <a:pt x="1015274" y="3241800"/>
                  <a:pt x="946932" y="3162124"/>
                </a:cubicBezTo>
                <a:lnTo>
                  <a:pt x="86319" y="2158074"/>
                </a:lnTo>
                <a:cubicBezTo>
                  <a:pt x="-42554" y="2007684"/>
                  <a:pt x="-25133" y="1781342"/>
                  <a:pt x="125258" y="1652468"/>
                </a:cubicBezTo>
                <a:cubicBezTo>
                  <a:pt x="275581" y="1523452"/>
                  <a:pt x="501914" y="1540873"/>
                  <a:pt x="630940" y="1691340"/>
                </a:cubicBezTo>
                <a:lnTo>
                  <a:pt x="1193563" y="2347698"/>
                </a:lnTo>
                <a:lnTo>
                  <a:pt x="2971737" y="203478"/>
                </a:lnTo>
                <a:cubicBezTo>
                  <a:pt x="3246991" y="-182075"/>
                  <a:pt x="3535084" y="31428"/>
                  <a:pt x="3258611" y="418628"/>
                </a:cubicBezTo>
                <a:lnTo>
                  <a:pt x="1510993" y="3137159"/>
                </a:lnTo>
                <a:cubicBezTo>
                  <a:pt x="1446880" y="3226875"/>
                  <a:pt x="1345105" y="3282101"/>
                  <a:pt x="1235025" y="3286977"/>
                </a:cubicBezTo>
                <a:cubicBezTo>
                  <a:pt x="1229710" y="3287196"/>
                  <a:pt x="1224481" y="3287339"/>
                  <a:pt x="1219242" y="3287339"/>
                </a:cubicBezTo>
                <a:close/>
              </a:path>
            </a:pathLst>
          </a:custGeom>
          <a:solidFill>
            <a:schemeClr val="tx1">
              <a:lumMod val="40000"/>
              <a:lumOff val="60000"/>
            </a:schemeClr>
          </a:solidFill>
          <a:ln w="12700" cap="flat">
            <a:solidFill>
              <a:schemeClr val="bg1"/>
            </a:solidFill>
            <a:prstDash val="solid"/>
            <a:miter/>
          </a:ln>
        </p:spPr>
        <p:txBody>
          <a:bodyPr rtlCol="0" anchor="ctr"/>
          <a:lstStyle/>
          <a:p>
            <a:endParaRPr lang="en-US" dirty="0">
              <a:latin typeface="+mj-lt"/>
              <a:cs typeface="Calibri" panose="020F0502020204030204" pitchFamily="34" charset="0"/>
            </a:endParaRPr>
          </a:p>
        </p:txBody>
      </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grpSp>
        <p:nvGrpSpPr>
          <p:cNvPr id="44" name="Group 43"/>
          <p:cNvGrpSpPr/>
          <p:nvPr/>
        </p:nvGrpSpPr>
        <p:grpSpPr>
          <a:xfrm>
            <a:off x="10449777" y="160338"/>
            <a:ext cx="1410774" cy="1409827"/>
            <a:chOff x="9661178" y="-197972"/>
            <a:chExt cx="2383352" cy="2613615"/>
          </a:xfrm>
        </p:grpSpPr>
        <p:pic>
          <p:nvPicPr>
            <p:cNvPr id="45" name="Picture 44"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46" name="Group 45">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47"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48"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49"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6425" y="1019814"/>
            <a:ext cx="1750908" cy="731520"/>
          </a:xfrm>
          <a:prstGeom prst="rect">
            <a:avLst/>
          </a:prstGeom>
        </p:spPr>
      </p:pic>
      <p:sp>
        <p:nvSpPr>
          <p:cNvPr id="50" name="Google Shape;1824;p15"/>
          <p:cNvSpPr txBox="1">
            <a:spLocks noGrp="1"/>
          </p:cNvSpPr>
          <p:nvPr>
            <p:ph type="title"/>
          </p:nvPr>
        </p:nvSpPr>
        <p:spPr>
          <a:xfrm>
            <a:off x="583842" y="460552"/>
            <a:ext cx="11022371" cy="546474"/>
          </a:xfrm>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MALWARE PROTECTION</a:t>
            </a:r>
            <a:endParaRPr lang="en-US" sz="3200" b="1" dirty="0">
              <a:latin typeface="+mj-lt"/>
            </a:endParaRPr>
          </a:p>
        </p:txBody>
      </p:sp>
    </p:spTree>
    <p:extLst>
      <p:ext uri="{BB962C8B-B14F-4D97-AF65-F5344CB8AC3E}">
        <p14:creationId xmlns:p14="http://schemas.microsoft.com/office/powerpoint/2010/main" val="3901787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138"/>
                                        </p:tgtEl>
                                        <p:attrNameLst>
                                          <p:attrName>style.visibility</p:attrName>
                                        </p:attrNameLst>
                                      </p:cBhvr>
                                      <p:to>
                                        <p:strVal val="visible"/>
                                      </p:to>
                                    </p:set>
                                    <p:animEffect transition="in" filter="fade">
                                      <p:cBhvr>
                                        <p:cTn id="11" dur="1000"/>
                                        <p:tgtEl>
                                          <p:spTgt spid="2138"/>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1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235"/>
        <p:cNvGrpSpPr/>
        <p:nvPr/>
      </p:nvGrpSpPr>
      <p:grpSpPr>
        <a:xfrm>
          <a:off x="0" y="0"/>
          <a:ext cx="0" cy="0"/>
          <a:chOff x="0" y="0"/>
          <a:chExt cx="0" cy="0"/>
        </a:xfrm>
      </p:grpSpPr>
      <p:sp>
        <p:nvSpPr>
          <p:cNvPr id="3" name="Date Placeholder 2" hidden="1"/>
          <p:cNvSpPr>
            <a:spLocks noGrp="1"/>
          </p:cNvSpPr>
          <p:nvPr>
            <p:ph type="dt" idx="10"/>
          </p:nvPr>
        </p:nvSpPr>
        <p:spPr/>
        <p:txBody>
          <a:bodyPr/>
          <a:lstStyle/>
          <a:p>
            <a:endParaRPr lang="en-US" dirty="0"/>
          </a:p>
        </p:txBody>
      </p:sp>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2237" name="Google Shape;2237;p20" descr="Slack - Free interface icons"/>
          <p:cNvSpPr/>
          <p:nvPr/>
        </p:nvSpPr>
        <p:spPr>
          <a:xfrm>
            <a:off x="1523518" y="-177947"/>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4000" dirty="0">
              <a:solidFill>
                <a:schemeClr val="dk1"/>
              </a:solidFill>
              <a:latin typeface="Calibri" panose="020F0502020204030204" pitchFamily="34" charset="0"/>
              <a:ea typeface="Helvetica Neue"/>
              <a:cs typeface="Calibri" panose="020F0502020204030204" pitchFamily="34" charset="0"/>
              <a:sym typeface="Helvetica Neue"/>
            </a:endParaRPr>
          </a:p>
        </p:txBody>
      </p:sp>
      <p:cxnSp>
        <p:nvCxnSpPr>
          <p:cNvPr id="2240" name="Google Shape;2240;p20"/>
          <p:cNvCxnSpPr>
            <a:cxnSpLocks/>
          </p:cNvCxnSpPr>
          <p:nvPr/>
        </p:nvCxnSpPr>
        <p:spPr>
          <a:xfrm flipH="1">
            <a:off x="1675918" y="4317027"/>
            <a:ext cx="7920000" cy="0"/>
          </a:xfrm>
          <a:prstGeom prst="straightConnector1">
            <a:avLst/>
          </a:prstGeom>
          <a:solidFill>
            <a:schemeClr val="lt1"/>
          </a:solidFill>
          <a:ln w="12700" cap="flat" cmpd="sng">
            <a:solidFill>
              <a:schemeClr val="tx1">
                <a:lumMod val="40000"/>
                <a:lumOff val="60000"/>
              </a:schemeClr>
            </a:solidFill>
            <a:prstDash val="solid"/>
            <a:round/>
            <a:headEnd type="none" w="sm" len="sm"/>
            <a:tailEnd type="none" w="sm" len="sm"/>
          </a:ln>
        </p:spPr>
      </p:cxnSp>
      <p:grpSp>
        <p:nvGrpSpPr>
          <p:cNvPr id="2272" name="Google Shape;2272;p20"/>
          <p:cNvGrpSpPr/>
          <p:nvPr/>
        </p:nvGrpSpPr>
        <p:grpSpPr>
          <a:xfrm>
            <a:off x="10265846" y="2588674"/>
            <a:ext cx="1443237" cy="1326219"/>
            <a:chOff x="5797009" y="3788939"/>
            <a:chExt cx="1443237" cy="1326219"/>
          </a:xfrm>
        </p:grpSpPr>
        <p:sp>
          <p:nvSpPr>
            <p:cNvPr id="2273" name="Google Shape;2273;p20"/>
            <p:cNvSpPr/>
            <p:nvPr/>
          </p:nvSpPr>
          <p:spPr>
            <a:xfrm>
              <a:off x="5902859" y="3788939"/>
              <a:ext cx="965392" cy="849619"/>
            </a:xfrm>
            <a:custGeom>
              <a:avLst/>
              <a:gdLst/>
              <a:ahLst/>
              <a:cxnLst/>
              <a:rect l="l" t="t" r="r" b="b"/>
              <a:pathLst>
                <a:path w="2633711" h="2644040" extrusionOk="0">
                  <a:moveTo>
                    <a:pt x="0" y="0"/>
                  </a:moveTo>
                  <a:lnTo>
                    <a:pt x="0" y="2644040"/>
                  </a:lnTo>
                  <a:lnTo>
                    <a:pt x="444116" y="2644040"/>
                  </a:lnTo>
                  <a:lnTo>
                    <a:pt x="444116" y="2452967"/>
                  </a:lnTo>
                  <a:cubicBezTo>
                    <a:pt x="444116" y="2438729"/>
                    <a:pt x="455699" y="2427146"/>
                    <a:pt x="469937" y="2427146"/>
                  </a:cubicBezTo>
                  <a:lnTo>
                    <a:pt x="924381" y="2427146"/>
                  </a:lnTo>
                  <a:cubicBezTo>
                    <a:pt x="938619" y="2427146"/>
                    <a:pt x="950202" y="2438729"/>
                    <a:pt x="950202" y="2452967"/>
                  </a:cubicBezTo>
                  <a:lnTo>
                    <a:pt x="950202" y="2644040"/>
                  </a:lnTo>
                  <a:lnTo>
                    <a:pt x="1683510" y="2644040"/>
                  </a:lnTo>
                  <a:lnTo>
                    <a:pt x="1683510" y="2452967"/>
                  </a:lnTo>
                  <a:cubicBezTo>
                    <a:pt x="1683510" y="2438729"/>
                    <a:pt x="1695093" y="2427146"/>
                    <a:pt x="1709331" y="2427146"/>
                  </a:cubicBezTo>
                  <a:lnTo>
                    <a:pt x="2163775" y="2427146"/>
                  </a:lnTo>
                  <a:cubicBezTo>
                    <a:pt x="2178013" y="2427146"/>
                    <a:pt x="2189596" y="2438729"/>
                    <a:pt x="2189596" y="2452967"/>
                  </a:cubicBezTo>
                  <a:lnTo>
                    <a:pt x="2189596" y="2644040"/>
                  </a:lnTo>
                  <a:lnTo>
                    <a:pt x="2633712" y="2644040"/>
                  </a:lnTo>
                  <a:lnTo>
                    <a:pt x="2633712" y="0"/>
                  </a:lnTo>
                  <a:lnTo>
                    <a:pt x="0" y="0"/>
                  </a:lnTo>
                  <a:close/>
                </a:path>
              </a:pathLst>
            </a:custGeom>
            <a:solidFill>
              <a:srgbClr val="F2F2F2"/>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pic>
          <p:nvPicPr>
            <p:cNvPr id="2274" name="Google Shape;2274;p20" descr="Citrix SD-WAN and Check Point | Check Point Software"/>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097509" y="4314306"/>
              <a:ext cx="592115" cy="223581"/>
            </a:xfrm>
            <a:prstGeom prst="rect">
              <a:avLst/>
            </a:prstGeom>
            <a:noFill/>
            <a:ln>
              <a:noFill/>
            </a:ln>
          </p:spPr>
        </p:pic>
        <p:pic>
          <p:nvPicPr>
            <p:cNvPr id="2275" name="Google Shape;2275;p20" descr="Remote Desktop 8 - Apps on Google Play"/>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6484711" y="3967065"/>
              <a:ext cx="265741" cy="268566"/>
            </a:xfrm>
            <a:prstGeom prst="ellipse">
              <a:avLst/>
            </a:prstGeom>
            <a:noFill/>
            <a:ln>
              <a:noFill/>
            </a:ln>
          </p:spPr>
        </p:pic>
        <p:pic>
          <p:nvPicPr>
            <p:cNvPr id="2276" name="Google Shape;2276;p20"/>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036258" y="3907975"/>
              <a:ext cx="332610" cy="336145"/>
            </a:xfrm>
            <a:prstGeom prst="rect">
              <a:avLst/>
            </a:prstGeom>
            <a:noFill/>
            <a:ln>
              <a:noFill/>
            </a:ln>
          </p:spPr>
        </p:pic>
        <p:sp>
          <p:nvSpPr>
            <p:cNvPr id="2277" name="Google Shape;2277;p20"/>
            <p:cNvSpPr/>
            <p:nvPr/>
          </p:nvSpPr>
          <p:spPr>
            <a:xfrm>
              <a:off x="5797009" y="4639143"/>
              <a:ext cx="1443237" cy="476015"/>
            </a:xfrm>
            <a:prstGeom prst="roundRect">
              <a:avLst>
                <a:gd name="adj" fmla="val 50000"/>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1600" b="1" dirty="0">
                  <a:solidFill>
                    <a:schemeClr val="dk1"/>
                  </a:solidFill>
                  <a:latin typeface="+mj-lt"/>
                  <a:cs typeface="Calibri" panose="020F0502020204030204" pitchFamily="34" charset="0"/>
                  <a:sym typeface="Arial"/>
                </a:rPr>
                <a:t>Data Center </a:t>
              </a:r>
              <a:endParaRPr sz="1800" dirty="0">
                <a:latin typeface="+mj-lt"/>
                <a:cs typeface="Calibri" panose="020F0502020204030204" pitchFamily="34" charset="0"/>
              </a:endParaRPr>
            </a:p>
          </p:txBody>
        </p:sp>
      </p:grpSp>
      <p:grpSp>
        <p:nvGrpSpPr>
          <p:cNvPr id="2278" name="Google Shape;2278;p20"/>
          <p:cNvGrpSpPr/>
          <p:nvPr/>
        </p:nvGrpSpPr>
        <p:grpSpPr>
          <a:xfrm>
            <a:off x="10195853" y="4221521"/>
            <a:ext cx="1494880" cy="1290777"/>
            <a:chOff x="10429933" y="4878102"/>
            <a:chExt cx="1494880" cy="1290777"/>
          </a:xfrm>
        </p:grpSpPr>
        <p:grpSp>
          <p:nvGrpSpPr>
            <p:cNvPr id="2279" name="Google Shape;2279;p20"/>
            <p:cNvGrpSpPr/>
            <p:nvPr/>
          </p:nvGrpSpPr>
          <p:grpSpPr>
            <a:xfrm>
              <a:off x="10429933" y="4878102"/>
              <a:ext cx="1492835" cy="1290777"/>
              <a:chOff x="11263288" y="5863220"/>
              <a:chExt cx="1492835" cy="1290777"/>
            </a:xfrm>
          </p:grpSpPr>
          <p:sp>
            <p:nvSpPr>
              <p:cNvPr id="2280" name="Google Shape;2280;p20"/>
              <p:cNvSpPr/>
              <p:nvPr/>
            </p:nvSpPr>
            <p:spPr>
              <a:xfrm>
                <a:off x="11263288" y="5863220"/>
                <a:ext cx="1492835" cy="900000"/>
              </a:xfrm>
              <a:custGeom>
                <a:avLst/>
                <a:gdLst/>
                <a:ahLst/>
                <a:cxnLst/>
                <a:rect l="l" t="t" r="r" b="b"/>
                <a:pathLst>
                  <a:path w="3489327" h="2150132" extrusionOk="0">
                    <a:moveTo>
                      <a:pt x="1760778" y="0"/>
                    </a:moveTo>
                    <a:cubicBezTo>
                      <a:pt x="2236609" y="0"/>
                      <a:pt x="2633608" y="242061"/>
                      <a:pt x="2725423" y="563850"/>
                    </a:cubicBezTo>
                    <a:lnTo>
                      <a:pt x="2741339" y="677077"/>
                    </a:lnTo>
                    <a:lnTo>
                      <a:pt x="2911333" y="718620"/>
                    </a:lnTo>
                    <a:cubicBezTo>
                      <a:pt x="3250996" y="831722"/>
                      <a:pt x="3489327" y="1096500"/>
                      <a:pt x="3489327" y="1405102"/>
                    </a:cubicBezTo>
                    <a:cubicBezTo>
                      <a:pt x="3489327" y="1816571"/>
                      <a:pt x="3065627" y="2150132"/>
                      <a:pt x="2542967" y="2150132"/>
                    </a:cubicBezTo>
                    <a:lnTo>
                      <a:pt x="2483399" y="2147764"/>
                    </a:lnTo>
                    <a:lnTo>
                      <a:pt x="2459918" y="2150131"/>
                    </a:lnTo>
                    <a:lnTo>
                      <a:pt x="946385" y="2150131"/>
                    </a:lnTo>
                    <a:lnTo>
                      <a:pt x="946360" y="2150132"/>
                    </a:lnTo>
                    <a:lnTo>
                      <a:pt x="946335" y="2150131"/>
                    </a:lnTo>
                    <a:lnTo>
                      <a:pt x="939854" y="2150131"/>
                    </a:lnTo>
                    <a:lnTo>
                      <a:pt x="935634" y="2149706"/>
                    </a:lnTo>
                    <a:lnTo>
                      <a:pt x="849600" y="2146286"/>
                    </a:lnTo>
                    <a:cubicBezTo>
                      <a:pt x="372393" y="2108133"/>
                      <a:pt x="0" y="1790854"/>
                      <a:pt x="0" y="1405102"/>
                    </a:cubicBezTo>
                    <a:cubicBezTo>
                      <a:pt x="0" y="1067569"/>
                      <a:pt x="285113" y="782461"/>
                      <a:pt x="676083" y="690899"/>
                    </a:cubicBezTo>
                    <a:lnTo>
                      <a:pt x="780558" y="674654"/>
                    </a:lnTo>
                    <a:lnTo>
                      <a:pt x="796133" y="563850"/>
                    </a:lnTo>
                    <a:cubicBezTo>
                      <a:pt x="887948" y="242061"/>
                      <a:pt x="1284947" y="0"/>
                      <a:pt x="1760778" y="0"/>
                    </a:cubicBezTo>
                    <a:close/>
                  </a:path>
                </a:pathLst>
              </a:custGeom>
              <a:solidFill>
                <a:srgbClr val="F2F2F2"/>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3200" dirty="0">
                  <a:solidFill>
                    <a:schemeClr val="dk1"/>
                  </a:solidFill>
                  <a:latin typeface="+mj-lt"/>
                  <a:ea typeface="Calibri"/>
                  <a:cs typeface="Calibri" panose="020F0502020204030204" pitchFamily="34" charset="0"/>
                  <a:sym typeface="Calibri"/>
                </a:endParaRPr>
              </a:p>
            </p:txBody>
          </p:sp>
          <p:sp>
            <p:nvSpPr>
              <p:cNvPr id="2281" name="Google Shape;2281;p20"/>
              <p:cNvSpPr/>
              <p:nvPr/>
            </p:nvSpPr>
            <p:spPr>
              <a:xfrm>
                <a:off x="11273769" y="6677982"/>
                <a:ext cx="1443237" cy="476015"/>
              </a:xfrm>
              <a:prstGeom prst="roundRect">
                <a:avLst>
                  <a:gd name="adj" fmla="val 50000"/>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1600" b="1" dirty="0">
                    <a:solidFill>
                      <a:schemeClr val="dk1"/>
                    </a:solidFill>
                    <a:latin typeface="+mj-lt"/>
                    <a:cs typeface="Calibri" panose="020F0502020204030204" pitchFamily="34" charset="0"/>
                    <a:sym typeface="Arial"/>
                  </a:rPr>
                  <a:t>IaaS</a:t>
                </a:r>
                <a:endParaRPr sz="1800" dirty="0">
                  <a:latin typeface="+mj-lt"/>
                  <a:cs typeface="Calibri" panose="020F0502020204030204" pitchFamily="34" charset="0"/>
                </a:endParaRPr>
              </a:p>
            </p:txBody>
          </p:sp>
        </p:grpSp>
        <p:pic>
          <p:nvPicPr>
            <p:cNvPr id="2282" name="Google Shape;2282;p20"/>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594499" y="5357748"/>
              <a:ext cx="250614" cy="270934"/>
            </a:xfrm>
            <a:prstGeom prst="rect">
              <a:avLst/>
            </a:prstGeom>
            <a:noFill/>
            <a:ln>
              <a:noFill/>
            </a:ln>
          </p:spPr>
        </p:pic>
        <p:pic>
          <p:nvPicPr>
            <p:cNvPr id="2283" name="Google Shape;2283;p20"/>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1028487" y="5253318"/>
              <a:ext cx="295728" cy="407448"/>
            </a:xfrm>
            <a:prstGeom prst="rect">
              <a:avLst/>
            </a:prstGeom>
            <a:noFill/>
            <a:ln>
              <a:noFill/>
            </a:ln>
          </p:spPr>
        </p:pic>
        <p:pic>
          <p:nvPicPr>
            <p:cNvPr id="2284" name="Google Shape;2284;p20" descr="NETCB - Networking Collaboration Business - Splunk"/>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11371409" y="5311376"/>
              <a:ext cx="553404" cy="349390"/>
            </a:xfrm>
            <a:prstGeom prst="rect">
              <a:avLst/>
            </a:prstGeom>
            <a:noFill/>
            <a:ln>
              <a:noFill/>
            </a:ln>
          </p:spPr>
        </p:pic>
      </p:grpSp>
      <p:cxnSp>
        <p:nvCxnSpPr>
          <p:cNvPr id="2285" name="Google Shape;2285;p20"/>
          <p:cNvCxnSpPr/>
          <p:nvPr/>
        </p:nvCxnSpPr>
        <p:spPr>
          <a:xfrm>
            <a:off x="9802813" y="2136789"/>
            <a:ext cx="0" cy="3815571"/>
          </a:xfrm>
          <a:prstGeom prst="straightConnector1">
            <a:avLst/>
          </a:prstGeom>
          <a:solidFill>
            <a:schemeClr val="lt1"/>
          </a:solidFill>
          <a:ln w="12700" cap="rnd" cmpd="sng">
            <a:solidFill>
              <a:schemeClr val="tx1">
                <a:lumMod val="40000"/>
                <a:lumOff val="60000"/>
              </a:schemeClr>
            </a:solidFill>
            <a:prstDash val="solid"/>
            <a:round/>
            <a:headEnd type="none" w="sm" len="sm"/>
            <a:tailEnd type="none" w="sm" len="sm"/>
          </a:ln>
        </p:spPr>
      </p:cxnSp>
      <p:grpSp>
        <p:nvGrpSpPr>
          <p:cNvPr id="64" name="Google Shape;458;p8"/>
          <p:cNvGrpSpPr/>
          <p:nvPr/>
        </p:nvGrpSpPr>
        <p:grpSpPr>
          <a:xfrm>
            <a:off x="621364" y="2944133"/>
            <a:ext cx="656862" cy="663844"/>
            <a:chOff x="5082669" y="3514020"/>
            <a:chExt cx="1192320" cy="1192320"/>
          </a:xfrm>
        </p:grpSpPr>
        <p:sp>
          <p:nvSpPr>
            <p:cNvPr id="72" name="Google Shape;459;p8"/>
            <p:cNvSpPr/>
            <p:nvPr/>
          </p:nvSpPr>
          <p:spPr>
            <a:xfrm>
              <a:off x="5082669" y="3514020"/>
              <a:ext cx="1192320" cy="1192320"/>
            </a:xfrm>
            <a:custGeom>
              <a:avLst/>
              <a:gdLst/>
              <a:ahLst/>
              <a:cxnLst/>
              <a:rect l="l" t="t" r="r" b="b"/>
              <a:pathLst>
                <a:path w="1192320" h="1192320" extrusionOk="0">
                  <a:moveTo>
                    <a:pt x="1192320" y="596160"/>
                  </a:moveTo>
                  <a:cubicBezTo>
                    <a:pt x="1192320" y="925410"/>
                    <a:pt x="925410" y="1192320"/>
                    <a:pt x="596160" y="1192320"/>
                  </a:cubicBezTo>
                  <a:cubicBezTo>
                    <a:pt x="266910" y="1192320"/>
                    <a:pt x="0" y="925410"/>
                    <a:pt x="0" y="596160"/>
                  </a:cubicBezTo>
                  <a:cubicBezTo>
                    <a:pt x="0" y="266910"/>
                    <a:pt x="266910" y="0"/>
                    <a:pt x="596160" y="0"/>
                  </a:cubicBezTo>
                  <a:cubicBezTo>
                    <a:pt x="925410" y="0"/>
                    <a:pt x="1192320" y="266910"/>
                    <a:pt x="1192320" y="596160"/>
                  </a:cubicBezTo>
                  <a:close/>
                </a:path>
              </a:pathLst>
            </a:custGeom>
            <a:solidFill>
              <a:srgbClr val="F360A1"/>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3" name="Google Shape;460;p8"/>
            <p:cNvSpPr/>
            <p:nvPr/>
          </p:nvSpPr>
          <p:spPr>
            <a:xfrm>
              <a:off x="5337279" y="3876177"/>
              <a:ext cx="928966" cy="829530"/>
            </a:xfrm>
            <a:custGeom>
              <a:avLst/>
              <a:gdLst/>
              <a:ahLst/>
              <a:cxnLst/>
              <a:rect l="l" t="t" r="r" b="b"/>
              <a:pathLst>
                <a:path w="928966" h="829530" extrusionOk="0">
                  <a:moveTo>
                    <a:pt x="928966" y="335289"/>
                  </a:moveTo>
                  <a:lnTo>
                    <a:pt x="600010" y="6334"/>
                  </a:lnTo>
                  <a:cubicBezTo>
                    <a:pt x="596657" y="2484"/>
                    <a:pt x="591813" y="0"/>
                    <a:pt x="586224" y="0"/>
                  </a:cubicBezTo>
                  <a:lnTo>
                    <a:pt x="96876" y="0"/>
                  </a:lnTo>
                  <a:cubicBezTo>
                    <a:pt x="86692" y="0"/>
                    <a:pt x="78619" y="8197"/>
                    <a:pt x="78619" y="18257"/>
                  </a:cubicBezTo>
                  <a:lnTo>
                    <a:pt x="78619" y="340060"/>
                  </a:lnTo>
                  <a:lnTo>
                    <a:pt x="78494" y="340060"/>
                  </a:lnTo>
                  <a:lnTo>
                    <a:pt x="0" y="441532"/>
                  </a:lnTo>
                  <a:lnTo>
                    <a:pt x="0" y="459914"/>
                  </a:lnTo>
                  <a:cubicBezTo>
                    <a:pt x="0" y="461776"/>
                    <a:pt x="621" y="463513"/>
                    <a:pt x="1863" y="464881"/>
                  </a:cubicBezTo>
                  <a:lnTo>
                    <a:pt x="3478" y="466618"/>
                  </a:lnTo>
                  <a:lnTo>
                    <a:pt x="3726" y="466742"/>
                  </a:lnTo>
                  <a:lnTo>
                    <a:pt x="366514" y="829531"/>
                  </a:lnTo>
                  <a:cubicBezTo>
                    <a:pt x="649973" y="817841"/>
                    <a:pt x="882215" y="608287"/>
                    <a:pt x="928966" y="335289"/>
                  </a:cubicBezTo>
                  <a:close/>
                </a:path>
              </a:pathLst>
            </a:custGeom>
            <a:solidFill>
              <a:srgbClr val="000000">
                <a:alpha val="9803"/>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grpSp>
          <p:nvGrpSpPr>
            <p:cNvPr id="74" name="Google Shape;461;p8"/>
            <p:cNvGrpSpPr/>
            <p:nvPr/>
          </p:nvGrpSpPr>
          <p:grpSpPr>
            <a:xfrm>
              <a:off x="5199221" y="3725340"/>
              <a:ext cx="975623" cy="668244"/>
              <a:chOff x="5337279" y="3876238"/>
              <a:chExt cx="683100" cy="467883"/>
            </a:xfrm>
          </p:grpSpPr>
          <p:sp>
            <p:nvSpPr>
              <p:cNvPr id="75" name="Google Shape;462;p8"/>
              <p:cNvSpPr/>
              <p:nvPr/>
            </p:nvSpPr>
            <p:spPr>
              <a:xfrm>
                <a:off x="5337279" y="4317708"/>
                <a:ext cx="683100" cy="26413"/>
              </a:xfrm>
              <a:custGeom>
                <a:avLst/>
                <a:gdLst/>
                <a:ahLst/>
                <a:cxnLst/>
                <a:rect l="l" t="t" r="r" b="b"/>
                <a:pathLst>
                  <a:path w="683100" h="26413" extrusionOk="0">
                    <a:moveTo>
                      <a:pt x="0" y="0"/>
                    </a:moveTo>
                    <a:lnTo>
                      <a:pt x="0" y="18415"/>
                    </a:lnTo>
                    <a:cubicBezTo>
                      <a:pt x="0" y="22832"/>
                      <a:pt x="3581" y="26414"/>
                      <a:pt x="7998" y="26414"/>
                    </a:cubicBezTo>
                    <a:lnTo>
                      <a:pt x="675102" y="26414"/>
                    </a:lnTo>
                    <a:cubicBezTo>
                      <a:pt x="679519" y="26414"/>
                      <a:pt x="683100" y="22832"/>
                      <a:pt x="683100" y="18415"/>
                    </a:cubicBezTo>
                    <a:lnTo>
                      <a:pt x="683100" y="0"/>
                    </a:lnTo>
                    <a:lnTo>
                      <a:pt x="0" y="0"/>
                    </a:lnTo>
                    <a:close/>
                  </a:path>
                </a:pathLst>
              </a:custGeom>
              <a:solidFill>
                <a:srgbClr val="D5D6D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6" name="Google Shape;463;p8"/>
              <p:cNvSpPr/>
              <p:nvPr/>
            </p:nvSpPr>
            <p:spPr>
              <a:xfrm>
                <a:off x="5337279" y="4216245"/>
                <a:ext cx="683100" cy="101462"/>
              </a:xfrm>
              <a:custGeom>
                <a:avLst/>
                <a:gdLst/>
                <a:ahLst/>
                <a:cxnLst/>
                <a:rect l="l" t="t" r="r" b="b"/>
                <a:pathLst>
                  <a:path w="683100" h="101462" extrusionOk="0">
                    <a:moveTo>
                      <a:pt x="604624" y="0"/>
                    </a:moveTo>
                    <a:lnTo>
                      <a:pt x="78476" y="0"/>
                    </a:lnTo>
                    <a:lnTo>
                      <a:pt x="0" y="101463"/>
                    </a:lnTo>
                    <a:lnTo>
                      <a:pt x="683100" y="101463"/>
                    </a:lnTo>
                    <a:close/>
                  </a:path>
                </a:pathLst>
              </a:custGeom>
              <a:solidFill>
                <a:srgbClr val="EBF0F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7" name="Google Shape;464;p8"/>
              <p:cNvSpPr/>
              <p:nvPr/>
            </p:nvSpPr>
            <p:spPr>
              <a:xfrm>
                <a:off x="5415860" y="3876238"/>
                <a:ext cx="525937" cy="340007"/>
              </a:xfrm>
              <a:custGeom>
                <a:avLst/>
                <a:gdLst/>
                <a:ahLst/>
                <a:cxnLst/>
                <a:rect l="l" t="t" r="r" b="b"/>
                <a:pathLst>
                  <a:path w="525937" h="340007" extrusionOk="0">
                    <a:moveTo>
                      <a:pt x="507687" y="0"/>
                    </a:moveTo>
                    <a:lnTo>
                      <a:pt x="18250" y="0"/>
                    </a:lnTo>
                    <a:cubicBezTo>
                      <a:pt x="8171" y="0"/>
                      <a:pt x="0" y="8171"/>
                      <a:pt x="0" y="18249"/>
                    </a:cubicBezTo>
                    <a:lnTo>
                      <a:pt x="0" y="340007"/>
                    </a:lnTo>
                    <a:lnTo>
                      <a:pt x="525937" y="340007"/>
                    </a:lnTo>
                    <a:lnTo>
                      <a:pt x="525937" y="18249"/>
                    </a:lnTo>
                    <a:cubicBezTo>
                      <a:pt x="525937" y="8171"/>
                      <a:pt x="517766" y="0"/>
                      <a:pt x="507687" y="0"/>
                    </a:cubicBezTo>
                    <a:close/>
                  </a:path>
                </a:pathLst>
              </a:custGeom>
              <a:solidFill>
                <a:srgbClr val="3A556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8" name="Google Shape;465;p8"/>
              <p:cNvSpPr/>
              <p:nvPr/>
            </p:nvSpPr>
            <p:spPr>
              <a:xfrm>
                <a:off x="5453121" y="3913498"/>
                <a:ext cx="451413" cy="265489"/>
              </a:xfrm>
              <a:custGeom>
                <a:avLst/>
                <a:gdLst/>
                <a:ahLst/>
                <a:cxnLst/>
                <a:rect l="l" t="t" r="r" b="b"/>
                <a:pathLst>
                  <a:path w="451413" h="265489" extrusionOk="0">
                    <a:moveTo>
                      <a:pt x="0" y="0"/>
                    </a:moveTo>
                    <a:lnTo>
                      <a:pt x="451414" y="0"/>
                    </a:lnTo>
                    <a:lnTo>
                      <a:pt x="451414" y="265490"/>
                    </a:lnTo>
                    <a:lnTo>
                      <a:pt x="0" y="26549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9" name="Google Shape;466;p8"/>
              <p:cNvSpPr/>
              <p:nvPr/>
            </p:nvSpPr>
            <p:spPr>
              <a:xfrm>
                <a:off x="5641560" y="3913498"/>
                <a:ext cx="262976" cy="265489"/>
              </a:xfrm>
              <a:custGeom>
                <a:avLst/>
                <a:gdLst/>
                <a:ahLst/>
                <a:cxnLst/>
                <a:rect l="l" t="t" r="r" b="b"/>
                <a:pathLst>
                  <a:path w="262976" h="265489" extrusionOk="0">
                    <a:moveTo>
                      <a:pt x="262976" y="0"/>
                    </a:moveTo>
                    <a:lnTo>
                      <a:pt x="0" y="0"/>
                    </a:lnTo>
                    <a:lnTo>
                      <a:pt x="155041" y="265490"/>
                    </a:lnTo>
                    <a:lnTo>
                      <a:pt x="262976" y="26549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0" name="Google Shape;467;p8"/>
              <p:cNvSpPr/>
              <p:nvPr/>
            </p:nvSpPr>
            <p:spPr>
              <a:xfrm>
                <a:off x="5426881" y="4221563"/>
                <a:ext cx="43785" cy="5806"/>
              </a:xfrm>
              <a:custGeom>
                <a:avLst/>
                <a:gdLst/>
                <a:ahLst/>
                <a:cxnLst/>
                <a:rect l="l" t="t" r="r" b="b"/>
                <a:pathLst>
                  <a:path w="43785" h="5806" extrusionOk="0">
                    <a:moveTo>
                      <a:pt x="40099" y="5806"/>
                    </a:moveTo>
                    <a:lnTo>
                      <a:pt x="0" y="5806"/>
                    </a:lnTo>
                    <a:lnTo>
                      <a:pt x="4386" y="0"/>
                    </a:lnTo>
                    <a:lnTo>
                      <a:pt x="43785"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1" name="Google Shape;468;p8"/>
              <p:cNvSpPr/>
              <p:nvPr/>
            </p:nvSpPr>
            <p:spPr>
              <a:xfrm>
                <a:off x="5500635" y="4221563"/>
                <a:ext cx="42498" cy="5806"/>
              </a:xfrm>
              <a:custGeom>
                <a:avLst/>
                <a:gdLst/>
                <a:ahLst/>
                <a:cxnLst/>
                <a:rect l="l" t="t" r="r" b="b"/>
                <a:pathLst>
                  <a:path w="42498" h="5806" extrusionOk="0">
                    <a:moveTo>
                      <a:pt x="40100" y="5806"/>
                    </a:moveTo>
                    <a:lnTo>
                      <a:pt x="0" y="5806"/>
                    </a:lnTo>
                    <a:lnTo>
                      <a:pt x="3099" y="0"/>
                    </a:lnTo>
                    <a:lnTo>
                      <a:pt x="42499"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2" name="Google Shape;469;p8"/>
              <p:cNvSpPr/>
              <p:nvPr/>
            </p:nvSpPr>
            <p:spPr>
              <a:xfrm>
                <a:off x="5551476" y="4221563"/>
                <a:ext cx="41610" cy="5806"/>
              </a:xfrm>
              <a:custGeom>
                <a:avLst/>
                <a:gdLst/>
                <a:ahLst/>
                <a:cxnLst/>
                <a:rect l="l" t="t" r="r" b="b"/>
                <a:pathLst>
                  <a:path w="41610" h="5806" extrusionOk="0">
                    <a:moveTo>
                      <a:pt x="40099" y="5806"/>
                    </a:moveTo>
                    <a:lnTo>
                      <a:pt x="0" y="5806"/>
                    </a:lnTo>
                    <a:lnTo>
                      <a:pt x="2211" y="0"/>
                    </a:lnTo>
                    <a:lnTo>
                      <a:pt x="41611"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3" name="Google Shape;470;p8"/>
              <p:cNvSpPr/>
              <p:nvPr/>
            </p:nvSpPr>
            <p:spPr>
              <a:xfrm>
                <a:off x="5602316" y="4221563"/>
                <a:ext cx="40723" cy="5806"/>
              </a:xfrm>
              <a:custGeom>
                <a:avLst/>
                <a:gdLst/>
                <a:ahLst/>
                <a:cxnLst/>
                <a:rect l="l" t="t" r="r" b="b"/>
                <a:pathLst>
                  <a:path w="40723" h="5806" extrusionOk="0">
                    <a:moveTo>
                      <a:pt x="40099" y="5806"/>
                    </a:moveTo>
                    <a:lnTo>
                      <a:pt x="0" y="5806"/>
                    </a:lnTo>
                    <a:lnTo>
                      <a:pt x="1324" y="0"/>
                    </a:lnTo>
                    <a:lnTo>
                      <a:pt x="40724"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4" name="Google Shape;471;p8"/>
              <p:cNvSpPr/>
              <p:nvPr/>
            </p:nvSpPr>
            <p:spPr>
              <a:xfrm>
                <a:off x="5653156" y="4221563"/>
                <a:ext cx="40100" cy="5806"/>
              </a:xfrm>
              <a:custGeom>
                <a:avLst/>
                <a:gdLst/>
                <a:ahLst/>
                <a:cxnLst/>
                <a:rect l="l" t="t" r="r" b="b"/>
                <a:pathLst>
                  <a:path w="40100" h="5806" extrusionOk="0">
                    <a:moveTo>
                      <a:pt x="40100" y="5806"/>
                    </a:moveTo>
                    <a:lnTo>
                      <a:pt x="0" y="5806"/>
                    </a:lnTo>
                    <a:lnTo>
                      <a:pt x="438" y="0"/>
                    </a:lnTo>
                    <a:lnTo>
                      <a:pt x="39837"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5" name="Google Shape;472;p8"/>
              <p:cNvSpPr/>
              <p:nvPr/>
            </p:nvSpPr>
            <p:spPr>
              <a:xfrm>
                <a:off x="5735912" y="4221563"/>
                <a:ext cx="41123" cy="5806"/>
              </a:xfrm>
              <a:custGeom>
                <a:avLst/>
                <a:gdLst/>
                <a:ahLst/>
                <a:cxnLst/>
                <a:rect l="l" t="t" r="r" b="b"/>
                <a:pathLst>
                  <a:path w="41123" h="5806" extrusionOk="0">
                    <a:moveTo>
                      <a:pt x="41124" y="5806"/>
                    </a:moveTo>
                    <a:lnTo>
                      <a:pt x="1025" y="5806"/>
                    </a:lnTo>
                    <a:lnTo>
                      <a:pt x="0" y="0"/>
                    </a:lnTo>
                    <a:lnTo>
                      <a:pt x="39399"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6" name="Google Shape;473;p8"/>
              <p:cNvSpPr/>
              <p:nvPr/>
            </p:nvSpPr>
            <p:spPr>
              <a:xfrm>
                <a:off x="5785865" y="4221563"/>
                <a:ext cx="42010" cy="5806"/>
              </a:xfrm>
              <a:custGeom>
                <a:avLst/>
                <a:gdLst/>
                <a:ahLst/>
                <a:cxnLst/>
                <a:rect l="l" t="t" r="r" b="b"/>
                <a:pathLst>
                  <a:path w="42010" h="5806" extrusionOk="0">
                    <a:moveTo>
                      <a:pt x="42011" y="5806"/>
                    </a:moveTo>
                    <a:lnTo>
                      <a:pt x="1911" y="5806"/>
                    </a:lnTo>
                    <a:lnTo>
                      <a:pt x="0" y="0"/>
                    </a:lnTo>
                    <a:lnTo>
                      <a:pt x="39400"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7" name="Google Shape;474;p8"/>
              <p:cNvSpPr/>
              <p:nvPr/>
            </p:nvSpPr>
            <p:spPr>
              <a:xfrm>
                <a:off x="5835819" y="4221563"/>
                <a:ext cx="42898" cy="5806"/>
              </a:xfrm>
              <a:custGeom>
                <a:avLst/>
                <a:gdLst/>
                <a:ahLst/>
                <a:cxnLst/>
                <a:rect l="l" t="t" r="r" b="b"/>
                <a:pathLst>
                  <a:path w="42898" h="5806" extrusionOk="0">
                    <a:moveTo>
                      <a:pt x="42899" y="5806"/>
                    </a:moveTo>
                    <a:lnTo>
                      <a:pt x="2798" y="5806"/>
                    </a:lnTo>
                    <a:lnTo>
                      <a:pt x="0" y="0"/>
                    </a:lnTo>
                    <a:lnTo>
                      <a:pt x="39400"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8" name="Google Shape;475;p8"/>
              <p:cNvSpPr/>
              <p:nvPr/>
            </p:nvSpPr>
            <p:spPr>
              <a:xfrm>
                <a:off x="5885772" y="4221563"/>
                <a:ext cx="43785" cy="5806"/>
              </a:xfrm>
              <a:custGeom>
                <a:avLst/>
                <a:gdLst/>
                <a:ahLst/>
                <a:cxnLst/>
                <a:rect l="l" t="t" r="r" b="b"/>
                <a:pathLst>
                  <a:path w="43785" h="5806" extrusionOk="0">
                    <a:moveTo>
                      <a:pt x="43785" y="5806"/>
                    </a:moveTo>
                    <a:lnTo>
                      <a:pt x="3686" y="5806"/>
                    </a:lnTo>
                    <a:lnTo>
                      <a:pt x="0" y="0"/>
                    </a:lnTo>
                    <a:lnTo>
                      <a:pt x="39400"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89" name="Google Shape;476;p8"/>
              <p:cNvSpPr/>
              <p:nvPr/>
            </p:nvSpPr>
            <p:spPr>
              <a:xfrm>
                <a:off x="5416523" y="4232165"/>
                <a:ext cx="47413" cy="8915"/>
              </a:xfrm>
              <a:custGeom>
                <a:avLst/>
                <a:gdLst/>
                <a:ahLst/>
                <a:cxnLst/>
                <a:rect l="l" t="t" r="r" b="b"/>
                <a:pathLst>
                  <a:path w="47413" h="8915" extrusionOk="0">
                    <a:moveTo>
                      <a:pt x="41752" y="8915"/>
                    </a:moveTo>
                    <a:lnTo>
                      <a:pt x="0" y="8915"/>
                    </a:lnTo>
                    <a:lnTo>
                      <a:pt x="6735" y="0"/>
                    </a:lnTo>
                    <a:lnTo>
                      <a:pt x="4741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0" name="Google Shape;477;p8"/>
              <p:cNvSpPr/>
              <p:nvPr/>
            </p:nvSpPr>
            <p:spPr>
              <a:xfrm>
                <a:off x="5476728" y="4232165"/>
                <a:ext cx="45863" cy="8915"/>
              </a:xfrm>
              <a:custGeom>
                <a:avLst/>
                <a:gdLst/>
                <a:ahLst/>
                <a:cxnLst/>
                <a:rect l="l" t="t" r="r" b="b"/>
                <a:pathLst>
                  <a:path w="45863" h="8915" extrusionOk="0">
                    <a:moveTo>
                      <a:pt x="41752" y="8915"/>
                    </a:moveTo>
                    <a:lnTo>
                      <a:pt x="0" y="8915"/>
                    </a:lnTo>
                    <a:lnTo>
                      <a:pt x="5187" y="0"/>
                    </a:lnTo>
                    <a:lnTo>
                      <a:pt x="4586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1" name="Google Shape;478;p8"/>
              <p:cNvSpPr/>
              <p:nvPr/>
            </p:nvSpPr>
            <p:spPr>
              <a:xfrm>
                <a:off x="5536932" y="4232165"/>
                <a:ext cx="44314" cy="8915"/>
              </a:xfrm>
              <a:custGeom>
                <a:avLst/>
                <a:gdLst/>
                <a:ahLst/>
                <a:cxnLst/>
                <a:rect l="l" t="t" r="r" b="b"/>
                <a:pathLst>
                  <a:path w="44314" h="8915" extrusionOk="0">
                    <a:moveTo>
                      <a:pt x="41752" y="8915"/>
                    </a:moveTo>
                    <a:lnTo>
                      <a:pt x="0" y="8915"/>
                    </a:lnTo>
                    <a:lnTo>
                      <a:pt x="3637" y="0"/>
                    </a:lnTo>
                    <a:lnTo>
                      <a:pt x="44315"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2" name="Google Shape;479;p8"/>
              <p:cNvSpPr/>
              <p:nvPr/>
            </p:nvSpPr>
            <p:spPr>
              <a:xfrm>
                <a:off x="5597138" y="4232165"/>
                <a:ext cx="42763" cy="8915"/>
              </a:xfrm>
              <a:custGeom>
                <a:avLst/>
                <a:gdLst/>
                <a:ahLst/>
                <a:cxnLst/>
                <a:rect l="l" t="t" r="r" b="b"/>
                <a:pathLst>
                  <a:path w="42763" h="8915" extrusionOk="0">
                    <a:moveTo>
                      <a:pt x="41751" y="8915"/>
                    </a:moveTo>
                    <a:lnTo>
                      <a:pt x="0" y="8915"/>
                    </a:lnTo>
                    <a:lnTo>
                      <a:pt x="2087" y="0"/>
                    </a:lnTo>
                    <a:lnTo>
                      <a:pt x="4276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3" name="Google Shape;480;p8"/>
              <p:cNvSpPr/>
              <p:nvPr/>
            </p:nvSpPr>
            <p:spPr>
              <a:xfrm>
                <a:off x="5657343" y="4232165"/>
                <a:ext cx="41752" cy="8915"/>
              </a:xfrm>
              <a:custGeom>
                <a:avLst/>
                <a:gdLst/>
                <a:ahLst/>
                <a:cxnLst/>
                <a:rect l="l" t="t" r="r" b="b"/>
                <a:pathLst>
                  <a:path w="41752" h="8915" extrusionOk="0">
                    <a:moveTo>
                      <a:pt x="41752" y="8915"/>
                    </a:moveTo>
                    <a:lnTo>
                      <a:pt x="0" y="8915"/>
                    </a:lnTo>
                    <a:lnTo>
                      <a:pt x="538" y="0"/>
                    </a:lnTo>
                    <a:lnTo>
                      <a:pt x="41215"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4" name="Google Shape;481;p8"/>
              <p:cNvSpPr/>
              <p:nvPr/>
            </p:nvSpPr>
            <p:spPr>
              <a:xfrm>
                <a:off x="5716536" y="4232165"/>
                <a:ext cx="42764" cy="8915"/>
              </a:xfrm>
              <a:custGeom>
                <a:avLst/>
                <a:gdLst/>
                <a:ahLst/>
                <a:cxnLst/>
                <a:rect l="l" t="t" r="r" b="b"/>
                <a:pathLst>
                  <a:path w="42764" h="8915" extrusionOk="0">
                    <a:moveTo>
                      <a:pt x="42765" y="8915"/>
                    </a:moveTo>
                    <a:lnTo>
                      <a:pt x="1012" y="8915"/>
                    </a:lnTo>
                    <a:lnTo>
                      <a:pt x="0" y="0"/>
                    </a:lnTo>
                    <a:lnTo>
                      <a:pt x="4067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5" name="Google Shape;482;p8"/>
              <p:cNvSpPr/>
              <p:nvPr/>
            </p:nvSpPr>
            <p:spPr>
              <a:xfrm>
                <a:off x="5775192" y="4232165"/>
                <a:ext cx="44313" cy="8915"/>
              </a:xfrm>
              <a:custGeom>
                <a:avLst/>
                <a:gdLst/>
                <a:ahLst/>
                <a:cxnLst/>
                <a:rect l="l" t="t" r="r" b="b"/>
                <a:pathLst>
                  <a:path w="44313" h="8915" extrusionOk="0">
                    <a:moveTo>
                      <a:pt x="44313" y="8915"/>
                    </a:moveTo>
                    <a:lnTo>
                      <a:pt x="2561" y="8915"/>
                    </a:lnTo>
                    <a:lnTo>
                      <a:pt x="0" y="0"/>
                    </a:lnTo>
                    <a:lnTo>
                      <a:pt x="40677"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6" name="Google Shape;483;p8"/>
              <p:cNvSpPr/>
              <p:nvPr/>
            </p:nvSpPr>
            <p:spPr>
              <a:xfrm>
                <a:off x="5833846" y="4232165"/>
                <a:ext cx="45863" cy="8915"/>
              </a:xfrm>
              <a:custGeom>
                <a:avLst/>
                <a:gdLst/>
                <a:ahLst/>
                <a:cxnLst/>
                <a:rect l="l" t="t" r="r" b="b"/>
                <a:pathLst>
                  <a:path w="45863" h="8915" extrusionOk="0">
                    <a:moveTo>
                      <a:pt x="45863" y="8915"/>
                    </a:moveTo>
                    <a:lnTo>
                      <a:pt x="4112" y="8915"/>
                    </a:lnTo>
                    <a:lnTo>
                      <a:pt x="0" y="0"/>
                    </a:lnTo>
                    <a:lnTo>
                      <a:pt x="4067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7" name="Google Shape;484;p8"/>
              <p:cNvSpPr/>
              <p:nvPr/>
            </p:nvSpPr>
            <p:spPr>
              <a:xfrm>
                <a:off x="5892502" y="4232165"/>
                <a:ext cx="47413" cy="8915"/>
              </a:xfrm>
              <a:custGeom>
                <a:avLst/>
                <a:gdLst/>
                <a:ahLst/>
                <a:cxnLst/>
                <a:rect l="l" t="t" r="r" b="b"/>
                <a:pathLst>
                  <a:path w="47413" h="8915" extrusionOk="0">
                    <a:moveTo>
                      <a:pt x="47413" y="8915"/>
                    </a:moveTo>
                    <a:lnTo>
                      <a:pt x="5661" y="8915"/>
                    </a:lnTo>
                    <a:lnTo>
                      <a:pt x="0" y="0"/>
                    </a:lnTo>
                    <a:lnTo>
                      <a:pt x="4067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8" name="Google Shape;485;p8"/>
              <p:cNvSpPr/>
              <p:nvPr/>
            </p:nvSpPr>
            <p:spPr>
              <a:xfrm>
                <a:off x="5406622" y="4244594"/>
                <a:ext cx="49422" cy="9594"/>
              </a:xfrm>
              <a:custGeom>
                <a:avLst/>
                <a:gdLst/>
                <a:ahLst/>
                <a:cxnLst/>
                <a:rect l="l" t="t" r="r" b="b"/>
                <a:pathLst>
                  <a:path w="49422" h="9594" extrusionOk="0">
                    <a:moveTo>
                      <a:pt x="43332" y="9594"/>
                    </a:moveTo>
                    <a:lnTo>
                      <a:pt x="0" y="9594"/>
                    </a:lnTo>
                    <a:lnTo>
                      <a:pt x="7247" y="0"/>
                    </a:lnTo>
                    <a:lnTo>
                      <a:pt x="4942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99" name="Google Shape;486;p8"/>
              <p:cNvSpPr/>
              <p:nvPr/>
            </p:nvSpPr>
            <p:spPr>
              <a:xfrm>
                <a:off x="5469104" y="4244594"/>
                <a:ext cx="47756" cy="9594"/>
              </a:xfrm>
              <a:custGeom>
                <a:avLst/>
                <a:gdLst/>
                <a:ahLst/>
                <a:cxnLst/>
                <a:rect l="l" t="t" r="r" b="b"/>
                <a:pathLst>
                  <a:path w="47756" h="9594" extrusionOk="0">
                    <a:moveTo>
                      <a:pt x="43332" y="9594"/>
                    </a:moveTo>
                    <a:lnTo>
                      <a:pt x="0" y="9594"/>
                    </a:lnTo>
                    <a:lnTo>
                      <a:pt x="5580" y="0"/>
                    </a:lnTo>
                    <a:lnTo>
                      <a:pt x="47756"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0" name="Google Shape;487;p8"/>
              <p:cNvSpPr/>
              <p:nvPr/>
            </p:nvSpPr>
            <p:spPr>
              <a:xfrm>
                <a:off x="5531588" y="4244594"/>
                <a:ext cx="46088" cy="9594"/>
              </a:xfrm>
              <a:custGeom>
                <a:avLst/>
                <a:gdLst/>
                <a:ahLst/>
                <a:cxnLst/>
                <a:rect l="l" t="t" r="r" b="b"/>
                <a:pathLst>
                  <a:path w="46088" h="9594" extrusionOk="0">
                    <a:moveTo>
                      <a:pt x="43331" y="9594"/>
                    </a:moveTo>
                    <a:lnTo>
                      <a:pt x="0" y="9594"/>
                    </a:lnTo>
                    <a:lnTo>
                      <a:pt x="3912" y="0"/>
                    </a:lnTo>
                    <a:lnTo>
                      <a:pt x="4608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1" name="Google Shape;488;p8"/>
              <p:cNvSpPr/>
              <p:nvPr/>
            </p:nvSpPr>
            <p:spPr>
              <a:xfrm>
                <a:off x="5594071" y="4244594"/>
                <a:ext cx="44420" cy="9594"/>
              </a:xfrm>
              <a:custGeom>
                <a:avLst/>
                <a:gdLst/>
                <a:ahLst/>
                <a:cxnLst/>
                <a:rect l="l" t="t" r="r" b="b"/>
                <a:pathLst>
                  <a:path w="44420" h="9594" extrusionOk="0">
                    <a:moveTo>
                      <a:pt x="43331" y="9594"/>
                    </a:moveTo>
                    <a:lnTo>
                      <a:pt x="0" y="9594"/>
                    </a:lnTo>
                    <a:lnTo>
                      <a:pt x="2246" y="0"/>
                    </a:lnTo>
                    <a:lnTo>
                      <a:pt x="44420"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2" name="Google Shape;489;p8"/>
              <p:cNvSpPr/>
              <p:nvPr/>
            </p:nvSpPr>
            <p:spPr>
              <a:xfrm>
                <a:off x="5656553" y="4244594"/>
                <a:ext cx="43332" cy="9594"/>
              </a:xfrm>
              <a:custGeom>
                <a:avLst/>
                <a:gdLst/>
                <a:ahLst/>
                <a:cxnLst/>
                <a:rect l="l" t="t" r="r" b="b"/>
                <a:pathLst>
                  <a:path w="43332" h="9594" extrusionOk="0">
                    <a:moveTo>
                      <a:pt x="43332" y="9594"/>
                    </a:moveTo>
                    <a:lnTo>
                      <a:pt x="0" y="9594"/>
                    </a:lnTo>
                    <a:lnTo>
                      <a:pt x="577" y="0"/>
                    </a:lnTo>
                    <a:lnTo>
                      <a:pt x="4275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3" name="Google Shape;490;p8"/>
              <p:cNvSpPr/>
              <p:nvPr/>
            </p:nvSpPr>
            <p:spPr>
              <a:xfrm>
                <a:off x="5717947" y="4244594"/>
                <a:ext cx="44421" cy="9594"/>
              </a:xfrm>
              <a:custGeom>
                <a:avLst/>
                <a:gdLst/>
                <a:ahLst/>
                <a:cxnLst/>
                <a:rect l="l" t="t" r="r" b="b"/>
                <a:pathLst>
                  <a:path w="44421" h="9594" extrusionOk="0">
                    <a:moveTo>
                      <a:pt x="44421" y="9594"/>
                    </a:moveTo>
                    <a:lnTo>
                      <a:pt x="1089" y="9594"/>
                    </a:lnTo>
                    <a:lnTo>
                      <a:pt x="0" y="0"/>
                    </a:lnTo>
                    <a:lnTo>
                      <a:pt x="42176"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4" name="Google Shape;491;p8"/>
              <p:cNvSpPr/>
              <p:nvPr/>
            </p:nvSpPr>
            <p:spPr>
              <a:xfrm>
                <a:off x="5778762" y="4244594"/>
                <a:ext cx="46088" cy="9594"/>
              </a:xfrm>
              <a:custGeom>
                <a:avLst/>
                <a:gdLst/>
                <a:ahLst/>
                <a:cxnLst/>
                <a:rect l="l" t="t" r="r" b="b"/>
                <a:pathLst>
                  <a:path w="46088" h="9594" extrusionOk="0">
                    <a:moveTo>
                      <a:pt x="46088" y="9594"/>
                    </a:moveTo>
                    <a:lnTo>
                      <a:pt x="2756" y="9594"/>
                    </a:lnTo>
                    <a:lnTo>
                      <a:pt x="0" y="0"/>
                    </a:lnTo>
                    <a:lnTo>
                      <a:pt x="42176"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5" name="Google Shape;492;p8"/>
              <p:cNvSpPr/>
              <p:nvPr/>
            </p:nvSpPr>
            <p:spPr>
              <a:xfrm>
                <a:off x="5839578" y="4244594"/>
                <a:ext cx="47754" cy="9594"/>
              </a:xfrm>
              <a:custGeom>
                <a:avLst/>
                <a:gdLst/>
                <a:ahLst/>
                <a:cxnLst/>
                <a:rect l="l" t="t" r="r" b="b"/>
                <a:pathLst>
                  <a:path w="47754" h="9594" extrusionOk="0">
                    <a:moveTo>
                      <a:pt x="47755" y="9594"/>
                    </a:moveTo>
                    <a:lnTo>
                      <a:pt x="4424" y="9594"/>
                    </a:lnTo>
                    <a:lnTo>
                      <a:pt x="0" y="0"/>
                    </a:lnTo>
                    <a:lnTo>
                      <a:pt x="42175"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6" name="Google Shape;493;p8"/>
              <p:cNvSpPr/>
              <p:nvPr/>
            </p:nvSpPr>
            <p:spPr>
              <a:xfrm>
                <a:off x="5900393" y="4244594"/>
                <a:ext cx="49422" cy="9594"/>
              </a:xfrm>
              <a:custGeom>
                <a:avLst/>
                <a:gdLst/>
                <a:ahLst/>
                <a:cxnLst/>
                <a:rect l="l" t="t" r="r" b="b"/>
                <a:pathLst>
                  <a:path w="49422" h="9594" extrusionOk="0">
                    <a:moveTo>
                      <a:pt x="49423" y="9594"/>
                    </a:moveTo>
                    <a:lnTo>
                      <a:pt x="6092" y="9594"/>
                    </a:lnTo>
                    <a:lnTo>
                      <a:pt x="0" y="0"/>
                    </a:lnTo>
                    <a:lnTo>
                      <a:pt x="42176"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7" name="Google Shape;494;p8"/>
              <p:cNvSpPr/>
              <p:nvPr/>
            </p:nvSpPr>
            <p:spPr>
              <a:xfrm>
                <a:off x="5395942" y="4257973"/>
                <a:ext cx="84138" cy="10353"/>
              </a:xfrm>
              <a:custGeom>
                <a:avLst/>
                <a:gdLst/>
                <a:ahLst/>
                <a:cxnLst/>
                <a:rect l="l" t="t" r="r" b="b"/>
                <a:pathLst>
                  <a:path w="84138" h="10353" extrusionOk="0">
                    <a:moveTo>
                      <a:pt x="78492" y="10353"/>
                    </a:moveTo>
                    <a:lnTo>
                      <a:pt x="0" y="10353"/>
                    </a:lnTo>
                    <a:lnTo>
                      <a:pt x="7821" y="0"/>
                    </a:lnTo>
                    <a:lnTo>
                      <a:pt x="8413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8" name="Google Shape;495;p8"/>
              <p:cNvSpPr/>
              <p:nvPr/>
            </p:nvSpPr>
            <p:spPr>
              <a:xfrm>
                <a:off x="5490402" y="4257973"/>
                <a:ext cx="48991" cy="10353"/>
              </a:xfrm>
              <a:custGeom>
                <a:avLst/>
                <a:gdLst/>
                <a:ahLst/>
                <a:cxnLst/>
                <a:rect l="l" t="t" r="r" b="b"/>
                <a:pathLst>
                  <a:path w="48991" h="10353" extrusionOk="0">
                    <a:moveTo>
                      <a:pt x="45036" y="10353"/>
                    </a:moveTo>
                    <a:lnTo>
                      <a:pt x="0" y="10353"/>
                    </a:lnTo>
                    <a:lnTo>
                      <a:pt x="5204" y="0"/>
                    </a:lnTo>
                    <a:lnTo>
                      <a:pt x="48992"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09" name="Google Shape;496;p8"/>
              <p:cNvSpPr/>
              <p:nvPr/>
            </p:nvSpPr>
            <p:spPr>
              <a:xfrm>
                <a:off x="5555343" y="4257973"/>
                <a:ext cx="47192" cy="10353"/>
              </a:xfrm>
              <a:custGeom>
                <a:avLst/>
                <a:gdLst/>
                <a:ahLst/>
                <a:cxnLst/>
                <a:rect l="l" t="t" r="r" b="b"/>
                <a:pathLst>
                  <a:path w="47192" h="10353" extrusionOk="0">
                    <a:moveTo>
                      <a:pt x="45035" y="10353"/>
                    </a:moveTo>
                    <a:lnTo>
                      <a:pt x="0" y="10353"/>
                    </a:lnTo>
                    <a:lnTo>
                      <a:pt x="3404" y="0"/>
                    </a:lnTo>
                    <a:lnTo>
                      <a:pt x="47192"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0" name="Google Shape;497;p8"/>
              <p:cNvSpPr/>
              <p:nvPr/>
            </p:nvSpPr>
            <p:spPr>
              <a:xfrm>
                <a:off x="5620282" y="4257973"/>
                <a:ext cx="45392" cy="10353"/>
              </a:xfrm>
              <a:custGeom>
                <a:avLst/>
                <a:gdLst/>
                <a:ahLst/>
                <a:cxnLst/>
                <a:rect l="l" t="t" r="r" b="b"/>
                <a:pathLst>
                  <a:path w="45392" h="10353" extrusionOk="0">
                    <a:moveTo>
                      <a:pt x="45036" y="10353"/>
                    </a:moveTo>
                    <a:lnTo>
                      <a:pt x="0" y="10353"/>
                    </a:lnTo>
                    <a:lnTo>
                      <a:pt x="1605" y="0"/>
                    </a:lnTo>
                    <a:lnTo>
                      <a:pt x="4539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1" name="Google Shape;498;p8"/>
              <p:cNvSpPr/>
              <p:nvPr/>
            </p:nvSpPr>
            <p:spPr>
              <a:xfrm>
                <a:off x="5685027" y="4257973"/>
                <a:ext cx="45229" cy="10353"/>
              </a:xfrm>
              <a:custGeom>
                <a:avLst/>
                <a:gdLst/>
                <a:ahLst/>
                <a:cxnLst/>
                <a:rect l="l" t="t" r="r" b="b"/>
                <a:pathLst>
                  <a:path w="45229" h="10353" extrusionOk="0">
                    <a:moveTo>
                      <a:pt x="45230" y="10353"/>
                    </a:moveTo>
                    <a:lnTo>
                      <a:pt x="194" y="10353"/>
                    </a:lnTo>
                    <a:lnTo>
                      <a:pt x="0" y="0"/>
                    </a:lnTo>
                    <a:lnTo>
                      <a:pt x="4378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2" name="Google Shape;499;p8"/>
              <p:cNvSpPr/>
              <p:nvPr/>
            </p:nvSpPr>
            <p:spPr>
              <a:xfrm>
                <a:off x="5742337" y="4257973"/>
                <a:ext cx="88280" cy="10353"/>
              </a:xfrm>
              <a:custGeom>
                <a:avLst/>
                <a:gdLst/>
                <a:ahLst/>
                <a:cxnLst/>
                <a:rect l="l" t="t" r="r" b="b"/>
                <a:pathLst>
                  <a:path w="88280" h="10353" extrusionOk="0">
                    <a:moveTo>
                      <a:pt x="88280" y="10353"/>
                    </a:moveTo>
                    <a:lnTo>
                      <a:pt x="1827" y="10353"/>
                    </a:lnTo>
                    <a:lnTo>
                      <a:pt x="0" y="0"/>
                    </a:lnTo>
                    <a:lnTo>
                      <a:pt x="84057"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3" name="Google Shape;500;p8"/>
              <p:cNvSpPr/>
              <p:nvPr/>
            </p:nvSpPr>
            <p:spPr>
              <a:xfrm>
                <a:off x="5845747" y="4257973"/>
                <a:ext cx="49809" cy="10353"/>
              </a:xfrm>
              <a:custGeom>
                <a:avLst/>
                <a:gdLst/>
                <a:ahLst/>
                <a:cxnLst/>
                <a:rect l="l" t="t" r="r" b="b"/>
                <a:pathLst>
                  <a:path w="49809" h="10353" extrusionOk="0">
                    <a:moveTo>
                      <a:pt x="49809" y="10353"/>
                    </a:moveTo>
                    <a:lnTo>
                      <a:pt x="4773" y="10353"/>
                    </a:lnTo>
                    <a:lnTo>
                      <a:pt x="0" y="0"/>
                    </a:lnTo>
                    <a:lnTo>
                      <a:pt x="4378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4" name="Google Shape;501;p8"/>
              <p:cNvSpPr/>
              <p:nvPr/>
            </p:nvSpPr>
            <p:spPr>
              <a:xfrm>
                <a:off x="5908888" y="4257973"/>
                <a:ext cx="51608" cy="10353"/>
              </a:xfrm>
              <a:custGeom>
                <a:avLst/>
                <a:gdLst/>
                <a:ahLst/>
                <a:cxnLst/>
                <a:rect l="l" t="t" r="r" b="b"/>
                <a:pathLst>
                  <a:path w="51608" h="10353" extrusionOk="0">
                    <a:moveTo>
                      <a:pt x="51609" y="10353"/>
                    </a:moveTo>
                    <a:lnTo>
                      <a:pt x="6573" y="10353"/>
                    </a:lnTo>
                    <a:lnTo>
                      <a:pt x="0" y="0"/>
                    </a:lnTo>
                    <a:lnTo>
                      <a:pt x="4378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5" name="Google Shape;502;p8"/>
              <p:cNvSpPr/>
              <p:nvPr/>
            </p:nvSpPr>
            <p:spPr>
              <a:xfrm>
                <a:off x="5384388" y="4272416"/>
                <a:ext cx="53993" cy="11204"/>
              </a:xfrm>
              <a:custGeom>
                <a:avLst/>
                <a:gdLst/>
                <a:ahLst/>
                <a:cxnLst/>
                <a:rect l="l" t="t" r="r" b="b"/>
                <a:pathLst>
                  <a:path w="53993" h="11204" extrusionOk="0">
                    <a:moveTo>
                      <a:pt x="46879" y="11204"/>
                    </a:moveTo>
                    <a:lnTo>
                      <a:pt x="0" y="11204"/>
                    </a:lnTo>
                    <a:lnTo>
                      <a:pt x="8464" y="0"/>
                    </a:lnTo>
                    <a:lnTo>
                      <a:pt x="53993"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6" name="Google Shape;503;p8"/>
              <p:cNvSpPr/>
              <p:nvPr/>
            </p:nvSpPr>
            <p:spPr>
              <a:xfrm>
                <a:off x="5451986" y="4272416"/>
                <a:ext cx="249673" cy="11204"/>
              </a:xfrm>
              <a:custGeom>
                <a:avLst/>
                <a:gdLst/>
                <a:ahLst/>
                <a:cxnLst/>
                <a:rect l="l" t="t" r="r" b="b"/>
                <a:pathLst>
                  <a:path w="249673" h="11204" extrusionOk="0">
                    <a:moveTo>
                      <a:pt x="249673" y="11204"/>
                    </a:moveTo>
                    <a:lnTo>
                      <a:pt x="0" y="11204"/>
                    </a:lnTo>
                    <a:lnTo>
                      <a:pt x="6517" y="0"/>
                    </a:lnTo>
                    <a:lnTo>
                      <a:pt x="248997"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7" name="Google Shape;504;p8"/>
              <p:cNvSpPr/>
              <p:nvPr/>
            </p:nvSpPr>
            <p:spPr>
              <a:xfrm>
                <a:off x="5721105" y="4272416"/>
                <a:ext cx="48151" cy="11204"/>
              </a:xfrm>
              <a:custGeom>
                <a:avLst/>
                <a:gdLst/>
                <a:ahLst/>
                <a:cxnLst/>
                <a:rect l="l" t="t" r="r" b="b"/>
                <a:pathLst>
                  <a:path w="48151" h="11204" extrusionOk="0">
                    <a:moveTo>
                      <a:pt x="48151" y="11204"/>
                    </a:moveTo>
                    <a:lnTo>
                      <a:pt x="1273" y="11204"/>
                    </a:lnTo>
                    <a:lnTo>
                      <a:pt x="0" y="0"/>
                    </a:lnTo>
                    <a:lnTo>
                      <a:pt x="45529"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8" name="Google Shape;505;p8"/>
              <p:cNvSpPr/>
              <p:nvPr/>
            </p:nvSpPr>
            <p:spPr>
              <a:xfrm>
                <a:off x="5852407" y="4272416"/>
                <a:ext cx="52045" cy="11204"/>
              </a:xfrm>
              <a:custGeom>
                <a:avLst/>
                <a:gdLst/>
                <a:ahLst/>
                <a:cxnLst/>
                <a:rect l="l" t="t" r="r" b="b"/>
                <a:pathLst>
                  <a:path w="52045" h="11204" extrusionOk="0">
                    <a:moveTo>
                      <a:pt x="52046" y="11204"/>
                    </a:moveTo>
                    <a:lnTo>
                      <a:pt x="5167" y="11204"/>
                    </a:lnTo>
                    <a:lnTo>
                      <a:pt x="0" y="0"/>
                    </a:lnTo>
                    <a:lnTo>
                      <a:pt x="45529"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19" name="Google Shape;506;p8"/>
              <p:cNvSpPr/>
              <p:nvPr/>
            </p:nvSpPr>
            <p:spPr>
              <a:xfrm>
                <a:off x="5918058" y="4272416"/>
                <a:ext cx="53992" cy="11204"/>
              </a:xfrm>
              <a:custGeom>
                <a:avLst/>
                <a:gdLst/>
                <a:ahLst/>
                <a:cxnLst/>
                <a:rect l="l" t="t" r="r" b="b"/>
                <a:pathLst>
                  <a:path w="53992" h="11204" extrusionOk="0">
                    <a:moveTo>
                      <a:pt x="53992" y="11204"/>
                    </a:moveTo>
                    <a:lnTo>
                      <a:pt x="7114" y="11204"/>
                    </a:lnTo>
                    <a:lnTo>
                      <a:pt x="0" y="0"/>
                    </a:lnTo>
                    <a:lnTo>
                      <a:pt x="45528"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0" name="Google Shape;507;p8"/>
              <p:cNvSpPr/>
              <p:nvPr/>
            </p:nvSpPr>
            <p:spPr>
              <a:xfrm>
                <a:off x="5786756" y="4272416"/>
                <a:ext cx="47520" cy="4884"/>
              </a:xfrm>
              <a:custGeom>
                <a:avLst/>
                <a:gdLst/>
                <a:ahLst/>
                <a:cxnLst/>
                <a:rect l="l" t="t" r="r" b="b"/>
                <a:pathLst>
                  <a:path w="47520" h="4884" extrusionOk="0">
                    <a:moveTo>
                      <a:pt x="47520" y="4885"/>
                    </a:moveTo>
                    <a:lnTo>
                      <a:pt x="45528" y="0"/>
                    </a:lnTo>
                    <a:lnTo>
                      <a:pt x="0" y="0"/>
                    </a:lnTo>
                    <a:lnTo>
                      <a:pt x="1403" y="4885"/>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1" name="Google Shape;508;p8"/>
              <p:cNvSpPr/>
              <p:nvPr/>
            </p:nvSpPr>
            <p:spPr>
              <a:xfrm>
                <a:off x="5788524" y="4278574"/>
                <a:ext cx="48328" cy="5046"/>
              </a:xfrm>
              <a:custGeom>
                <a:avLst/>
                <a:gdLst/>
                <a:ahLst/>
                <a:cxnLst/>
                <a:rect l="l" t="t" r="r" b="b"/>
                <a:pathLst>
                  <a:path w="48328" h="5046" extrusionOk="0">
                    <a:moveTo>
                      <a:pt x="0" y="0"/>
                    </a:moveTo>
                    <a:lnTo>
                      <a:pt x="1449" y="5046"/>
                    </a:lnTo>
                    <a:lnTo>
                      <a:pt x="48329" y="5046"/>
                    </a:lnTo>
                    <a:lnTo>
                      <a:pt x="46271" y="0"/>
                    </a:ln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2" name="Google Shape;509;p8"/>
              <p:cNvSpPr/>
              <p:nvPr/>
            </p:nvSpPr>
            <p:spPr>
              <a:xfrm>
                <a:off x="5609623" y="4287738"/>
                <a:ext cx="138411" cy="21825"/>
              </a:xfrm>
              <a:custGeom>
                <a:avLst/>
                <a:gdLst/>
                <a:ahLst/>
                <a:cxnLst/>
                <a:rect l="l" t="t" r="r" b="b"/>
                <a:pathLst>
                  <a:path w="138411" h="21825" extrusionOk="0">
                    <a:moveTo>
                      <a:pt x="138411" y="21826"/>
                    </a:moveTo>
                    <a:lnTo>
                      <a:pt x="0" y="21826"/>
                    </a:lnTo>
                    <a:lnTo>
                      <a:pt x="8801" y="0"/>
                    </a:lnTo>
                    <a:lnTo>
                      <a:pt x="129610" y="0"/>
                    </a:lnTo>
                    <a:close/>
                  </a:path>
                </a:pathLst>
              </a:custGeom>
              <a:solidFill>
                <a:srgbClr val="3A556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3" name="Google Shape;510;p8"/>
              <p:cNvSpPr/>
              <p:nvPr/>
            </p:nvSpPr>
            <p:spPr>
              <a:xfrm>
                <a:off x="5640179" y="4017658"/>
                <a:ext cx="59987" cy="66484"/>
              </a:xfrm>
              <a:custGeom>
                <a:avLst/>
                <a:gdLst/>
                <a:ahLst/>
                <a:cxnLst/>
                <a:rect l="l" t="t" r="r" b="b"/>
                <a:pathLst>
                  <a:path w="59987" h="66484" extrusionOk="0">
                    <a:moveTo>
                      <a:pt x="59987" y="33065"/>
                    </a:moveTo>
                    <a:lnTo>
                      <a:pt x="0" y="0"/>
                    </a:lnTo>
                    <a:lnTo>
                      <a:pt x="16480" y="66484"/>
                    </a:lnTo>
                    <a:lnTo>
                      <a:pt x="24782" y="43135"/>
                    </a:lnTo>
                    <a:lnTo>
                      <a:pt x="41721" y="65189"/>
                    </a:lnTo>
                    <a:lnTo>
                      <a:pt x="52227" y="57118"/>
                    </a:lnTo>
                    <a:lnTo>
                      <a:pt x="35288" y="350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grpSp>
            <p:nvGrpSpPr>
              <p:cNvPr id="124" name="Google Shape;511;p8"/>
              <p:cNvGrpSpPr/>
              <p:nvPr/>
            </p:nvGrpSpPr>
            <p:grpSpPr>
              <a:xfrm>
                <a:off x="5612941" y="3989267"/>
                <a:ext cx="54477" cy="54477"/>
                <a:chOff x="5612941" y="3989267"/>
                <a:chExt cx="54477" cy="54477"/>
              </a:xfrm>
            </p:grpSpPr>
            <p:sp>
              <p:nvSpPr>
                <p:cNvPr id="125" name="Google Shape;512;p8"/>
                <p:cNvSpPr/>
                <p:nvPr/>
              </p:nvSpPr>
              <p:spPr>
                <a:xfrm>
                  <a:off x="5638324" y="3989267"/>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6" name="Google Shape;513;p8"/>
                <p:cNvSpPr/>
                <p:nvPr/>
              </p:nvSpPr>
              <p:spPr>
                <a:xfrm>
                  <a:off x="5638324" y="4033081"/>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7" name="Google Shape;514;p8"/>
                <p:cNvSpPr/>
                <p:nvPr/>
              </p:nvSpPr>
              <p:spPr>
                <a:xfrm rot="5400000">
                  <a:off x="5660232" y="4011174"/>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8" name="Google Shape;515;p8"/>
                <p:cNvSpPr/>
                <p:nvPr/>
              </p:nvSpPr>
              <p:spPr>
                <a:xfrm rot="5400000">
                  <a:off x="5616418" y="4011173"/>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29" name="Google Shape;516;p8"/>
                <p:cNvSpPr/>
                <p:nvPr/>
              </p:nvSpPr>
              <p:spPr>
                <a:xfrm rot="2700000">
                  <a:off x="5653815" y="3995684"/>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30" name="Google Shape;517;p8"/>
                <p:cNvSpPr/>
                <p:nvPr/>
              </p:nvSpPr>
              <p:spPr>
                <a:xfrm rot="2700000">
                  <a:off x="5622833" y="4026665"/>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31" name="Google Shape;518;p8"/>
                <p:cNvSpPr/>
                <p:nvPr/>
              </p:nvSpPr>
              <p:spPr>
                <a:xfrm rot="8100000">
                  <a:off x="5653811" y="4026663"/>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132" name="Google Shape;519;p8"/>
                <p:cNvSpPr/>
                <p:nvPr/>
              </p:nvSpPr>
              <p:spPr>
                <a:xfrm rot="8100000">
                  <a:off x="5622831" y="3995683"/>
                  <a:ext cx="3709" cy="10663"/>
                </a:xfrm>
                <a:custGeom>
                  <a:avLst/>
                  <a:gdLst/>
                  <a:ahLst/>
                  <a:cxnLst/>
                  <a:rect l="l" t="t" r="r" b="b"/>
                  <a:pathLst>
                    <a:path w="3709" h="10663" extrusionOk="0">
                      <a:moveTo>
                        <a:pt x="0" y="0"/>
                      </a:moveTo>
                      <a:lnTo>
                        <a:pt x="3709" y="0"/>
                      </a:lnTo>
                      <a:lnTo>
                        <a:pt x="3709" y="10664"/>
                      </a:lnTo>
                      <a:lnTo>
                        <a:pt x="0" y="1066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grpSp>
        </p:grpSp>
      </p:grpSp>
      <p:grpSp>
        <p:nvGrpSpPr>
          <p:cNvPr id="65" name="Google Shape;520;p8"/>
          <p:cNvGrpSpPr/>
          <p:nvPr/>
        </p:nvGrpSpPr>
        <p:grpSpPr>
          <a:xfrm>
            <a:off x="651375" y="4790013"/>
            <a:ext cx="656862" cy="663844"/>
            <a:chOff x="7860997" y="3488142"/>
            <a:chExt cx="1243038" cy="1243038"/>
          </a:xfrm>
        </p:grpSpPr>
        <p:sp>
          <p:nvSpPr>
            <p:cNvPr id="67" name="Google Shape;521;p8"/>
            <p:cNvSpPr/>
            <p:nvPr/>
          </p:nvSpPr>
          <p:spPr>
            <a:xfrm>
              <a:off x="7860997" y="3488142"/>
              <a:ext cx="1243038" cy="1243038"/>
            </a:xfrm>
            <a:custGeom>
              <a:avLst/>
              <a:gdLst/>
              <a:ahLst/>
              <a:cxnLst/>
              <a:rect l="l" t="t" r="r" b="b"/>
              <a:pathLst>
                <a:path w="1243038" h="1243038" extrusionOk="0">
                  <a:moveTo>
                    <a:pt x="1243038" y="621519"/>
                  </a:moveTo>
                  <a:cubicBezTo>
                    <a:pt x="1243038" y="964774"/>
                    <a:pt x="964774" y="1243038"/>
                    <a:pt x="621519" y="1243038"/>
                  </a:cubicBezTo>
                  <a:cubicBezTo>
                    <a:pt x="278264" y="1243038"/>
                    <a:pt x="0" y="964774"/>
                    <a:pt x="0" y="621519"/>
                  </a:cubicBezTo>
                  <a:cubicBezTo>
                    <a:pt x="0" y="278264"/>
                    <a:pt x="278264" y="0"/>
                    <a:pt x="621519" y="0"/>
                  </a:cubicBezTo>
                  <a:cubicBezTo>
                    <a:pt x="964774" y="0"/>
                    <a:pt x="1243038" y="278264"/>
                    <a:pt x="1243038" y="621519"/>
                  </a:cubicBezTo>
                  <a:close/>
                </a:path>
              </a:pathLst>
            </a:custGeom>
            <a:solidFill>
              <a:srgbClr val="F360A1"/>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68" name="Google Shape;522;p8"/>
            <p:cNvSpPr/>
            <p:nvPr/>
          </p:nvSpPr>
          <p:spPr>
            <a:xfrm>
              <a:off x="8246438" y="3687013"/>
              <a:ext cx="857596" cy="1044166"/>
            </a:xfrm>
            <a:custGeom>
              <a:avLst/>
              <a:gdLst/>
              <a:ahLst/>
              <a:cxnLst/>
              <a:rect l="l" t="t" r="r" b="b"/>
              <a:pathLst>
                <a:path w="857596" h="1044166" extrusionOk="0">
                  <a:moveTo>
                    <a:pt x="857597" y="422647"/>
                  </a:moveTo>
                  <a:cubicBezTo>
                    <a:pt x="857597" y="409729"/>
                    <a:pt x="857201" y="396901"/>
                    <a:pt x="856424" y="384176"/>
                  </a:cubicBezTo>
                  <a:lnTo>
                    <a:pt x="472248" y="0"/>
                  </a:lnTo>
                  <a:lnTo>
                    <a:pt x="0" y="845392"/>
                  </a:lnTo>
                  <a:lnTo>
                    <a:pt x="197604" y="1042996"/>
                  </a:lnTo>
                  <a:cubicBezTo>
                    <a:pt x="210328" y="1043771"/>
                    <a:pt x="223157" y="1044167"/>
                    <a:pt x="236078" y="1044167"/>
                  </a:cubicBezTo>
                  <a:cubicBezTo>
                    <a:pt x="579333" y="1044167"/>
                    <a:pt x="857597" y="765903"/>
                    <a:pt x="857597" y="422647"/>
                  </a:cubicBezTo>
                  <a:close/>
                </a:path>
              </a:pathLst>
            </a:custGeom>
            <a:solidFill>
              <a:srgbClr val="DA589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69" name="Google Shape;523;p8"/>
            <p:cNvSpPr/>
            <p:nvPr/>
          </p:nvSpPr>
          <p:spPr>
            <a:xfrm>
              <a:off x="8227826" y="3668304"/>
              <a:ext cx="509378" cy="882712"/>
            </a:xfrm>
            <a:custGeom>
              <a:avLst/>
              <a:gdLst/>
              <a:ahLst/>
              <a:cxnLst/>
              <a:rect l="l" t="t" r="r" b="b"/>
              <a:pathLst>
                <a:path w="509378" h="882712" extrusionOk="0">
                  <a:moveTo>
                    <a:pt x="445835" y="882712"/>
                  </a:moveTo>
                  <a:lnTo>
                    <a:pt x="63543" y="882712"/>
                  </a:lnTo>
                  <a:cubicBezTo>
                    <a:pt x="28449" y="882712"/>
                    <a:pt x="0" y="854263"/>
                    <a:pt x="0" y="819169"/>
                  </a:cubicBezTo>
                  <a:lnTo>
                    <a:pt x="0" y="63543"/>
                  </a:lnTo>
                  <a:cubicBezTo>
                    <a:pt x="0" y="28449"/>
                    <a:pt x="28449" y="0"/>
                    <a:pt x="63543" y="0"/>
                  </a:cubicBezTo>
                  <a:lnTo>
                    <a:pt x="445835" y="0"/>
                  </a:lnTo>
                  <a:cubicBezTo>
                    <a:pt x="480930" y="0"/>
                    <a:pt x="509379" y="28449"/>
                    <a:pt x="509379" y="63543"/>
                  </a:cubicBezTo>
                  <a:lnTo>
                    <a:pt x="509379" y="819169"/>
                  </a:lnTo>
                  <a:cubicBezTo>
                    <a:pt x="509379" y="854263"/>
                    <a:pt x="480930" y="882712"/>
                    <a:pt x="445835" y="882712"/>
                  </a:cubicBezTo>
                  <a:close/>
                </a:path>
              </a:pathLst>
            </a:custGeom>
            <a:solidFill>
              <a:srgbClr val="41495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0" name="Google Shape;524;p8"/>
            <p:cNvSpPr/>
            <p:nvPr/>
          </p:nvSpPr>
          <p:spPr>
            <a:xfrm>
              <a:off x="8482807" y="3668304"/>
              <a:ext cx="254397" cy="882709"/>
            </a:xfrm>
            <a:custGeom>
              <a:avLst/>
              <a:gdLst/>
              <a:ahLst/>
              <a:cxnLst/>
              <a:rect l="l" t="t" r="r" b="b"/>
              <a:pathLst>
                <a:path w="254397" h="882709" extrusionOk="0">
                  <a:moveTo>
                    <a:pt x="190855" y="0"/>
                  </a:moveTo>
                  <a:lnTo>
                    <a:pt x="0" y="0"/>
                  </a:lnTo>
                  <a:lnTo>
                    <a:pt x="0" y="882710"/>
                  </a:lnTo>
                  <a:lnTo>
                    <a:pt x="190855" y="882710"/>
                  </a:lnTo>
                  <a:cubicBezTo>
                    <a:pt x="225949" y="882710"/>
                    <a:pt x="254398" y="854261"/>
                    <a:pt x="254398" y="819167"/>
                  </a:cubicBezTo>
                  <a:lnTo>
                    <a:pt x="254398" y="63543"/>
                  </a:lnTo>
                  <a:cubicBezTo>
                    <a:pt x="254398" y="28449"/>
                    <a:pt x="225949" y="0"/>
                    <a:pt x="190855" y="0"/>
                  </a:cubicBezTo>
                  <a:close/>
                </a:path>
              </a:pathLst>
            </a:custGeom>
            <a:solidFill>
              <a:srgbClr val="23272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sp>
          <p:nvSpPr>
            <p:cNvPr id="71" name="Google Shape;525;p8"/>
            <p:cNvSpPr/>
            <p:nvPr/>
          </p:nvSpPr>
          <p:spPr>
            <a:xfrm>
              <a:off x="8276866" y="3736329"/>
              <a:ext cx="411297" cy="746665"/>
            </a:xfrm>
            <a:custGeom>
              <a:avLst/>
              <a:gdLst/>
              <a:ahLst/>
              <a:cxnLst/>
              <a:rect l="l" t="t" r="r" b="b"/>
              <a:pathLst>
                <a:path w="411297" h="746665" extrusionOk="0">
                  <a:moveTo>
                    <a:pt x="0" y="0"/>
                  </a:moveTo>
                  <a:lnTo>
                    <a:pt x="411297" y="0"/>
                  </a:lnTo>
                  <a:lnTo>
                    <a:pt x="411297" y="746665"/>
                  </a:lnTo>
                  <a:lnTo>
                    <a:pt x="0" y="746665"/>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800" dirty="0">
                <a:solidFill>
                  <a:schemeClr val="dk1"/>
                </a:solidFill>
                <a:latin typeface="+mj-lt"/>
                <a:ea typeface="Helvetica Neue"/>
                <a:cs typeface="Calibri" panose="020F0502020204030204" pitchFamily="34" charset="0"/>
                <a:sym typeface="Helvetica Neue"/>
              </a:endParaRPr>
            </a:p>
          </p:txBody>
        </p:sp>
      </p:grpSp>
      <p:sp>
        <p:nvSpPr>
          <p:cNvPr id="66" name="Google Shape;526;p8"/>
          <p:cNvSpPr/>
          <p:nvPr/>
        </p:nvSpPr>
        <p:spPr>
          <a:xfrm>
            <a:off x="0" y="3473350"/>
            <a:ext cx="1807909" cy="1514716"/>
          </a:xfrm>
          <a:prstGeom prst="roundRect">
            <a:avLst>
              <a:gd name="adj" fmla="val 50000"/>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1600" dirty="0">
                <a:solidFill>
                  <a:schemeClr val="dk1"/>
                </a:solidFill>
                <a:latin typeface="+mj-lt"/>
                <a:cs typeface="Calibri" panose="020F0502020204030204" pitchFamily="34" charset="0"/>
                <a:sym typeface="Arial"/>
              </a:rPr>
              <a:t>Managed and/or unmanaged device</a:t>
            </a:r>
            <a:endParaRPr sz="1800" dirty="0">
              <a:latin typeface="+mj-lt"/>
              <a:cs typeface="Calibri" panose="020F0502020204030204" pitchFamily="34" charset="0"/>
            </a:endParaRPr>
          </a:p>
        </p:txBody>
      </p:sp>
      <p:grpSp>
        <p:nvGrpSpPr>
          <p:cNvPr id="4" name="Group 3"/>
          <p:cNvGrpSpPr/>
          <p:nvPr/>
        </p:nvGrpSpPr>
        <p:grpSpPr>
          <a:xfrm rot="5400000">
            <a:off x="-328448" y="4302259"/>
            <a:ext cx="3664595" cy="184721"/>
            <a:chOff x="-735104" y="4903590"/>
            <a:chExt cx="3664595" cy="184721"/>
          </a:xfrm>
        </p:grpSpPr>
        <p:cxnSp>
          <p:nvCxnSpPr>
            <p:cNvPr id="60" name="Google Shape;456;p8"/>
            <p:cNvCxnSpPr/>
            <p:nvPr/>
          </p:nvCxnSpPr>
          <p:spPr>
            <a:xfrm>
              <a:off x="-733189" y="4903590"/>
              <a:ext cx="3654000" cy="7934"/>
            </a:xfrm>
            <a:prstGeom prst="straightConnector1">
              <a:avLst/>
            </a:prstGeom>
            <a:solidFill>
              <a:schemeClr val="lt1"/>
            </a:solidFill>
            <a:ln w="12700" cap="rnd" cmpd="sng">
              <a:solidFill>
                <a:srgbClr val="DBDBDB"/>
              </a:solidFill>
              <a:prstDash val="solid"/>
              <a:round/>
              <a:headEnd type="none" w="sm" len="sm"/>
              <a:tailEnd type="none" w="sm" len="sm"/>
            </a:ln>
          </p:spPr>
        </p:cxnSp>
        <p:cxnSp>
          <p:nvCxnSpPr>
            <p:cNvPr id="62" name="Google Shape;527;p8"/>
            <p:cNvCxnSpPr/>
            <p:nvPr/>
          </p:nvCxnSpPr>
          <p:spPr>
            <a:xfrm>
              <a:off x="-735104" y="4908311"/>
              <a:ext cx="0" cy="180000"/>
            </a:xfrm>
            <a:prstGeom prst="straightConnector1">
              <a:avLst/>
            </a:prstGeom>
            <a:solidFill>
              <a:schemeClr val="lt1"/>
            </a:solidFill>
            <a:ln w="12700" cap="rnd" cmpd="sng">
              <a:solidFill>
                <a:srgbClr val="DBDBDB"/>
              </a:solidFill>
              <a:prstDash val="solid"/>
              <a:round/>
              <a:headEnd type="none" w="sm" len="sm"/>
              <a:tailEnd type="none" w="sm" len="sm"/>
            </a:ln>
          </p:spPr>
        </p:cxnSp>
        <p:cxnSp>
          <p:nvCxnSpPr>
            <p:cNvPr id="63" name="Google Shape;528;p8"/>
            <p:cNvCxnSpPr/>
            <p:nvPr/>
          </p:nvCxnSpPr>
          <p:spPr>
            <a:xfrm>
              <a:off x="2929491" y="4908311"/>
              <a:ext cx="0" cy="180000"/>
            </a:xfrm>
            <a:prstGeom prst="straightConnector1">
              <a:avLst/>
            </a:prstGeom>
            <a:solidFill>
              <a:schemeClr val="lt1"/>
            </a:solidFill>
            <a:ln w="12700" cap="rnd" cmpd="sng">
              <a:solidFill>
                <a:srgbClr val="DBDBDB"/>
              </a:solidFill>
              <a:prstDash val="solid"/>
              <a:round/>
              <a:headEnd type="none" w="sm" len="sm"/>
              <a:tailEnd type="none" w="sm" len="sm"/>
            </a:ln>
          </p:spPr>
        </p:cxnSp>
      </p:grpSp>
      <p:sp>
        <p:nvSpPr>
          <p:cNvPr id="15" name="AutoShape 4" descr="File:SAP-Logo.svg - Wikimedia Common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grpSp>
        <p:nvGrpSpPr>
          <p:cNvPr id="11" name="Group 10"/>
          <p:cNvGrpSpPr/>
          <p:nvPr/>
        </p:nvGrpSpPr>
        <p:grpSpPr>
          <a:xfrm>
            <a:off x="3614657" y="3114041"/>
            <a:ext cx="3899629" cy="2405972"/>
            <a:chOff x="3645840" y="2269745"/>
            <a:chExt cx="3899629" cy="2405972"/>
          </a:xfrm>
          <a:effectLst>
            <a:outerShdw blurRad="50800" dist="38100" dir="2700000" algn="tl" rotWithShape="0">
              <a:prstClr val="black">
                <a:alpha val="40000"/>
              </a:prstClr>
            </a:outerShdw>
          </a:effectLst>
        </p:grpSpPr>
        <p:pic>
          <p:nvPicPr>
            <p:cNvPr id="134" name="Picture 133"/>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678116" y="2269745"/>
              <a:ext cx="3867353" cy="2405972"/>
            </a:xfrm>
            <a:prstGeom prst="rect">
              <a:avLst/>
            </a:prstGeom>
          </p:spPr>
        </p:pic>
        <p:pic>
          <p:nvPicPr>
            <p:cNvPr id="140" name="Google Shape;2461;p23"/>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3645840" y="2269745"/>
              <a:ext cx="236118" cy="212856"/>
            </a:xfrm>
            <a:prstGeom prst="rect">
              <a:avLst/>
            </a:prstGeom>
            <a:solidFill>
              <a:schemeClr val="bg1"/>
            </a:solidFill>
            <a:ln>
              <a:noFill/>
            </a:ln>
          </p:spPr>
        </p:pic>
      </p:grpSp>
      <p:pic>
        <p:nvPicPr>
          <p:cNvPr id="142" name="Google Shape;2249;p20"/>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7546562" y="1957425"/>
            <a:ext cx="2091414" cy="1792853"/>
          </a:xfrm>
          <a:prstGeom prst="rect">
            <a:avLst/>
          </a:prstGeom>
          <a:noFill/>
          <a:ln>
            <a:noFill/>
          </a:ln>
          <a:effectLst>
            <a:outerShdw blurRad="50800" dist="38100" dir="5400000" algn="t" rotWithShape="0">
              <a:srgbClr val="000000">
                <a:alpha val="40000"/>
              </a:srgbClr>
            </a:outerShdw>
          </a:effectLst>
        </p:spPr>
      </p:pic>
      <p:sp>
        <p:nvSpPr>
          <p:cNvPr id="143" name="Rectangle 142"/>
          <p:cNvSpPr/>
          <p:nvPr/>
        </p:nvSpPr>
        <p:spPr>
          <a:xfrm>
            <a:off x="7792594" y="2252394"/>
            <a:ext cx="1943520" cy="1200329"/>
          </a:xfrm>
          <a:prstGeom prst="rect">
            <a:avLst/>
          </a:prstGeom>
        </p:spPr>
        <p:txBody>
          <a:bodyPr wrap="square">
            <a:spAutoFit/>
          </a:bodyPr>
          <a:lstStyle/>
          <a:p>
            <a:r>
              <a:rPr lang="en-US" sz="1200" kern="1200" dirty="0">
                <a:solidFill>
                  <a:srgbClr val="4D4D4F"/>
                </a:solidFill>
                <a:latin typeface="+mj-lt"/>
                <a:cs typeface="Calibri" panose="020F0502020204030204" pitchFamily="34" charset="0"/>
              </a:rPr>
              <a:t>Access any application: </a:t>
            </a:r>
          </a:p>
          <a:p>
            <a:pPr marL="285750" indent="-285750">
              <a:buFont typeface="Wingdings" panose="05000000000000000000" pitchFamily="2" charset="2"/>
              <a:buChar char="ü"/>
            </a:pPr>
            <a:r>
              <a:rPr lang="en-US" sz="1200" kern="1200" dirty="0">
                <a:solidFill>
                  <a:srgbClr val="4D4D4F"/>
                </a:solidFill>
                <a:latin typeface="+mj-lt"/>
                <a:cs typeface="Calibri" panose="020F0502020204030204" pitchFamily="34" charset="0"/>
              </a:rPr>
              <a:t>Web (Http/s)</a:t>
            </a:r>
          </a:p>
          <a:p>
            <a:pPr marL="285750" indent="-285750">
              <a:buFont typeface="Wingdings" panose="05000000000000000000" pitchFamily="2" charset="2"/>
              <a:buChar char="ü"/>
            </a:pPr>
            <a:r>
              <a:rPr lang="en-US" sz="1200" kern="1200" dirty="0">
                <a:solidFill>
                  <a:srgbClr val="4D4D4F"/>
                </a:solidFill>
                <a:latin typeface="+mj-lt"/>
                <a:cs typeface="Calibri" panose="020F0502020204030204" pitchFamily="34" charset="0"/>
              </a:rPr>
              <a:t>Remote Desktop (RDP)</a:t>
            </a:r>
          </a:p>
          <a:p>
            <a:pPr marL="285750" indent="-285750">
              <a:buFont typeface="Wingdings" panose="05000000000000000000" pitchFamily="2" charset="2"/>
              <a:buChar char="ü"/>
            </a:pPr>
            <a:r>
              <a:rPr lang="en-US" sz="1200" kern="1200" dirty="0">
                <a:solidFill>
                  <a:srgbClr val="4D4D4F"/>
                </a:solidFill>
                <a:latin typeface="+mj-lt"/>
                <a:cs typeface="Calibri" panose="020F0502020204030204" pitchFamily="34" charset="0"/>
              </a:rPr>
              <a:t>Remote Admin (SSH)</a:t>
            </a:r>
          </a:p>
          <a:p>
            <a:pPr marL="285750" indent="-285750">
              <a:buFont typeface="Wingdings" panose="05000000000000000000" pitchFamily="2" charset="2"/>
              <a:buChar char="ü"/>
            </a:pPr>
            <a:r>
              <a:rPr lang="en-US" sz="1200" kern="1200" dirty="0">
                <a:solidFill>
                  <a:srgbClr val="4D4D4F"/>
                </a:solidFill>
                <a:latin typeface="+mj-lt"/>
                <a:cs typeface="Calibri" panose="020F0502020204030204" pitchFamily="34" charset="0"/>
              </a:rPr>
              <a:t>Database (SQL)+</a:t>
            </a:r>
          </a:p>
          <a:p>
            <a:pPr marL="285750" indent="-285750">
              <a:buFont typeface="Wingdings" panose="05000000000000000000" pitchFamily="2" charset="2"/>
              <a:buChar char="ü"/>
            </a:pPr>
            <a:endParaRPr lang="en-US" sz="1200" dirty="0">
              <a:latin typeface="+mj-lt"/>
              <a:cs typeface="Calibri" panose="020F0502020204030204" pitchFamily="34" charset="0"/>
            </a:endParaRPr>
          </a:p>
        </p:txBody>
      </p:sp>
      <p:sp>
        <p:nvSpPr>
          <p:cNvPr id="10" name="&quot;No&quot; Symbol 9"/>
          <p:cNvSpPr/>
          <p:nvPr/>
        </p:nvSpPr>
        <p:spPr bwMode="auto">
          <a:xfrm>
            <a:off x="8346218" y="3986294"/>
            <a:ext cx="624662" cy="685227"/>
          </a:xfrm>
          <a:prstGeom prst="noSmoking">
            <a:avLst/>
          </a:prstGeom>
          <a:solidFill>
            <a:schemeClr val="bg2"/>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spcBef>
                <a:spcPts val="1200"/>
              </a:spcBef>
              <a:spcAft>
                <a:spcPts val="0"/>
              </a:spcAft>
              <a:buSzPct val="115000"/>
            </a:pPr>
            <a:endParaRPr lang="en-US" sz="3200" dirty="0" err="1">
              <a:latin typeface="+mj-lt"/>
              <a:cs typeface="Calibri" panose="020F0502020204030204" pitchFamily="34" charset="0"/>
            </a:endParaRPr>
          </a:p>
        </p:txBody>
      </p:sp>
      <p:sp>
        <p:nvSpPr>
          <p:cNvPr id="133" name="Google Shape;526;p8"/>
          <p:cNvSpPr/>
          <p:nvPr/>
        </p:nvSpPr>
        <p:spPr>
          <a:xfrm>
            <a:off x="7447023" y="4524957"/>
            <a:ext cx="2460034" cy="1298320"/>
          </a:xfrm>
          <a:prstGeom prst="roundRect">
            <a:avLst>
              <a:gd name="adj" fmla="val 50000"/>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1800" b="1" dirty="0">
                <a:solidFill>
                  <a:schemeClr val="accent2"/>
                </a:solidFill>
                <a:latin typeface="+mj-lt"/>
                <a:cs typeface="Calibri" panose="020F0502020204030204" pitchFamily="34" charset="0"/>
                <a:sym typeface="Arial"/>
              </a:rPr>
              <a:t>ACCESS BLOCKED </a:t>
            </a:r>
          </a:p>
          <a:p>
            <a:pPr marL="0" marR="0" lvl="0" indent="0" algn="ctr" rtl="0">
              <a:spcBef>
                <a:spcPts val="0"/>
              </a:spcBef>
              <a:spcAft>
                <a:spcPts val="0"/>
              </a:spcAft>
              <a:buNone/>
            </a:pPr>
            <a:r>
              <a:rPr lang="en-US" sz="1800" b="1" dirty="0">
                <a:solidFill>
                  <a:schemeClr val="accent2"/>
                </a:solidFill>
                <a:latin typeface="+mj-lt"/>
                <a:cs typeface="Calibri" panose="020F0502020204030204" pitchFamily="34" charset="0"/>
              </a:rPr>
              <a:t>BASED ON DEVICE SECURITY POSTURE </a:t>
            </a:r>
            <a:endParaRPr sz="2000" b="1" dirty="0">
              <a:solidFill>
                <a:schemeClr val="accent2"/>
              </a:solidFill>
              <a:latin typeface="+mj-lt"/>
              <a:cs typeface="Calibri" panose="020F0502020204030204" pitchFamily="34" charset="0"/>
            </a:endParaRPr>
          </a:p>
        </p:txBody>
      </p:sp>
      <p:grpSp>
        <p:nvGrpSpPr>
          <p:cNvPr id="137" name="Group 136"/>
          <p:cNvGrpSpPr/>
          <p:nvPr/>
        </p:nvGrpSpPr>
        <p:grpSpPr>
          <a:xfrm>
            <a:off x="10449777" y="160338"/>
            <a:ext cx="1410774" cy="1409827"/>
            <a:chOff x="9661178" y="-197972"/>
            <a:chExt cx="2383352" cy="2613615"/>
          </a:xfrm>
        </p:grpSpPr>
        <p:pic>
          <p:nvPicPr>
            <p:cNvPr id="138" name="Picture 137"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139" name="Group 138">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141"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144"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145"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pic>
        <p:nvPicPr>
          <p:cNvPr id="5" name="Picture 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12775" y="1298187"/>
            <a:ext cx="1750906" cy="731520"/>
          </a:xfrm>
          <a:prstGeom prst="rect">
            <a:avLst/>
          </a:prstGeom>
        </p:spPr>
      </p:pic>
      <p:sp>
        <p:nvSpPr>
          <p:cNvPr id="136" name="Google Shape;1824;p15"/>
          <p:cNvSpPr txBox="1">
            <a:spLocks/>
          </p:cNvSpPr>
          <p:nvPr/>
        </p:nvSpPr>
        <p:spPr bwMode="auto">
          <a:xfrm>
            <a:off x="583842" y="460552"/>
            <a:ext cx="11022371"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91425" tIns="45700" rIns="91425" bIns="45700" numCol="1" anchor="t" anchorCtr="0" compatLnSpc="1">
            <a:prstTxWarp prst="textNoShape">
              <a:avLst/>
            </a:prstTxWarp>
            <a:noAutofit/>
          </a:bodyPr>
          <a:lstStyle>
            <a:lvl1pPr lvl="0" algn="l" rtl="0" eaLnBrk="1" fontAlgn="base" hangingPunct="1">
              <a:lnSpc>
                <a:spcPct val="85000"/>
              </a:lnSpc>
              <a:spcBef>
                <a:spcPts val="0"/>
              </a:spcBef>
              <a:spcAft>
                <a:spcPts val="0"/>
              </a:spcAft>
              <a:buSzPts val="1400"/>
              <a:buNone/>
              <a:defRPr sz="3399" b="0">
                <a:solidFill>
                  <a:schemeClr val="dk2"/>
                </a:solidFill>
                <a:latin typeface="Calibri" panose="020F0502020204030204" pitchFamily="34" charset="0"/>
                <a:ea typeface="+mj-ea"/>
                <a:cs typeface="Calibri" panose="020F0502020204030204" pitchFamily="34" charset="0"/>
              </a:defRPr>
            </a:lvl1pPr>
            <a:lvl2pPr lvl="1"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2pPr>
            <a:lvl3pPr lvl="2"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3pPr>
            <a:lvl4pPr lvl="3"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4pPr>
            <a:lvl5pPr lvl="4"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5pPr>
            <a:lvl6pPr marL="609310" lvl="5"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6pPr>
            <a:lvl7pPr marL="1218621" lvl="6"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7pPr>
            <a:lvl8pPr marL="1827931" lvl="7"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8pPr>
            <a:lvl9pPr marL="2437242" lvl="8" algn="l" rtl="0" eaLnBrk="1" fontAlgn="base" hangingPunct="1">
              <a:lnSpc>
                <a:spcPct val="85000"/>
              </a:lnSpc>
              <a:spcBef>
                <a:spcPts val="0"/>
              </a:spcBef>
              <a:spcAft>
                <a:spcPts val="0"/>
              </a:spcAft>
              <a:buSzPts val="1400"/>
              <a:buNone/>
              <a:defRPr sz="3699" b="1">
                <a:solidFill>
                  <a:srgbClr val="4E4E4E"/>
                </a:solidFill>
                <a:latin typeface="Helvetica" pitchFamily="34" charset="0"/>
              </a:defRPr>
            </a:lvl9pPr>
          </a:lstStyle>
          <a:p>
            <a:pPr>
              <a:buClrTx/>
              <a:buFontTx/>
            </a:pPr>
            <a:r>
              <a:rPr lang="en-US" sz="3200" b="1" dirty="0">
                <a:latin typeface="+mj-lt"/>
                <a:sym typeface="Calibri"/>
              </a:rPr>
              <a:t>HARMONY: 360</a:t>
            </a:r>
            <a:r>
              <a:rPr lang="en-US" sz="3200" b="1" dirty="0">
                <a:latin typeface="+mj-lt"/>
              </a:rPr>
              <a:t>°</a:t>
            </a:r>
            <a:r>
              <a:rPr lang="en-US" sz="3200" b="1" dirty="0">
                <a:latin typeface="+mj-lt"/>
                <a:sym typeface="Calibri"/>
              </a:rPr>
              <a:t> MALWARE PROTECTION</a:t>
            </a:r>
          </a:p>
          <a:p>
            <a:pPr>
              <a:buClrTx/>
              <a:buFontTx/>
            </a:pPr>
            <a:r>
              <a:rPr lang="en-US" sz="2800" b="1" dirty="0">
                <a:solidFill>
                  <a:srgbClr val="4D4D4F"/>
                </a:solidFill>
                <a:latin typeface="Calibri"/>
              </a:rPr>
              <a:t>BLOCK LATERAL MOVEMENT TO CORPORATE APPLICATIONS</a:t>
            </a:r>
            <a:br>
              <a:rPr lang="en-US" sz="3200" b="1" dirty="0">
                <a:latin typeface="+mj-lt"/>
                <a:sym typeface="Calibri"/>
              </a:rPr>
            </a:br>
            <a:endParaRPr lang="en-US" sz="3200" b="1" dirty="0">
              <a:latin typeface="+mj-lt"/>
            </a:endParaRPr>
          </a:p>
        </p:txBody>
      </p:sp>
    </p:spTree>
    <p:extLst>
      <p:ext uri="{BB962C8B-B14F-4D97-AF65-F5344CB8AC3E}">
        <p14:creationId xmlns:p14="http://schemas.microsoft.com/office/powerpoint/2010/main" val="33249054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163"/>
        <p:cNvGrpSpPr/>
        <p:nvPr/>
      </p:nvGrpSpPr>
      <p:grpSpPr>
        <a:xfrm>
          <a:off x="0" y="0"/>
          <a:ext cx="0" cy="0"/>
          <a:chOff x="0" y="0"/>
          <a:chExt cx="0" cy="0"/>
        </a:xfrm>
      </p:grpSpPr>
      <p:sp>
        <p:nvSpPr>
          <p:cNvPr id="5" name="Date Placeholder 4" hidden="1"/>
          <p:cNvSpPr>
            <a:spLocks noGrp="1"/>
          </p:cNvSpPr>
          <p:nvPr>
            <p:ph type="dt" idx="10"/>
          </p:nvPr>
        </p:nvSpPr>
        <p:spPr/>
        <p:txBody>
          <a:bodyPr/>
          <a:lstStyle/>
          <a:p>
            <a:endParaRPr lang="en-US" dirty="0"/>
          </a:p>
        </p:txBody>
      </p:sp>
      <p:sp>
        <p:nvSpPr>
          <p:cNvPr id="4" name="Footer Placeholder 3" hidden="1"/>
          <p:cNvSpPr>
            <a:spLocks noGrp="1"/>
          </p:cNvSpPr>
          <p:nvPr>
            <p:ph type="ftr" sz="quarter" idx="11"/>
          </p:nvPr>
        </p:nvSpPr>
        <p:spPr/>
        <p:txBody>
          <a:bodyPr/>
          <a:lstStyle/>
          <a:p>
            <a:r>
              <a:rPr lang="en-US" dirty="0"/>
              <a:t> [Internal Use] for Check Point employees​</a:t>
            </a:r>
          </a:p>
        </p:txBody>
      </p:sp>
      <p:pic>
        <p:nvPicPr>
          <p:cNvPr id="2173" name="Google Shape;2173;p19" descr="Macbook PNG Image | 연예인"/>
          <p:cNvPicPr preferRelativeResize="0"/>
          <p:nvPr/>
        </p:nvPicPr>
        <p:blipFill rotWithShape="1">
          <a:blip r:embed="rId3">
            <a:alphaModFix/>
          </a:blip>
          <a:srcRect/>
          <a:stretch/>
        </p:blipFill>
        <p:spPr>
          <a:xfrm>
            <a:off x="8659256" y="4145239"/>
            <a:ext cx="2976138" cy="1718384"/>
          </a:xfrm>
          <a:prstGeom prst="rect">
            <a:avLst/>
          </a:prstGeom>
          <a:noFill/>
          <a:ln>
            <a:noFill/>
          </a:ln>
        </p:spPr>
      </p:pic>
      <p:sp>
        <p:nvSpPr>
          <p:cNvPr id="2174" name="Google Shape;2174;p19"/>
          <p:cNvSpPr txBox="1"/>
          <p:nvPr/>
        </p:nvSpPr>
        <p:spPr>
          <a:xfrm>
            <a:off x="8789127" y="2654477"/>
            <a:ext cx="2805734" cy="665808"/>
          </a:xfrm>
          <a:prstGeom prst="rect">
            <a:avLst/>
          </a:prstGeom>
          <a:noFill/>
          <a:ln>
            <a:noFill/>
          </a:ln>
        </p:spPr>
        <p:txBody>
          <a:bodyPr spcFirstLastPara="1" wrap="square" lIns="91425" tIns="45700" rIns="91425" bIns="45700" anchor="t" anchorCtr="0">
            <a:noAutofit/>
          </a:bodyPr>
          <a:lstStyle/>
          <a:p>
            <a:pPr marL="11112" lvl="1" algn="ctr">
              <a:lnSpc>
                <a:spcPct val="95000"/>
              </a:lnSpc>
              <a:buClr>
                <a:srgbClr val="920053"/>
              </a:buClr>
              <a:buSzPts val="2000"/>
            </a:pPr>
            <a:r>
              <a:rPr lang="en-US" sz="1800" b="1" dirty="0">
                <a:solidFill>
                  <a:srgbClr val="4D4D4F"/>
                </a:solidFill>
                <a:latin typeface="+mj-lt"/>
                <a:cs typeface="Calibri" panose="020F0502020204030204" pitchFamily="34" charset="0"/>
              </a:rPr>
              <a:t>Prevent corporate password exposure </a:t>
            </a:r>
            <a:endParaRPr sz="1800" b="1" dirty="0">
              <a:solidFill>
                <a:srgbClr val="4D4D4F"/>
              </a:solidFill>
              <a:latin typeface="+mj-lt"/>
              <a:cs typeface="Calibri" panose="020F0502020204030204" pitchFamily="34" charset="0"/>
            </a:endParaRPr>
          </a:p>
        </p:txBody>
      </p:sp>
      <p:grpSp>
        <p:nvGrpSpPr>
          <p:cNvPr id="2175" name="Google Shape;2175;p19"/>
          <p:cNvGrpSpPr/>
          <p:nvPr/>
        </p:nvGrpSpPr>
        <p:grpSpPr>
          <a:xfrm>
            <a:off x="1322081" y="4163747"/>
            <a:ext cx="2216579" cy="1389891"/>
            <a:chOff x="4932761" y="2585869"/>
            <a:chExt cx="5314500" cy="3474000"/>
          </a:xfrm>
        </p:grpSpPr>
        <p:pic>
          <p:nvPicPr>
            <p:cNvPr id="2176" name="Google Shape;2176;p19" descr="https://www.mailguard.com.au/hubfs/180226-o365-sign.jpg"/>
            <p:cNvPicPr preferRelativeResize="0"/>
            <p:nvPr/>
          </p:nvPicPr>
          <p:blipFill rotWithShape="1">
            <a:blip r:embed="rId4">
              <a:alphaModFix/>
            </a:blip>
            <a:srcRect/>
            <a:stretch/>
          </p:blipFill>
          <p:spPr>
            <a:xfrm>
              <a:off x="4932761" y="2585869"/>
              <a:ext cx="5304904" cy="3474000"/>
            </a:xfrm>
            <a:prstGeom prst="rect">
              <a:avLst/>
            </a:prstGeom>
            <a:noFill/>
            <a:ln>
              <a:noFill/>
            </a:ln>
          </p:spPr>
        </p:pic>
        <p:sp>
          <p:nvSpPr>
            <p:cNvPr id="2177" name="Google Shape;2177;p19"/>
            <p:cNvSpPr/>
            <p:nvPr/>
          </p:nvSpPr>
          <p:spPr>
            <a:xfrm>
              <a:off x="9502632" y="5738481"/>
              <a:ext cx="744629" cy="301060"/>
            </a:xfrm>
            <a:prstGeom prst="rect">
              <a:avLst/>
            </a:prstGeom>
            <a:solidFill>
              <a:schemeClr val="lt1"/>
            </a:solidFill>
            <a:ln>
              <a:noFill/>
            </a:ln>
            <a:effectLst>
              <a:outerShdw blurRad="165100" dist="1016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Clr>
                  <a:srgbClr val="FF0000"/>
                </a:buClr>
                <a:buSzPts val="2760"/>
                <a:buFont typeface="Noto Sans Symbols"/>
                <a:buNone/>
              </a:pPr>
              <a:endParaRPr sz="2400" b="0" i="0" u="none" strike="noStrike" cap="none" dirty="0">
                <a:solidFill>
                  <a:srgbClr val="4D4D4F"/>
                </a:solidFill>
                <a:latin typeface="Calibri" panose="020F0502020204030204" pitchFamily="34" charset="0"/>
                <a:ea typeface="Calibri"/>
                <a:cs typeface="Calibri" panose="020F0502020204030204" pitchFamily="34" charset="0"/>
                <a:sym typeface="Calibri"/>
              </a:endParaRPr>
            </a:p>
          </p:txBody>
        </p:sp>
      </p:grpSp>
      <p:pic>
        <p:nvPicPr>
          <p:cNvPr id="2178" name="Google Shape;2178;p19" descr="Macbook PNG Image | 연예인"/>
          <p:cNvPicPr preferRelativeResize="0"/>
          <p:nvPr/>
        </p:nvPicPr>
        <p:blipFill rotWithShape="1">
          <a:blip r:embed="rId3">
            <a:alphaModFix/>
          </a:blip>
          <a:srcRect/>
          <a:stretch/>
        </p:blipFill>
        <p:spPr>
          <a:xfrm>
            <a:off x="958959" y="4094949"/>
            <a:ext cx="2976137" cy="1718384"/>
          </a:xfrm>
          <a:prstGeom prst="rect">
            <a:avLst/>
          </a:prstGeom>
          <a:noFill/>
          <a:ln>
            <a:noFill/>
          </a:ln>
        </p:spPr>
      </p:pic>
      <p:sp>
        <p:nvSpPr>
          <p:cNvPr id="2179" name="Google Shape;2179;p19"/>
          <p:cNvSpPr/>
          <p:nvPr/>
        </p:nvSpPr>
        <p:spPr>
          <a:xfrm>
            <a:off x="2378514" y="4581856"/>
            <a:ext cx="1144410" cy="105508"/>
          </a:xfrm>
          <a:prstGeom prst="rect">
            <a:avLst/>
          </a:prstGeom>
          <a:solidFill>
            <a:srgbClr val="D8D8D8"/>
          </a:solidFill>
          <a:ln w="19050" cap="flat" cmpd="sng">
            <a:solidFill>
              <a:schemeClr val="accent1"/>
            </a:solidFill>
            <a:prstDash val="solid"/>
            <a:miter lim="800000"/>
            <a:headEnd type="none" w="sm" len="sm"/>
            <a:tailEnd type="none" w="sm" len="sm"/>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72183E"/>
              </a:buClr>
              <a:buSzPts val="920"/>
              <a:buFont typeface="Noto Sans Symbols"/>
              <a:buNone/>
            </a:pPr>
            <a:r>
              <a:rPr lang="en-US" sz="800" b="0" i="0" u="none" strike="noStrike" cap="none" dirty="0">
                <a:solidFill>
                  <a:srgbClr val="72183E"/>
                </a:solidFill>
                <a:latin typeface="+mn-lt"/>
                <a:ea typeface="Calibri"/>
                <a:cs typeface="Calibri" panose="020F0502020204030204" pitchFamily="34" charset="0"/>
                <a:sym typeface="Calibri"/>
              </a:rPr>
              <a:t>  BLOCKED – Phishing Site</a:t>
            </a:r>
            <a:endParaRPr dirty="0">
              <a:latin typeface="+mn-lt"/>
              <a:cs typeface="Calibri" panose="020F0502020204030204" pitchFamily="34" charset="0"/>
            </a:endParaRPr>
          </a:p>
        </p:txBody>
      </p:sp>
      <p:sp>
        <p:nvSpPr>
          <p:cNvPr id="2180" name="Google Shape;2180;p19"/>
          <p:cNvSpPr/>
          <p:nvPr/>
        </p:nvSpPr>
        <p:spPr>
          <a:xfrm>
            <a:off x="2380851" y="4696033"/>
            <a:ext cx="1145552" cy="106563"/>
          </a:xfrm>
          <a:prstGeom prst="rect">
            <a:avLst/>
          </a:prstGeom>
          <a:solidFill>
            <a:srgbClr val="D8D8D8"/>
          </a:solidFill>
          <a:ln w="19050" cap="flat" cmpd="sng">
            <a:solidFill>
              <a:schemeClr val="accent1"/>
            </a:solidFill>
            <a:prstDash val="solid"/>
            <a:miter lim="800000"/>
            <a:headEnd type="none" w="sm" len="sm"/>
            <a:tailEnd type="none" w="sm" len="sm"/>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72183E"/>
              </a:buClr>
              <a:buSzPts val="920"/>
              <a:buFont typeface="Noto Sans Symbols"/>
              <a:buNone/>
            </a:pPr>
            <a:r>
              <a:rPr lang="en-US" sz="800" b="0" i="0" u="none" strike="noStrike" cap="none" dirty="0">
                <a:solidFill>
                  <a:srgbClr val="72183E"/>
                </a:solidFill>
                <a:latin typeface="+mn-lt"/>
                <a:ea typeface="Calibri"/>
                <a:cs typeface="Calibri" panose="020F0502020204030204" pitchFamily="34" charset="0"/>
                <a:sym typeface="Calibri"/>
              </a:rPr>
              <a:t>  BLOCKED – Phishing Site</a:t>
            </a:r>
            <a:endParaRPr dirty="0">
              <a:latin typeface="+mn-lt"/>
              <a:cs typeface="Calibri" panose="020F0502020204030204" pitchFamily="34" charset="0"/>
            </a:endParaRPr>
          </a:p>
        </p:txBody>
      </p:sp>
      <p:sp>
        <p:nvSpPr>
          <p:cNvPr id="2181" name="Google Shape;2181;p19"/>
          <p:cNvSpPr txBox="1"/>
          <p:nvPr/>
        </p:nvSpPr>
        <p:spPr>
          <a:xfrm>
            <a:off x="-85326" y="2654477"/>
            <a:ext cx="4749704" cy="772098"/>
          </a:xfrm>
          <a:prstGeom prst="rect">
            <a:avLst/>
          </a:prstGeom>
          <a:noFill/>
          <a:ln>
            <a:noFill/>
          </a:ln>
        </p:spPr>
        <p:txBody>
          <a:bodyPr spcFirstLastPara="1" wrap="square" lIns="91425" tIns="45700" rIns="91425" bIns="45700" anchor="t" anchorCtr="0">
            <a:noAutofit/>
          </a:bodyPr>
          <a:lstStyle/>
          <a:p>
            <a:pPr marL="11112" marR="0" lvl="1" indent="0" algn="ctr" rtl="0">
              <a:lnSpc>
                <a:spcPct val="95000"/>
              </a:lnSpc>
              <a:spcAft>
                <a:spcPts val="0"/>
              </a:spcAft>
              <a:buClr>
                <a:srgbClr val="920053"/>
              </a:buClr>
              <a:buSzPts val="2000"/>
              <a:buFont typeface="Arial"/>
              <a:buNone/>
            </a:pPr>
            <a:r>
              <a:rPr lang="en-US" sz="1800" b="1" i="0" u="none" strike="noStrike" cap="none" dirty="0">
                <a:solidFill>
                  <a:srgbClr val="4D4D4F"/>
                </a:solidFill>
                <a:latin typeface="+mj-lt"/>
                <a:cs typeface="Calibri" panose="020F0502020204030204" pitchFamily="34" charset="0"/>
                <a:sym typeface="Arial"/>
              </a:rPr>
              <a:t>Prevent access to phishing sites </a:t>
            </a:r>
            <a:endParaRPr sz="1800" b="1" dirty="0">
              <a:latin typeface="+mj-lt"/>
              <a:cs typeface="Calibri" panose="020F0502020204030204" pitchFamily="34" charset="0"/>
            </a:endParaRPr>
          </a:p>
          <a:p>
            <a:pPr marL="11112" marR="0" lvl="1" indent="0" algn="ctr" rtl="0">
              <a:lnSpc>
                <a:spcPct val="95000"/>
              </a:lnSpc>
              <a:spcAft>
                <a:spcPts val="0"/>
              </a:spcAft>
              <a:buClr>
                <a:srgbClr val="920053"/>
              </a:buClr>
              <a:buSzPts val="1600"/>
              <a:buFont typeface="Arial"/>
              <a:buNone/>
            </a:pPr>
            <a:r>
              <a:rPr lang="en-US" sz="1800" b="0" i="0" u="none" strike="noStrike" cap="none" dirty="0">
                <a:solidFill>
                  <a:schemeClr val="tx1"/>
                </a:solidFill>
                <a:latin typeface="+mj-lt"/>
                <a:cs typeface="Calibri" panose="020F0502020204030204" pitchFamily="34" charset="0"/>
                <a:sym typeface="Arial"/>
              </a:rPr>
              <a:t>Even those never seen before</a:t>
            </a:r>
            <a:endParaRPr sz="1800" b="0" i="0" u="none" strike="noStrike" cap="none" dirty="0">
              <a:solidFill>
                <a:schemeClr val="tx1"/>
              </a:solidFill>
              <a:latin typeface="+mj-lt"/>
              <a:cs typeface="Calibri" panose="020F0502020204030204" pitchFamily="34" charset="0"/>
              <a:sym typeface="Arial"/>
            </a:endParaRPr>
          </a:p>
        </p:txBody>
      </p:sp>
      <p:sp>
        <p:nvSpPr>
          <p:cNvPr id="2182" name="Google Shape;2182;p19"/>
          <p:cNvSpPr txBox="1"/>
          <p:nvPr/>
        </p:nvSpPr>
        <p:spPr>
          <a:xfrm>
            <a:off x="4718924" y="2654477"/>
            <a:ext cx="2885737" cy="731389"/>
          </a:xfrm>
          <a:prstGeom prst="rect">
            <a:avLst/>
          </a:prstGeom>
          <a:noFill/>
          <a:ln>
            <a:noFill/>
          </a:ln>
        </p:spPr>
        <p:txBody>
          <a:bodyPr spcFirstLastPara="1" wrap="square" lIns="91425" tIns="45700" rIns="91425" bIns="45700" anchor="t" anchorCtr="0">
            <a:noAutofit/>
          </a:bodyPr>
          <a:lstStyle/>
          <a:p>
            <a:pPr marL="11112" marR="0" lvl="1" indent="0" algn="ctr" rtl="0">
              <a:lnSpc>
                <a:spcPct val="95000"/>
              </a:lnSpc>
              <a:spcBef>
                <a:spcPts val="0"/>
              </a:spcBef>
              <a:spcAft>
                <a:spcPts val="0"/>
              </a:spcAft>
              <a:buClr>
                <a:srgbClr val="920053"/>
              </a:buClr>
              <a:buSzPts val="2000"/>
              <a:buFont typeface="Arial"/>
              <a:buNone/>
            </a:pPr>
            <a:r>
              <a:rPr lang="en-US" sz="1800" b="1" dirty="0">
                <a:solidFill>
                  <a:srgbClr val="4D4D4F"/>
                </a:solidFill>
                <a:latin typeface="+mj-lt"/>
                <a:cs typeface="Calibri" panose="020F0502020204030204" pitchFamily="34" charset="0"/>
              </a:rPr>
              <a:t>Block phishing emails before they reach users </a:t>
            </a:r>
            <a:endParaRPr sz="1800" b="1" dirty="0">
              <a:solidFill>
                <a:srgbClr val="4D4D4F"/>
              </a:solidFill>
              <a:latin typeface="+mj-lt"/>
              <a:cs typeface="Calibri" panose="020F0502020204030204" pitchFamily="34" charset="0"/>
            </a:endParaRPr>
          </a:p>
        </p:txBody>
      </p:sp>
      <p:grpSp>
        <p:nvGrpSpPr>
          <p:cNvPr id="2183" name="Google Shape;2183;p19"/>
          <p:cNvGrpSpPr/>
          <p:nvPr/>
        </p:nvGrpSpPr>
        <p:grpSpPr>
          <a:xfrm>
            <a:off x="4598352" y="4098431"/>
            <a:ext cx="2976137" cy="1718384"/>
            <a:chOff x="5319118" y="4344438"/>
            <a:chExt cx="2976137" cy="1718384"/>
          </a:xfrm>
        </p:grpSpPr>
        <p:pic>
          <p:nvPicPr>
            <p:cNvPr id="2184" name="Google Shape;2184;p19" descr="Macbook PNG Image | 연예인"/>
            <p:cNvPicPr preferRelativeResize="0"/>
            <p:nvPr/>
          </p:nvPicPr>
          <p:blipFill rotWithShape="1">
            <a:blip r:embed="rId3">
              <a:alphaModFix/>
            </a:blip>
            <a:srcRect/>
            <a:stretch/>
          </p:blipFill>
          <p:spPr>
            <a:xfrm>
              <a:off x="5319118" y="4344438"/>
              <a:ext cx="2976137" cy="1718384"/>
            </a:xfrm>
            <a:prstGeom prst="rect">
              <a:avLst/>
            </a:prstGeom>
            <a:noFill/>
            <a:ln>
              <a:noFill/>
            </a:ln>
          </p:spPr>
        </p:pic>
        <p:pic>
          <p:nvPicPr>
            <p:cNvPr id="2185" name="Google Shape;2185;p19" descr="The Office 365 platform—new opportunities for developers - Microsoft 365  Blog"/>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5675188" y="4416349"/>
              <a:ext cx="2185578" cy="1382186"/>
            </a:xfrm>
            <a:prstGeom prst="rect">
              <a:avLst/>
            </a:prstGeom>
            <a:noFill/>
            <a:ln>
              <a:noFill/>
            </a:ln>
          </p:spPr>
        </p:pic>
      </p:grpSp>
      <p:grpSp>
        <p:nvGrpSpPr>
          <p:cNvPr id="2196" name="Google Shape;2196;p19"/>
          <p:cNvGrpSpPr/>
          <p:nvPr/>
        </p:nvGrpSpPr>
        <p:grpSpPr>
          <a:xfrm>
            <a:off x="6051195" y="3748457"/>
            <a:ext cx="2090048" cy="2236547"/>
            <a:chOff x="6441054" y="3835458"/>
            <a:chExt cx="2090048" cy="2236547"/>
          </a:xfrm>
        </p:grpSpPr>
        <p:pic>
          <p:nvPicPr>
            <p:cNvPr id="2197" name="Google Shape;2197;p19"/>
            <p:cNvPicPr preferRelativeResize="0"/>
            <p:nvPr/>
          </p:nvPicPr>
          <p:blipFill rotWithShape="1">
            <a:blip r:embed="rId6" cstate="print">
              <a:alphaModFix/>
              <a:extLst>
                <a:ext uri="{28A0092B-C50C-407E-A947-70E740481C1C}">
                  <a14:useLocalDpi xmlns:a14="http://schemas.microsoft.com/office/drawing/2010/main"/>
                </a:ext>
              </a:extLst>
            </a:blip>
            <a:srcRect b="12546"/>
            <a:stretch/>
          </p:blipFill>
          <p:spPr>
            <a:xfrm>
              <a:off x="6441054" y="3835458"/>
              <a:ext cx="2090048" cy="2236547"/>
            </a:xfrm>
            <a:prstGeom prst="rect">
              <a:avLst/>
            </a:prstGeom>
            <a:noFill/>
            <a:ln>
              <a:noFill/>
            </a:ln>
            <a:effectLst>
              <a:outerShdw blurRad="292100" dist="139700" dir="2700000" algn="tl" rotWithShape="0">
                <a:srgbClr val="333333">
                  <a:alpha val="64705"/>
                </a:srgbClr>
              </a:outerShdw>
            </a:effectLst>
          </p:spPr>
        </p:pic>
        <p:sp>
          <p:nvSpPr>
            <p:cNvPr id="2198" name="Google Shape;2198;p19"/>
            <p:cNvSpPr/>
            <p:nvPr/>
          </p:nvSpPr>
          <p:spPr>
            <a:xfrm>
              <a:off x="6490472" y="5440572"/>
              <a:ext cx="462422" cy="175808"/>
            </a:xfrm>
            <a:prstGeom prst="rect">
              <a:avLst/>
            </a:prstGeom>
            <a:noFill/>
            <a:ln w="19050" cap="flat" cmpd="sng">
              <a:solidFill>
                <a:srgbClr val="D5106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grpSp>
      <p:pic>
        <p:nvPicPr>
          <p:cNvPr id="2203" name="Google Shape;2203;p19" descr="Blocked red rubber stamp — Stock Photo © Arcady #178018500"/>
          <p:cNvPicPr preferRelativeResize="0"/>
          <p:nvPr/>
        </p:nvPicPr>
        <p:blipFill rotWithShape="1">
          <a:blip r:embed="rId7" cstate="print">
            <a:clrChange>
              <a:clrFrom>
                <a:srgbClr val="FFFFFF"/>
              </a:clrFrom>
              <a:clrTo>
                <a:srgbClr val="FFFFFF">
                  <a:alpha val="0"/>
                </a:srgbClr>
              </a:clrTo>
            </a:clrChange>
            <a:alphaModFix/>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5799993" y="4220719"/>
            <a:ext cx="1587108" cy="993853"/>
          </a:xfrm>
          <a:prstGeom prst="rect">
            <a:avLst/>
          </a:prstGeom>
          <a:noFill/>
          <a:ln>
            <a:noFill/>
          </a:ln>
        </p:spPr>
      </p:pic>
      <p:pic>
        <p:nvPicPr>
          <p:cNvPr id="2204" name="Google Shape;2204;p19"/>
          <p:cNvPicPr preferRelativeResize="0"/>
          <p:nvPr/>
        </p:nvPicPr>
        <p:blipFill rotWithShape="1">
          <a:blip r:embed="rId8">
            <a:alphaModFix/>
          </a:blip>
          <a:srcRect/>
          <a:stretch/>
        </p:blipFill>
        <p:spPr>
          <a:xfrm>
            <a:off x="9071288" y="4301513"/>
            <a:ext cx="2152075" cy="1188823"/>
          </a:xfrm>
          <a:prstGeom prst="rect">
            <a:avLst/>
          </a:prstGeom>
          <a:noFill/>
          <a:ln>
            <a:noFill/>
          </a:ln>
        </p:spPr>
      </p:pic>
      <p:pic>
        <p:nvPicPr>
          <p:cNvPr id="2205" name="Google Shape;2205;p19"/>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9071236" y="4344131"/>
            <a:ext cx="2152178" cy="1188516"/>
          </a:xfrm>
          <a:prstGeom prst="rect">
            <a:avLst/>
          </a:prstGeom>
          <a:noFill/>
          <a:ln>
            <a:noFill/>
          </a:ln>
        </p:spPr>
      </p:pic>
      <p:grpSp>
        <p:nvGrpSpPr>
          <p:cNvPr id="10" name="Graphic 8">
            <a:extLst>
              <a:ext uri="{FF2B5EF4-FFF2-40B4-BE49-F238E27FC236}">
                <a16:creationId xmlns:a16="http://schemas.microsoft.com/office/drawing/2014/main" id="{0D77AB22-3D45-4F4D-9CEF-3F3562E8D104}"/>
              </a:ext>
            </a:extLst>
          </p:cNvPr>
          <p:cNvGrpSpPr/>
          <p:nvPr/>
        </p:nvGrpSpPr>
        <p:grpSpPr>
          <a:xfrm>
            <a:off x="1965694" y="1991002"/>
            <a:ext cx="574535" cy="563423"/>
            <a:chOff x="2048906" y="2000465"/>
            <a:chExt cx="1008000" cy="1008000"/>
          </a:xfrm>
        </p:grpSpPr>
        <p:sp>
          <p:nvSpPr>
            <p:cNvPr id="11" name="Freeform: Shape 10">
              <a:extLst>
                <a:ext uri="{FF2B5EF4-FFF2-40B4-BE49-F238E27FC236}">
                  <a16:creationId xmlns:a16="http://schemas.microsoft.com/office/drawing/2014/main" id="{799F0A66-461C-47D0-B374-BAE77CAE752C}"/>
                </a:ext>
              </a:extLst>
            </p:cNvPr>
            <p:cNvSpPr/>
            <p:nvPr/>
          </p:nvSpPr>
          <p:spPr>
            <a:xfrm>
              <a:off x="2048906" y="2000465"/>
              <a:ext cx="1008000" cy="1008000"/>
            </a:xfrm>
            <a:custGeom>
              <a:avLst/>
              <a:gdLst>
                <a:gd name="connsiteX0" fmla="*/ 1008000 w 1008000"/>
                <a:gd name="connsiteY0" fmla="*/ 504000 h 1008000"/>
                <a:gd name="connsiteX1" fmla="*/ 504000 w 1008000"/>
                <a:gd name="connsiteY1" fmla="*/ 1008000 h 1008000"/>
                <a:gd name="connsiteX2" fmla="*/ 0 w 1008000"/>
                <a:gd name="connsiteY2" fmla="*/ 504000 h 1008000"/>
                <a:gd name="connsiteX3" fmla="*/ 504000 w 1008000"/>
                <a:gd name="connsiteY3" fmla="*/ 0 h 1008000"/>
                <a:gd name="connsiteX4" fmla="*/ 1008000 w 1008000"/>
                <a:gd name="connsiteY4" fmla="*/ 504000 h 10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00" h="1008000">
                  <a:moveTo>
                    <a:pt x="1008000" y="504000"/>
                  </a:moveTo>
                  <a:cubicBezTo>
                    <a:pt x="1008000" y="782352"/>
                    <a:pt x="782352" y="1008000"/>
                    <a:pt x="504000" y="1008000"/>
                  </a:cubicBezTo>
                  <a:cubicBezTo>
                    <a:pt x="225648" y="1008000"/>
                    <a:pt x="0" y="782352"/>
                    <a:pt x="0" y="504000"/>
                  </a:cubicBezTo>
                  <a:cubicBezTo>
                    <a:pt x="0" y="225648"/>
                    <a:pt x="225648" y="0"/>
                    <a:pt x="504000" y="0"/>
                  </a:cubicBezTo>
                  <a:cubicBezTo>
                    <a:pt x="782352" y="0"/>
                    <a:pt x="1008000" y="225648"/>
                    <a:pt x="1008000" y="504000"/>
                  </a:cubicBezTo>
                  <a:close/>
                </a:path>
              </a:pathLst>
            </a:custGeom>
            <a:gradFill flip="none" rotWithShape="1">
              <a:gsLst>
                <a:gs pos="84071">
                  <a:schemeClr val="tx2"/>
                </a:gs>
                <a:gs pos="0">
                  <a:schemeClr val="accent6">
                    <a:lumMod val="90000"/>
                    <a:lumOff val="10000"/>
                  </a:schemeClr>
                </a:gs>
                <a:gs pos="47000">
                  <a:schemeClr val="bg2"/>
                </a:gs>
              </a:gsLst>
              <a:lin ang="2700000" scaled="1"/>
              <a:tileRect/>
            </a:gradFill>
            <a:ln w="1953" cap="flat">
              <a:noFill/>
              <a:prstDash val="solid"/>
              <a:miter/>
            </a:ln>
          </p:spPr>
          <p:txBody>
            <a:bodyPr rtlCol="0" anchor="ctr"/>
            <a:lstStyle/>
            <a:p>
              <a:endParaRPr lang="en-US" sz="1600" dirty="0">
                <a:latin typeface="+mj-lt"/>
                <a:cs typeface="Calibri" panose="020F0502020204030204" pitchFamily="34" charset="0"/>
              </a:endParaRPr>
            </a:p>
          </p:txBody>
        </p:sp>
        <p:grpSp>
          <p:nvGrpSpPr>
            <p:cNvPr id="13" name="Graphic 8">
              <a:extLst>
                <a:ext uri="{FF2B5EF4-FFF2-40B4-BE49-F238E27FC236}">
                  <a16:creationId xmlns:a16="http://schemas.microsoft.com/office/drawing/2014/main" id="{0D77AB22-3D45-4F4D-9CEF-3F3562E8D104}"/>
                </a:ext>
              </a:extLst>
            </p:cNvPr>
            <p:cNvGrpSpPr/>
            <p:nvPr/>
          </p:nvGrpSpPr>
          <p:grpSpPr>
            <a:xfrm>
              <a:off x="2209309" y="2133747"/>
              <a:ext cx="687192" cy="627042"/>
              <a:chOff x="2209309" y="2133747"/>
              <a:chExt cx="687192" cy="627042"/>
            </a:xfrm>
          </p:grpSpPr>
          <p:sp>
            <p:nvSpPr>
              <p:cNvPr id="14" name="Freeform: Shape 13">
                <a:extLst>
                  <a:ext uri="{FF2B5EF4-FFF2-40B4-BE49-F238E27FC236}">
                    <a16:creationId xmlns:a16="http://schemas.microsoft.com/office/drawing/2014/main" id="{F0A9452F-82D6-4EC3-A22D-CE4286B0FD58}"/>
                  </a:ext>
                </a:extLst>
              </p:cNvPr>
              <p:cNvSpPr/>
              <p:nvPr/>
            </p:nvSpPr>
            <p:spPr>
              <a:xfrm>
                <a:off x="2503110" y="2133749"/>
                <a:ext cx="63346" cy="177228"/>
              </a:xfrm>
              <a:custGeom>
                <a:avLst/>
                <a:gdLst>
                  <a:gd name="connsiteX0" fmla="*/ 49565 w 63346"/>
                  <a:gd name="connsiteY0" fmla="*/ 39375 h 177228"/>
                  <a:gd name="connsiteX1" fmla="*/ 63346 w 63346"/>
                  <a:gd name="connsiteY1" fmla="*/ 19697 h 177228"/>
                  <a:gd name="connsiteX2" fmla="*/ 49565 w 63346"/>
                  <a:gd name="connsiteY2" fmla="*/ 0 h 177228"/>
                  <a:gd name="connsiteX3" fmla="*/ 0 w 63346"/>
                  <a:gd name="connsiteY3" fmla="*/ 49565 h 177228"/>
                  <a:gd name="connsiteX4" fmla="*/ 29878 w 63346"/>
                  <a:gd name="connsiteY4" fmla="*/ 95041 h 177228"/>
                  <a:gd name="connsiteX5" fmla="*/ 29878 w 63346"/>
                  <a:gd name="connsiteY5" fmla="*/ 177229 h 177228"/>
                  <a:gd name="connsiteX6" fmla="*/ 49565 w 63346"/>
                  <a:gd name="connsiteY6" fmla="*/ 177229 h 177228"/>
                  <a:gd name="connsiteX7" fmla="*/ 63346 w 63346"/>
                  <a:gd name="connsiteY7" fmla="*/ 109919 h 177228"/>
                  <a:gd name="connsiteX8" fmla="*/ 49565 w 63346"/>
                  <a:gd name="connsiteY8" fmla="*/ 59756 h 177228"/>
                  <a:gd name="connsiteX9" fmla="*/ 39375 w 63346"/>
                  <a:gd name="connsiteY9" fmla="*/ 49565 h 177228"/>
                  <a:gd name="connsiteX10" fmla="*/ 49565 w 63346"/>
                  <a:gd name="connsiteY10" fmla="*/ 39375 h 17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46" h="177228">
                    <a:moveTo>
                      <a:pt x="49565" y="39375"/>
                    </a:moveTo>
                    <a:lnTo>
                      <a:pt x="63346" y="19697"/>
                    </a:lnTo>
                    <a:lnTo>
                      <a:pt x="49565" y="0"/>
                    </a:lnTo>
                    <a:cubicBezTo>
                      <a:pt x="22235" y="0"/>
                      <a:pt x="0" y="22235"/>
                      <a:pt x="0" y="49565"/>
                    </a:cubicBezTo>
                    <a:cubicBezTo>
                      <a:pt x="0" y="69902"/>
                      <a:pt x="12316" y="87409"/>
                      <a:pt x="29878" y="95041"/>
                    </a:cubicBezTo>
                    <a:lnTo>
                      <a:pt x="29878" y="177229"/>
                    </a:lnTo>
                    <a:lnTo>
                      <a:pt x="49565" y="177229"/>
                    </a:lnTo>
                    <a:lnTo>
                      <a:pt x="63346" y="109919"/>
                    </a:lnTo>
                    <a:lnTo>
                      <a:pt x="49565" y="59756"/>
                    </a:lnTo>
                    <a:cubicBezTo>
                      <a:pt x="43946" y="59756"/>
                      <a:pt x="39375" y="55184"/>
                      <a:pt x="39375" y="49565"/>
                    </a:cubicBezTo>
                    <a:cubicBezTo>
                      <a:pt x="39375" y="43946"/>
                      <a:pt x="43946" y="39375"/>
                      <a:pt x="49565" y="39375"/>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15" name="Freeform: Shape 14">
                <a:extLst>
                  <a:ext uri="{FF2B5EF4-FFF2-40B4-BE49-F238E27FC236}">
                    <a16:creationId xmlns:a16="http://schemas.microsoft.com/office/drawing/2014/main" id="{3697D62C-CD69-4E50-BB21-632305DA1634}"/>
                  </a:ext>
                </a:extLst>
              </p:cNvPr>
              <p:cNvSpPr/>
              <p:nvPr/>
            </p:nvSpPr>
            <p:spPr>
              <a:xfrm>
                <a:off x="2552675" y="2133747"/>
                <a:ext cx="105656" cy="349167"/>
              </a:xfrm>
              <a:custGeom>
                <a:avLst/>
                <a:gdLst>
                  <a:gd name="connsiteX0" fmla="*/ 19688 w 105656"/>
                  <a:gd name="connsiteY0" fmla="*/ 139693 h 349167"/>
                  <a:gd name="connsiteX1" fmla="*/ 19688 w 105656"/>
                  <a:gd name="connsiteY1" fmla="*/ 95041 h 349167"/>
                  <a:gd name="connsiteX2" fmla="*/ 49565 w 105656"/>
                  <a:gd name="connsiteY2" fmla="*/ 49565 h 349167"/>
                  <a:gd name="connsiteX3" fmla="*/ 0 w 105656"/>
                  <a:gd name="connsiteY3" fmla="*/ 0 h 349167"/>
                  <a:gd name="connsiteX4" fmla="*/ 0 w 105656"/>
                  <a:gd name="connsiteY4" fmla="*/ 39375 h 349167"/>
                  <a:gd name="connsiteX5" fmla="*/ 10190 w 105656"/>
                  <a:gd name="connsiteY5" fmla="*/ 49565 h 349167"/>
                  <a:gd name="connsiteX6" fmla="*/ 0 w 105656"/>
                  <a:gd name="connsiteY6" fmla="*/ 59756 h 349167"/>
                  <a:gd name="connsiteX7" fmla="*/ 0 w 105656"/>
                  <a:gd name="connsiteY7" fmla="*/ 177229 h 349167"/>
                  <a:gd name="connsiteX8" fmla="*/ 66282 w 105656"/>
                  <a:gd name="connsiteY8" fmla="*/ 243511 h 349167"/>
                  <a:gd name="connsiteX9" fmla="*/ 0 w 105656"/>
                  <a:gd name="connsiteY9" fmla="*/ 309793 h 349167"/>
                  <a:gd name="connsiteX10" fmla="*/ 0 w 105656"/>
                  <a:gd name="connsiteY10" fmla="*/ 349168 h 349167"/>
                  <a:gd name="connsiteX11" fmla="*/ 105657 w 105656"/>
                  <a:gd name="connsiteY11" fmla="*/ 243511 h 349167"/>
                  <a:gd name="connsiteX12" fmla="*/ 19688 w 105656"/>
                  <a:gd name="connsiteY12" fmla="*/ 139693 h 34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656" h="349167">
                    <a:moveTo>
                      <a:pt x="19688" y="139693"/>
                    </a:moveTo>
                    <a:lnTo>
                      <a:pt x="19688" y="95041"/>
                    </a:lnTo>
                    <a:cubicBezTo>
                      <a:pt x="37249" y="87409"/>
                      <a:pt x="49565" y="69902"/>
                      <a:pt x="49565" y="49565"/>
                    </a:cubicBezTo>
                    <a:cubicBezTo>
                      <a:pt x="49565" y="22235"/>
                      <a:pt x="27330" y="0"/>
                      <a:pt x="0" y="0"/>
                    </a:cubicBezTo>
                    <a:lnTo>
                      <a:pt x="0" y="39375"/>
                    </a:lnTo>
                    <a:cubicBezTo>
                      <a:pt x="5619" y="39375"/>
                      <a:pt x="10190" y="43946"/>
                      <a:pt x="10190" y="49565"/>
                    </a:cubicBezTo>
                    <a:cubicBezTo>
                      <a:pt x="10190" y="55184"/>
                      <a:pt x="5619" y="59756"/>
                      <a:pt x="0" y="59756"/>
                    </a:cubicBezTo>
                    <a:lnTo>
                      <a:pt x="0" y="177229"/>
                    </a:lnTo>
                    <a:cubicBezTo>
                      <a:pt x="36548" y="177229"/>
                      <a:pt x="66282" y="206963"/>
                      <a:pt x="66282" y="243511"/>
                    </a:cubicBezTo>
                    <a:cubicBezTo>
                      <a:pt x="66282" y="280059"/>
                      <a:pt x="36548" y="309793"/>
                      <a:pt x="0" y="309793"/>
                    </a:cubicBezTo>
                    <a:lnTo>
                      <a:pt x="0" y="349168"/>
                    </a:lnTo>
                    <a:cubicBezTo>
                      <a:pt x="58259" y="349168"/>
                      <a:pt x="105657" y="301770"/>
                      <a:pt x="105657" y="243511"/>
                    </a:cubicBezTo>
                    <a:cubicBezTo>
                      <a:pt x="105657" y="191979"/>
                      <a:pt x="68570" y="148944"/>
                      <a:pt x="19688" y="139693"/>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nvGrpSpPr>
              <p:cNvPr id="16" name="Graphic 8">
                <a:extLst>
                  <a:ext uri="{FF2B5EF4-FFF2-40B4-BE49-F238E27FC236}">
                    <a16:creationId xmlns:a16="http://schemas.microsoft.com/office/drawing/2014/main" id="{0D77AB22-3D45-4F4D-9CEF-3F3562E8D104}"/>
                  </a:ext>
                </a:extLst>
              </p:cNvPr>
              <p:cNvGrpSpPr/>
              <p:nvPr/>
            </p:nvGrpSpPr>
            <p:grpSpPr>
              <a:xfrm>
                <a:off x="2209309" y="2408059"/>
                <a:ext cx="687192" cy="352731"/>
                <a:chOff x="2209309" y="2408059"/>
                <a:chExt cx="687192" cy="352731"/>
              </a:xfrm>
            </p:grpSpPr>
            <p:sp>
              <p:nvSpPr>
                <p:cNvPr id="17" name="Freeform: Shape 16">
                  <a:extLst>
                    <a:ext uri="{FF2B5EF4-FFF2-40B4-BE49-F238E27FC236}">
                      <a16:creationId xmlns:a16="http://schemas.microsoft.com/office/drawing/2014/main" id="{5BADAF47-E0C9-4FCE-AA31-4983D1FFCB42}"/>
                    </a:ext>
                  </a:extLst>
                </p:cNvPr>
                <p:cNvSpPr/>
                <p:nvPr/>
              </p:nvSpPr>
              <p:spPr>
                <a:xfrm>
                  <a:off x="2209309" y="2408059"/>
                  <a:ext cx="410179" cy="352731"/>
                </a:xfrm>
                <a:custGeom>
                  <a:avLst/>
                  <a:gdLst>
                    <a:gd name="connsiteX0" fmla="*/ 343596 w 410179"/>
                    <a:gd name="connsiteY0" fmla="*/ 352731 h 352731"/>
                    <a:gd name="connsiteX1" fmla="*/ 0 w 410179"/>
                    <a:gd name="connsiteY1" fmla="*/ 352731 h 352731"/>
                    <a:gd name="connsiteX2" fmla="*/ 0 w 410179"/>
                    <a:gd name="connsiteY2" fmla="*/ 0 h 352731"/>
                    <a:gd name="connsiteX3" fmla="*/ 343596 w 410179"/>
                    <a:gd name="connsiteY3" fmla="*/ 0 h 352731"/>
                    <a:gd name="connsiteX4" fmla="*/ 410179 w 410179"/>
                    <a:gd name="connsiteY4" fmla="*/ 176365 h 35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179" h="352731">
                      <a:moveTo>
                        <a:pt x="343596" y="352731"/>
                      </a:moveTo>
                      <a:lnTo>
                        <a:pt x="0" y="352731"/>
                      </a:lnTo>
                      <a:lnTo>
                        <a:pt x="0" y="0"/>
                      </a:lnTo>
                      <a:lnTo>
                        <a:pt x="343596" y="0"/>
                      </a:lnTo>
                      <a:lnTo>
                        <a:pt x="410179" y="176365"/>
                      </a:lnTo>
                      <a:close/>
                    </a:path>
                  </a:pathLst>
                </a:custGeom>
                <a:solidFill>
                  <a:schemeClr val="tx2">
                    <a:lumMod val="20000"/>
                    <a:lumOff val="80000"/>
                  </a:schemeClr>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18" name="Freeform: Shape 17">
                  <a:extLst>
                    <a:ext uri="{FF2B5EF4-FFF2-40B4-BE49-F238E27FC236}">
                      <a16:creationId xmlns:a16="http://schemas.microsoft.com/office/drawing/2014/main" id="{A679427B-BA7C-4BC4-A55F-0281CE52B2BD}"/>
                    </a:ext>
                  </a:extLst>
                </p:cNvPr>
                <p:cNvSpPr/>
                <p:nvPr/>
              </p:nvSpPr>
              <p:spPr>
                <a:xfrm>
                  <a:off x="2552906" y="2408059"/>
                  <a:ext cx="343596" cy="352731"/>
                </a:xfrm>
                <a:custGeom>
                  <a:avLst/>
                  <a:gdLst>
                    <a:gd name="connsiteX0" fmla="*/ 0 w 343596"/>
                    <a:gd name="connsiteY0" fmla="*/ 0 h 352731"/>
                    <a:gd name="connsiteX1" fmla="*/ 343596 w 343596"/>
                    <a:gd name="connsiteY1" fmla="*/ 0 h 352731"/>
                    <a:gd name="connsiteX2" fmla="*/ 343596 w 343596"/>
                    <a:gd name="connsiteY2" fmla="*/ 352731 h 352731"/>
                    <a:gd name="connsiteX3" fmla="*/ 0 w 343596"/>
                    <a:gd name="connsiteY3" fmla="*/ 352731 h 352731"/>
                  </a:gdLst>
                  <a:ahLst/>
                  <a:cxnLst>
                    <a:cxn ang="0">
                      <a:pos x="connsiteX0" y="connsiteY0"/>
                    </a:cxn>
                    <a:cxn ang="0">
                      <a:pos x="connsiteX1" y="connsiteY1"/>
                    </a:cxn>
                    <a:cxn ang="0">
                      <a:pos x="connsiteX2" y="connsiteY2"/>
                    </a:cxn>
                    <a:cxn ang="0">
                      <a:pos x="connsiteX3" y="connsiteY3"/>
                    </a:cxn>
                  </a:cxnLst>
                  <a:rect l="l" t="t" r="r" b="b"/>
                  <a:pathLst>
                    <a:path w="343596" h="352731">
                      <a:moveTo>
                        <a:pt x="0" y="0"/>
                      </a:moveTo>
                      <a:lnTo>
                        <a:pt x="343596" y="0"/>
                      </a:lnTo>
                      <a:lnTo>
                        <a:pt x="343596" y="352731"/>
                      </a:lnTo>
                      <a:lnTo>
                        <a:pt x="0" y="352731"/>
                      </a:lnTo>
                      <a:close/>
                    </a:path>
                  </a:pathLst>
                </a:custGeom>
                <a:solidFill>
                  <a:schemeClr val="tx2">
                    <a:lumMod val="20000"/>
                    <a:lumOff val="80000"/>
                  </a:schemeClr>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19" name="Freeform: Shape 18">
                  <a:extLst>
                    <a:ext uri="{FF2B5EF4-FFF2-40B4-BE49-F238E27FC236}">
                      <a16:creationId xmlns:a16="http://schemas.microsoft.com/office/drawing/2014/main" id="{36B15DE5-244E-47D2-AA24-93A7FB6C9FDC}"/>
                    </a:ext>
                  </a:extLst>
                </p:cNvPr>
                <p:cNvSpPr/>
                <p:nvPr/>
              </p:nvSpPr>
              <p:spPr>
                <a:xfrm>
                  <a:off x="2261662" y="2545052"/>
                  <a:ext cx="350784" cy="157500"/>
                </a:xfrm>
                <a:custGeom>
                  <a:avLst/>
                  <a:gdLst>
                    <a:gd name="connsiteX0" fmla="*/ 78750 w 350784"/>
                    <a:gd name="connsiteY0" fmla="*/ 157500 h 157500"/>
                    <a:gd name="connsiteX1" fmla="*/ 0 w 350784"/>
                    <a:gd name="connsiteY1" fmla="*/ 78750 h 157500"/>
                    <a:gd name="connsiteX2" fmla="*/ 78750 w 350784"/>
                    <a:gd name="connsiteY2" fmla="*/ 0 h 157500"/>
                    <a:gd name="connsiteX3" fmla="*/ 291243 w 350784"/>
                    <a:gd name="connsiteY3" fmla="*/ 0 h 157500"/>
                    <a:gd name="connsiteX4" fmla="*/ 350784 w 350784"/>
                    <a:gd name="connsiteY4" fmla="*/ 78750 h 157500"/>
                    <a:gd name="connsiteX5" fmla="*/ 291243 w 350784"/>
                    <a:gd name="connsiteY5" fmla="*/ 157500 h 1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784" h="157500">
                      <a:moveTo>
                        <a:pt x="78750" y="157500"/>
                      </a:moveTo>
                      <a:cubicBezTo>
                        <a:pt x="35258" y="157500"/>
                        <a:pt x="0" y="122242"/>
                        <a:pt x="0" y="78750"/>
                      </a:cubicBezTo>
                      <a:cubicBezTo>
                        <a:pt x="0" y="35258"/>
                        <a:pt x="35258" y="0"/>
                        <a:pt x="78750" y="0"/>
                      </a:cubicBezTo>
                      <a:lnTo>
                        <a:pt x="291243" y="0"/>
                      </a:lnTo>
                      <a:lnTo>
                        <a:pt x="350784" y="78750"/>
                      </a:lnTo>
                      <a:lnTo>
                        <a:pt x="291243" y="157500"/>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20" name="Freeform: Shape 19">
                  <a:extLst>
                    <a:ext uri="{FF2B5EF4-FFF2-40B4-BE49-F238E27FC236}">
                      <a16:creationId xmlns:a16="http://schemas.microsoft.com/office/drawing/2014/main" id="{D5713182-5DB7-43C3-841B-A3635A6B3A0F}"/>
                    </a:ext>
                  </a:extLst>
                </p:cNvPr>
                <p:cNvSpPr/>
                <p:nvPr/>
              </p:nvSpPr>
              <p:spPr>
                <a:xfrm>
                  <a:off x="2552906" y="2545052"/>
                  <a:ext cx="291243" cy="157500"/>
                </a:xfrm>
                <a:custGeom>
                  <a:avLst/>
                  <a:gdLst>
                    <a:gd name="connsiteX0" fmla="*/ 212493 w 291243"/>
                    <a:gd name="connsiteY0" fmla="*/ 0 h 157500"/>
                    <a:gd name="connsiteX1" fmla="*/ 291243 w 291243"/>
                    <a:gd name="connsiteY1" fmla="*/ 78750 h 157500"/>
                    <a:gd name="connsiteX2" fmla="*/ 212493 w 291243"/>
                    <a:gd name="connsiteY2" fmla="*/ 157500 h 157500"/>
                    <a:gd name="connsiteX3" fmla="*/ 0 w 291243"/>
                    <a:gd name="connsiteY3" fmla="*/ 157500 h 157500"/>
                    <a:gd name="connsiteX4" fmla="*/ 0 w 291243"/>
                    <a:gd name="connsiteY4" fmla="*/ 0 h 1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43" h="157500">
                      <a:moveTo>
                        <a:pt x="212493" y="0"/>
                      </a:moveTo>
                      <a:cubicBezTo>
                        <a:pt x="255985" y="0"/>
                        <a:pt x="291243" y="35258"/>
                        <a:pt x="291243" y="78750"/>
                      </a:cubicBezTo>
                      <a:cubicBezTo>
                        <a:pt x="291243" y="122242"/>
                        <a:pt x="255985" y="157500"/>
                        <a:pt x="212493" y="157500"/>
                      </a:cubicBezTo>
                      <a:lnTo>
                        <a:pt x="0" y="157500"/>
                      </a:lnTo>
                      <a:lnTo>
                        <a:pt x="0" y="0"/>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21" name="Freeform: Shape 20">
                  <a:extLst>
                    <a:ext uri="{FF2B5EF4-FFF2-40B4-BE49-F238E27FC236}">
                      <a16:creationId xmlns:a16="http://schemas.microsoft.com/office/drawing/2014/main" id="{B917F759-E959-4F29-8131-58A80D8D9D25}"/>
                    </a:ext>
                  </a:extLst>
                </p:cNvPr>
                <p:cNvSpPr/>
                <p:nvPr/>
              </p:nvSpPr>
              <p:spPr>
                <a:xfrm>
                  <a:off x="2314817" y="2582094"/>
                  <a:ext cx="89580" cy="86723"/>
                </a:xfrm>
                <a:custGeom>
                  <a:avLst/>
                  <a:gdLst>
                    <a:gd name="connsiteX0" fmla="*/ 65650 w 89580"/>
                    <a:gd name="connsiteY0" fmla="*/ 43472 h 86723"/>
                    <a:gd name="connsiteX1" fmla="*/ 89580 w 89580"/>
                    <a:gd name="connsiteY1" fmla="*/ 56426 h 86723"/>
                    <a:gd name="connsiteX2" fmla="*/ 78823 w 89580"/>
                    <a:gd name="connsiteY2" fmla="*/ 74429 h 86723"/>
                    <a:gd name="connsiteX3" fmla="*/ 54670 w 89580"/>
                    <a:gd name="connsiteY3" fmla="*/ 60157 h 86723"/>
                    <a:gd name="connsiteX4" fmla="*/ 55109 w 89580"/>
                    <a:gd name="connsiteY4" fmla="*/ 86723 h 86723"/>
                    <a:gd name="connsiteX5" fmla="*/ 34471 w 89580"/>
                    <a:gd name="connsiteY5" fmla="*/ 86723 h 86723"/>
                    <a:gd name="connsiteX6" fmla="*/ 34689 w 89580"/>
                    <a:gd name="connsiteY6" fmla="*/ 59939 h 86723"/>
                    <a:gd name="connsiteX7" fmla="*/ 10539 w 89580"/>
                    <a:gd name="connsiteY7" fmla="*/ 74429 h 86723"/>
                    <a:gd name="connsiteX8" fmla="*/ 0 w 89580"/>
                    <a:gd name="connsiteY8" fmla="*/ 56426 h 86723"/>
                    <a:gd name="connsiteX9" fmla="*/ 23932 w 89580"/>
                    <a:gd name="connsiteY9" fmla="*/ 43472 h 86723"/>
                    <a:gd name="connsiteX10" fmla="*/ 0 w 89580"/>
                    <a:gd name="connsiteY10" fmla="*/ 30299 h 86723"/>
                    <a:gd name="connsiteX11" fmla="*/ 10539 w 89580"/>
                    <a:gd name="connsiteY11" fmla="*/ 12295 h 86723"/>
                    <a:gd name="connsiteX12" fmla="*/ 34689 w 89580"/>
                    <a:gd name="connsiteY12" fmla="*/ 26785 h 86723"/>
                    <a:gd name="connsiteX13" fmla="*/ 34471 w 89580"/>
                    <a:gd name="connsiteY13" fmla="*/ 0 h 86723"/>
                    <a:gd name="connsiteX14" fmla="*/ 55109 w 89580"/>
                    <a:gd name="connsiteY14" fmla="*/ 0 h 86723"/>
                    <a:gd name="connsiteX15" fmla="*/ 54670 w 89580"/>
                    <a:gd name="connsiteY15" fmla="*/ 26785 h 86723"/>
                    <a:gd name="connsiteX16" fmla="*/ 78823 w 89580"/>
                    <a:gd name="connsiteY16" fmla="*/ 12295 h 86723"/>
                    <a:gd name="connsiteX17" fmla="*/ 89580 w 89580"/>
                    <a:gd name="connsiteY17" fmla="*/ 30299 h 8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580" h="86723">
                      <a:moveTo>
                        <a:pt x="65650" y="43472"/>
                      </a:moveTo>
                      <a:lnTo>
                        <a:pt x="89580" y="56426"/>
                      </a:lnTo>
                      <a:lnTo>
                        <a:pt x="78823" y="74429"/>
                      </a:lnTo>
                      <a:lnTo>
                        <a:pt x="54670" y="60157"/>
                      </a:lnTo>
                      <a:lnTo>
                        <a:pt x="55109" y="86723"/>
                      </a:lnTo>
                      <a:lnTo>
                        <a:pt x="34471" y="86723"/>
                      </a:lnTo>
                      <a:lnTo>
                        <a:pt x="34689" y="59939"/>
                      </a:lnTo>
                      <a:lnTo>
                        <a:pt x="10539" y="74429"/>
                      </a:lnTo>
                      <a:lnTo>
                        <a:pt x="0" y="56426"/>
                      </a:lnTo>
                      <a:lnTo>
                        <a:pt x="23932" y="43472"/>
                      </a:lnTo>
                      <a:lnTo>
                        <a:pt x="0" y="30299"/>
                      </a:lnTo>
                      <a:lnTo>
                        <a:pt x="10539" y="12295"/>
                      </a:lnTo>
                      <a:lnTo>
                        <a:pt x="34689" y="26785"/>
                      </a:lnTo>
                      <a:lnTo>
                        <a:pt x="34471" y="0"/>
                      </a:lnTo>
                      <a:lnTo>
                        <a:pt x="55109" y="0"/>
                      </a:lnTo>
                      <a:lnTo>
                        <a:pt x="54670" y="26785"/>
                      </a:lnTo>
                      <a:lnTo>
                        <a:pt x="78823" y="12295"/>
                      </a:lnTo>
                      <a:lnTo>
                        <a:pt x="89580" y="30299"/>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22" name="Freeform: Shape 21">
                  <a:extLst>
                    <a:ext uri="{FF2B5EF4-FFF2-40B4-BE49-F238E27FC236}">
                      <a16:creationId xmlns:a16="http://schemas.microsoft.com/office/drawing/2014/main" id="{52C38E20-72B0-4328-BB7D-09ED691B4303}"/>
                    </a:ext>
                  </a:extLst>
                </p:cNvPr>
                <p:cNvSpPr/>
                <p:nvPr/>
              </p:nvSpPr>
              <p:spPr>
                <a:xfrm>
                  <a:off x="2443681" y="2582094"/>
                  <a:ext cx="89580" cy="86723"/>
                </a:xfrm>
                <a:custGeom>
                  <a:avLst/>
                  <a:gdLst>
                    <a:gd name="connsiteX0" fmla="*/ 65650 w 89580"/>
                    <a:gd name="connsiteY0" fmla="*/ 43472 h 86723"/>
                    <a:gd name="connsiteX1" fmla="*/ 89580 w 89580"/>
                    <a:gd name="connsiteY1" fmla="*/ 56426 h 86723"/>
                    <a:gd name="connsiteX2" fmla="*/ 78823 w 89580"/>
                    <a:gd name="connsiteY2" fmla="*/ 74429 h 86723"/>
                    <a:gd name="connsiteX3" fmla="*/ 54670 w 89580"/>
                    <a:gd name="connsiteY3" fmla="*/ 60157 h 86723"/>
                    <a:gd name="connsiteX4" fmla="*/ 55109 w 89580"/>
                    <a:gd name="connsiteY4" fmla="*/ 86723 h 86723"/>
                    <a:gd name="connsiteX5" fmla="*/ 34471 w 89580"/>
                    <a:gd name="connsiteY5" fmla="*/ 86723 h 86723"/>
                    <a:gd name="connsiteX6" fmla="*/ 34689 w 89580"/>
                    <a:gd name="connsiteY6" fmla="*/ 59939 h 86723"/>
                    <a:gd name="connsiteX7" fmla="*/ 10539 w 89580"/>
                    <a:gd name="connsiteY7" fmla="*/ 74429 h 86723"/>
                    <a:gd name="connsiteX8" fmla="*/ 0 w 89580"/>
                    <a:gd name="connsiteY8" fmla="*/ 56426 h 86723"/>
                    <a:gd name="connsiteX9" fmla="*/ 23932 w 89580"/>
                    <a:gd name="connsiteY9" fmla="*/ 43472 h 86723"/>
                    <a:gd name="connsiteX10" fmla="*/ 0 w 89580"/>
                    <a:gd name="connsiteY10" fmla="*/ 30299 h 86723"/>
                    <a:gd name="connsiteX11" fmla="*/ 10539 w 89580"/>
                    <a:gd name="connsiteY11" fmla="*/ 12295 h 86723"/>
                    <a:gd name="connsiteX12" fmla="*/ 34689 w 89580"/>
                    <a:gd name="connsiteY12" fmla="*/ 26785 h 86723"/>
                    <a:gd name="connsiteX13" fmla="*/ 34471 w 89580"/>
                    <a:gd name="connsiteY13" fmla="*/ 0 h 86723"/>
                    <a:gd name="connsiteX14" fmla="*/ 55109 w 89580"/>
                    <a:gd name="connsiteY14" fmla="*/ 0 h 86723"/>
                    <a:gd name="connsiteX15" fmla="*/ 54670 w 89580"/>
                    <a:gd name="connsiteY15" fmla="*/ 26785 h 86723"/>
                    <a:gd name="connsiteX16" fmla="*/ 78823 w 89580"/>
                    <a:gd name="connsiteY16" fmla="*/ 12295 h 86723"/>
                    <a:gd name="connsiteX17" fmla="*/ 89580 w 89580"/>
                    <a:gd name="connsiteY17" fmla="*/ 30299 h 8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580" h="86723">
                      <a:moveTo>
                        <a:pt x="65650" y="43472"/>
                      </a:moveTo>
                      <a:lnTo>
                        <a:pt x="89580" y="56426"/>
                      </a:lnTo>
                      <a:lnTo>
                        <a:pt x="78823" y="74429"/>
                      </a:lnTo>
                      <a:lnTo>
                        <a:pt x="54670" y="60157"/>
                      </a:lnTo>
                      <a:lnTo>
                        <a:pt x="55109" y="86723"/>
                      </a:lnTo>
                      <a:lnTo>
                        <a:pt x="34471" y="86723"/>
                      </a:lnTo>
                      <a:lnTo>
                        <a:pt x="34689" y="59939"/>
                      </a:lnTo>
                      <a:lnTo>
                        <a:pt x="10539" y="74429"/>
                      </a:lnTo>
                      <a:lnTo>
                        <a:pt x="0" y="56426"/>
                      </a:lnTo>
                      <a:lnTo>
                        <a:pt x="23932" y="43472"/>
                      </a:lnTo>
                      <a:lnTo>
                        <a:pt x="0" y="30299"/>
                      </a:lnTo>
                      <a:lnTo>
                        <a:pt x="10539" y="12295"/>
                      </a:lnTo>
                      <a:lnTo>
                        <a:pt x="34689" y="26785"/>
                      </a:lnTo>
                      <a:lnTo>
                        <a:pt x="34471" y="0"/>
                      </a:lnTo>
                      <a:lnTo>
                        <a:pt x="55109" y="0"/>
                      </a:lnTo>
                      <a:lnTo>
                        <a:pt x="54670" y="26785"/>
                      </a:lnTo>
                      <a:lnTo>
                        <a:pt x="78823" y="12295"/>
                      </a:lnTo>
                      <a:lnTo>
                        <a:pt x="89580" y="30299"/>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nvGrpSpPr>
                <p:cNvPr id="23" name="Graphic 8">
                  <a:extLst>
                    <a:ext uri="{FF2B5EF4-FFF2-40B4-BE49-F238E27FC236}">
                      <a16:creationId xmlns:a16="http://schemas.microsoft.com/office/drawing/2014/main" id="{0D77AB22-3D45-4F4D-9CEF-3F3562E8D104}"/>
                    </a:ext>
                  </a:extLst>
                </p:cNvPr>
                <p:cNvGrpSpPr/>
                <p:nvPr/>
              </p:nvGrpSpPr>
              <p:grpSpPr>
                <a:xfrm>
                  <a:off x="2572546" y="2582094"/>
                  <a:ext cx="218446" cy="86723"/>
                  <a:chOff x="2572546" y="2582094"/>
                  <a:chExt cx="218446" cy="86723"/>
                </a:xfrm>
                <a:solidFill>
                  <a:srgbClr val="002659"/>
                </a:solidFill>
              </p:grpSpPr>
              <p:sp>
                <p:nvSpPr>
                  <p:cNvPr id="24" name="Freeform: Shape 23">
                    <a:extLst>
                      <a:ext uri="{FF2B5EF4-FFF2-40B4-BE49-F238E27FC236}">
                        <a16:creationId xmlns:a16="http://schemas.microsoft.com/office/drawing/2014/main" id="{F7E4F620-441B-40C4-BBEC-13CF99DC854C}"/>
                      </a:ext>
                    </a:extLst>
                  </p:cNvPr>
                  <p:cNvSpPr/>
                  <p:nvPr/>
                </p:nvSpPr>
                <p:spPr>
                  <a:xfrm>
                    <a:off x="2701412" y="2582094"/>
                    <a:ext cx="89580" cy="86723"/>
                  </a:xfrm>
                  <a:custGeom>
                    <a:avLst/>
                    <a:gdLst>
                      <a:gd name="connsiteX0" fmla="*/ 65650 w 89580"/>
                      <a:gd name="connsiteY0" fmla="*/ 43472 h 86723"/>
                      <a:gd name="connsiteX1" fmla="*/ 89580 w 89580"/>
                      <a:gd name="connsiteY1" fmla="*/ 56426 h 86723"/>
                      <a:gd name="connsiteX2" fmla="*/ 78823 w 89580"/>
                      <a:gd name="connsiteY2" fmla="*/ 74429 h 86723"/>
                      <a:gd name="connsiteX3" fmla="*/ 54670 w 89580"/>
                      <a:gd name="connsiteY3" fmla="*/ 60157 h 86723"/>
                      <a:gd name="connsiteX4" fmla="*/ 55109 w 89580"/>
                      <a:gd name="connsiteY4" fmla="*/ 86723 h 86723"/>
                      <a:gd name="connsiteX5" fmla="*/ 34471 w 89580"/>
                      <a:gd name="connsiteY5" fmla="*/ 86723 h 86723"/>
                      <a:gd name="connsiteX6" fmla="*/ 34689 w 89580"/>
                      <a:gd name="connsiteY6" fmla="*/ 59939 h 86723"/>
                      <a:gd name="connsiteX7" fmla="*/ 10539 w 89580"/>
                      <a:gd name="connsiteY7" fmla="*/ 74429 h 86723"/>
                      <a:gd name="connsiteX8" fmla="*/ 0 w 89580"/>
                      <a:gd name="connsiteY8" fmla="*/ 56426 h 86723"/>
                      <a:gd name="connsiteX9" fmla="*/ 23932 w 89580"/>
                      <a:gd name="connsiteY9" fmla="*/ 43472 h 86723"/>
                      <a:gd name="connsiteX10" fmla="*/ 0 w 89580"/>
                      <a:gd name="connsiteY10" fmla="*/ 30299 h 86723"/>
                      <a:gd name="connsiteX11" fmla="*/ 10539 w 89580"/>
                      <a:gd name="connsiteY11" fmla="*/ 12295 h 86723"/>
                      <a:gd name="connsiteX12" fmla="*/ 34689 w 89580"/>
                      <a:gd name="connsiteY12" fmla="*/ 26785 h 86723"/>
                      <a:gd name="connsiteX13" fmla="*/ 34471 w 89580"/>
                      <a:gd name="connsiteY13" fmla="*/ 0 h 86723"/>
                      <a:gd name="connsiteX14" fmla="*/ 55109 w 89580"/>
                      <a:gd name="connsiteY14" fmla="*/ 0 h 86723"/>
                      <a:gd name="connsiteX15" fmla="*/ 54670 w 89580"/>
                      <a:gd name="connsiteY15" fmla="*/ 26785 h 86723"/>
                      <a:gd name="connsiteX16" fmla="*/ 78823 w 89580"/>
                      <a:gd name="connsiteY16" fmla="*/ 12295 h 86723"/>
                      <a:gd name="connsiteX17" fmla="*/ 89580 w 89580"/>
                      <a:gd name="connsiteY17" fmla="*/ 30299 h 8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580" h="86723">
                        <a:moveTo>
                          <a:pt x="65650" y="43472"/>
                        </a:moveTo>
                        <a:lnTo>
                          <a:pt x="89580" y="56426"/>
                        </a:lnTo>
                        <a:lnTo>
                          <a:pt x="78823" y="74429"/>
                        </a:lnTo>
                        <a:lnTo>
                          <a:pt x="54670" y="60157"/>
                        </a:lnTo>
                        <a:lnTo>
                          <a:pt x="55109" y="86723"/>
                        </a:lnTo>
                        <a:lnTo>
                          <a:pt x="34471" y="86723"/>
                        </a:lnTo>
                        <a:lnTo>
                          <a:pt x="34689" y="59939"/>
                        </a:lnTo>
                        <a:lnTo>
                          <a:pt x="10539" y="74429"/>
                        </a:lnTo>
                        <a:lnTo>
                          <a:pt x="0" y="56426"/>
                        </a:lnTo>
                        <a:lnTo>
                          <a:pt x="23932" y="43472"/>
                        </a:lnTo>
                        <a:lnTo>
                          <a:pt x="0" y="30299"/>
                        </a:lnTo>
                        <a:lnTo>
                          <a:pt x="10539" y="12295"/>
                        </a:lnTo>
                        <a:lnTo>
                          <a:pt x="34689" y="26785"/>
                        </a:lnTo>
                        <a:lnTo>
                          <a:pt x="34471" y="0"/>
                        </a:lnTo>
                        <a:lnTo>
                          <a:pt x="55109" y="0"/>
                        </a:lnTo>
                        <a:lnTo>
                          <a:pt x="54670" y="26785"/>
                        </a:lnTo>
                        <a:lnTo>
                          <a:pt x="78823" y="12295"/>
                        </a:lnTo>
                        <a:lnTo>
                          <a:pt x="89580" y="30299"/>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25" name="Freeform: Shape 24">
                    <a:extLst>
                      <a:ext uri="{FF2B5EF4-FFF2-40B4-BE49-F238E27FC236}">
                        <a16:creationId xmlns:a16="http://schemas.microsoft.com/office/drawing/2014/main" id="{5E4365D3-D7C9-4C34-8F45-83D6F01E9982}"/>
                      </a:ext>
                    </a:extLst>
                  </p:cNvPr>
                  <p:cNvSpPr/>
                  <p:nvPr/>
                </p:nvSpPr>
                <p:spPr>
                  <a:xfrm>
                    <a:off x="2572546" y="2582094"/>
                    <a:ext cx="89580" cy="86723"/>
                  </a:xfrm>
                  <a:custGeom>
                    <a:avLst/>
                    <a:gdLst>
                      <a:gd name="connsiteX0" fmla="*/ 65650 w 89580"/>
                      <a:gd name="connsiteY0" fmla="*/ 43472 h 86723"/>
                      <a:gd name="connsiteX1" fmla="*/ 89580 w 89580"/>
                      <a:gd name="connsiteY1" fmla="*/ 56426 h 86723"/>
                      <a:gd name="connsiteX2" fmla="*/ 78823 w 89580"/>
                      <a:gd name="connsiteY2" fmla="*/ 74429 h 86723"/>
                      <a:gd name="connsiteX3" fmla="*/ 54670 w 89580"/>
                      <a:gd name="connsiteY3" fmla="*/ 60157 h 86723"/>
                      <a:gd name="connsiteX4" fmla="*/ 55109 w 89580"/>
                      <a:gd name="connsiteY4" fmla="*/ 86723 h 86723"/>
                      <a:gd name="connsiteX5" fmla="*/ 34471 w 89580"/>
                      <a:gd name="connsiteY5" fmla="*/ 86723 h 86723"/>
                      <a:gd name="connsiteX6" fmla="*/ 34689 w 89580"/>
                      <a:gd name="connsiteY6" fmla="*/ 59939 h 86723"/>
                      <a:gd name="connsiteX7" fmla="*/ 10539 w 89580"/>
                      <a:gd name="connsiteY7" fmla="*/ 74429 h 86723"/>
                      <a:gd name="connsiteX8" fmla="*/ 0 w 89580"/>
                      <a:gd name="connsiteY8" fmla="*/ 56426 h 86723"/>
                      <a:gd name="connsiteX9" fmla="*/ 23932 w 89580"/>
                      <a:gd name="connsiteY9" fmla="*/ 43472 h 86723"/>
                      <a:gd name="connsiteX10" fmla="*/ 0 w 89580"/>
                      <a:gd name="connsiteY10" fmla="*/ 30299 h 86723"/>
                      <a:gd name="connsiteX11" fmla="*/ 10539 w 89580"/>
                      <a:gd name="connsiteY11" fmla="*/ 12295 h 86723"/>
                      <a:gd name="connsiteX12" fmla="*/ 34689 w 89580"/>
                      <a:gd name="connsiteY12" fmla="*/ 26785 h 86723"/>
                      <a:gd name="connsiteX13" fmla="*/ 34471 w 89580"/>
                      <a:gd name="connsiteY13" fmla="*/ 0 h 86723"/>
                      <a:gd name="connsiteX14" fmla="*/ 55109 w 89580"/>
                      <a:gd name="connsiteY14" fmla="*/ 0 h 86723"/>
                      <a:gd name="connsiteX15" fmla="*/ 54670 w 89580"/>
                      <a:gd name="connsiteY15" fmla="*/ 26785 h 86723"/>
                      <a:gd name="connsiteX16" fmla="*/ 78823 w 89580"/>
                      <a:gd name="connsiteY16" fmla="*/ 12295 h 86723"/>
                      <a:gd name="connsiteX17" fmla="*/ 89580 w 89580"/>
                      <a:gd name="connsiteY17" fmla="*/ 30299 h 8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580" h="86723">
                        <a:moveTo>
                          <a:pt x="65650" y="43472"/>
                        </a:moveTo>
                        <a:lnTo>
                          <a:pt x="89580" y="56426"/>
                        </a:lnTo>
                        <a:lnTo>
                          <a:pt x="78823" y="74429"/>
                        </a:lnTo>
                        <a:lnTo>
                          <a:pt x="54670" y="60157"/>
                        </a:lnTo>
                        <a:lnTo>
                          <a:pt x="55109" y="86723"/>
                        </a:lnTo>
                        <a:lnTo>
                          <a:pt x="34471" y="86723"/>
                        </a:lnTo>
                        <a:lnTo>
                          <a:pt x="34689" y="59939"/>
                        </a:lnTo>
                        <a:lnTo>
                          <a:pt x="10539" y="74429"/>
                        </a:lnTo>
                        <a:lnTo>
                          <a:pt x="0" y="56426"/>
                        </a:lnTo>
                        <a:lnTo>
                          <a:pt x="23932" y="43472"/>
                        </a:lnTo>
                        <a:lnTo>
                          <a:pt x="0" y="30299"/>
                        </a:lnTo>
                        <a:lnTo>
                          <a:pt x="10539" y="12295"/>
                        </a:lnTo>
                        <a:lnTo>
                          <a:pt x="34689" y="26785"/>
                        </a:lnTo>
                        <a:lnTo>
                          <a:pt x="34471" y="0"/>
                        </a:lnTo>
                        <a:lnTo>
                          <a:pt x="55109" y="0"/>
                        </a:lnTo>
                        <a:lnTo>
                          <a:pt x="54670" y="26785"/>
                        </a:lnTo>
                        <a:lnTo>
                          <a:pt x="78823" y="12295"/>
                        </a:lnTo>
                        <a:lnTo>
                          <a:pt x="89580" y="30299"/>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grpSp>
        </p:grpSp>
        <p:sp>
          <p:nvSpPr>
            <p:cNvPr id="26" name="Freeform: Shape 25">
              <a:extLst>
                <a:ext uri="{FF2B5EF4-FFF2-40B4-BE49-F238E27FC236}">
                  <a16:creationId xmlns:a16="http://schemas.microsoft.com/office/drawing/2014/main" id="{F0644D5A-6270-4897-93F6-6760E75ABCBD}"/>
                </a:ext>
              </a:extLst>
            </p:cNvPr>
            <p:cNvSpPr/>
            <p:nvPr/>
          </p:nvSpPr>
          <p:spPr>
            <a:xfrm>
              <a:off x="2447018" y="2320938"/>
              <a:ext cx="72717" cy="151129"/>
            </a:xfrm>
            <a:custGeom>
              <a:avLst/>
              <a:gdLst>
                <a:gd name="connsiteX0" fmla="*/ 72718 w 72717"/>
                <a:gd name="connsiteY0" fmla="*/ 113800 h 151129"/>
                <a:gd name="connsiteX1" fmla="*/ 39375 w 72717"/>
                <a:gd name="connsiteY1" fmla="*/ 56318 h 151129"/>
                <a:gd name="connsiteX2" fmla="*/ 56092 w 72717"/>
                <a:gd name="connsiteY2" fmla="*/ 56318 h 151129"/>
                <a:gd name="connsiteX3" fmla="*/ 0 w 72717"/>
                <a:gd name="connsiteY3" fmla="*/ 0 h 151129"/>
                <a:gd name="connsiteX4" fmla="*/ 0 w 72717"/>
                <a:gd name="connsiteY4" fmla="*/ 56318 h 151129"/>
                <a:gd name="connsiteX5" fmla="*/ 59090 w 72717"/>
                <a:gd name="connsiteY5" fmla="*/ 151129 h 15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17" h="151129">
                  <a:moveTo>
                    <a:pt x="72718" y="113800"/>
                  </a:moveTo>
                  <a:cubicBezTo>
                    <a:pt x="52816" y="102349"/>
                    <a:pt x="39375" y="80882"/>
                    <a:pt x="39375" y="56318"/>
                  </a:cubicBezTo>
                  <a:lnTo>
                    <a:pt x="56092" y="56318"/>
                  </a:lnTo>
                  <a:lnTo>
                    <a:pt x="0" y="0"/>
                  </a:lnTo>
                  <a:lnTo>
                    <a:pt x="0" y="56318"/>
                  </a:lnTo>
                  <a:cubicBezTo>
                    <a:pt x="0" y="97872"/>
                    <a:pt x="24123" y="133885"/>
                    <a:pt x="59090" y="151129"/>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grpSp>
        <p:nvGrpSpPr>
          <p:cNvPr id="63" name="Group 62">
            <a:extLst>
              <a:ext uri="{FF2B5EF4-FFF2-40B4-BE49-F238E27FC236}">
                <a16:creationId xmlns:a16="http://schemas.microsoft.com/office/drawing/2014/main" id="{5974A6A1-80D4-4D28-8151-E5DFC2A94535}"/>
              </a:ext>
            </a:extLst>
          </p:cNvPr>
          <p:cNvGrpSpPr/>
          <p:nvPr/>
        </p:nvGrpSpPr>
        <p:grpSpPr>
          <a:xfrm>
            <a:off x="5955884" y="1991002"/>
            <a:ext cx="574535" cy="563423"/>
            <a:chOff x="6673723" y="2000465"/>
            <a:chExt cx="1008000" cy="1008000"/>
          </a:xfrm>
        </p:grpSpPr>
        <p:sp>
          <p:nvSpPr>
            <p:cNvPr id="28" name="Freeform: Shape 27">
              <a:extLst>
                <a:ext uri="{FF2B5EF4-FFF2-40B4-BE49-F238E27FC236}">
                  <a16:creationId xmlns:a16="http://schemas.microsoft.com/office/drawing/2014/main" id="{91068E46-2FCE-4C55-BA80-9737BE3F1575}"/>
                </a:ext>
              </a:extLst>
            </p:cNvPr>
            <p:cNvSpPr/>
            <p:nvPr/>
          </p:nvSpPr>
          <p:spPr>
            <a:xfrm>
              <a:off x="6673723" y="2000465"/>
              <a:ext cx="1008000" cy="1008000"/>
            </a:xfrm>
            <a:custGeom>
              <a:avLst/>
              <a:gdLst>
                <a:gd name="connsiteX0" fmla="*/ 1008000 w 1008000"/>
                <a:gd name="connsiteY0" fmla="*/ 504000 h 1008000"/>
                <a:gd name="connsiteX1" fmla="*/ 504000 w 1008000"/>
                <a:gd name="connsiteY1" fmla="*/ 1008000 h 1008000"/>
                <a:gd name="connsiteX2" fmla="*/ 0 w 1008000"/>
                <a:gd name="connsiteY2" fmla="*/ 504000 h 1008000"/>
                <a:gd name="connsiteX3" fmla="*/ 504000 w 1008000"/>
                <a:gd name="connsiteY3" fmla="*/ 0 h 1008000"/>
                <a:gd name="connsiteX4" fmla="*/ 1008000 w 1008000"/>
                <a:gd name="connsiteY4" fmla="*/ 504000 h 10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00" h="1008000">
                  <a:moveTo>
                    <a:pt x="1008000" y="504000"/>
                  </a:moveTo>
                  <a:cubicBezTo>
                    <a:pt x="1008000" y="782352"/>
                    <a:pt x="782352" y="1008000"/>
                    <a:pt x="504000" y="1008000"/>
                  </a:cubicBezTo>
                  <a:cubicBezTo>
                    <a:pt x="225648" y="1008000"/>
                    <a:pt x="0" y="782352"/>
                    <a:pt x="0" y="504000"/>
                  </a:cubicBezTo>
                  <a:cubicBezTo>
                    <a:pt x="0" y="225648"/>
                    <a:pt x="225648" y="0"/>
                    <a:pt x="504000" y="0"/>
                  </a:cubicBezTo>
                  <a:cubicBezTo>
                    <a:pt x="782352" y="0"/>
                    <a:pt x="1008000" y="225648"/>
                    <a:pt x="1008000" y="504000"/>
                  </a:cubicBezTo>
                  <a:close/>
                </a:path>
              </a:pathLst>
            </a:custGeom>
            <a:solidFill>
              <a:srgbClr val="FF4747"/>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29" name="Freeform: Shape 28">
              <a:extLst>
                <a:ext uri="{FF2B5EF4-FFF2-40B4-BE49-F238E27FC236}">
                  <a16:creationId xmlns:a16="http://schemas.microsoft.com/office/drawing/2014/main" id="{F09A862B-1129-43F9-B051-502EC7D5D77B}"/>
                </a:ext>
              </a:extLst>
            </p:cNvPr>
            <p:cNvSpPr/>
            <p:nvPr/>
          </p:nvSpPr>
          <p:spPr>
            <a:xfrm>
              <a:off x="6673723" y="2000465"/>
              <a:ext cx="1008000" cy="1008000"/>
            </a:xfrm>
            <a:custGeom>
              <a:avLst/>
              <a:gdLst>
                <a:gd name="connsiteX0" fmla="*/ 1008000 w 1008000"/>
                <a:gd name="connsiteY0" fmla="*/ 504000 h 1008000"/>
                <a:gd name="connsiteX1" fmla="*/ 504000 w 1008000"/>
                <a:gd name="connsiteY1" fmla="*/ 1008000 h 1008000"/>
                <a:gd name="connsiteX2" fmla="*/ 0 w 1008000"/>
                <a:gd name="connsiteY2" fmla="*/ 504000 h 1008000"/>
                <a:gd name="connsiteX3" fmla="*/ 504000 w 1008000"/>
                <a:gd name="connsiteY3" fmla="*/ 0 h 1008000"/>
                <a:gd name="connsiteX4" fmla="*/ 1008000 w 1008000"/>
                <a:gd name="connsiteY4" fmla="*/ 504000 h 10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00" h="1008000">
                  <a:moveTo>
                    <a:pt x="1008000" y="504000"/>
                  </a:moveTo>
                  <a:cubicBezTo>
                    <a:pt x="1008000" y="782352"/>
                    <a:pt x="782352" y="1008000"/>
                    <a:pt x="504000" y="1008000"/>
                  </a:cubicBezTo>
                  <a:cubicBezTo>
                    <a:pt x="225648" y="1008000"/>
                    <a:pt x="0" y="782352"/>
                    <a:pt x="0" y="504000"/>
                  </a:cubicBezTo>
                  <a:cubicBezTo>
                    <a:pt x="0" y="225648"/>
                    <a:pt x="225648" y="0"/>
                    <a:pt x="504000" y="0"/>
                  </a:cubicBezTo>
                  <a:cubicBezTo>
                    <a:pt x="782352" y="0"/>
                    <a:pt x="1008000" y="225648"/>
                    <a:pt x="1008000" y="504000"/>
                  </a:cubicBezTo>
                  <a:close/>
                </a:path>
              </a:pathLst>
            </a:custGeom>
            <a:gradFill>
              <a:gsLst>
                <a:gs pos="84071">
                  <a:schemeClr val="tx2"/>
                </a:gs>
                <a:gs pos="0">
                  <a:schemeClr val="accent6">
                    <a:lumMod val="90000"/>
                    <a:lumOff val="10000"/>
                  </a:schemeClr>
                </a:gs>
                <a:gs pos="47000">
                  <a:schemeClr val="bg2"/>
                </a:gs>
              </a:gsLst>
              <a:lin ang="2700000" scaled="1"/>
            </a:gra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0" name="Freeform: Shape 29">
              <a:extLst>
                <a:ext uri="{FF2B5EF4-FFF2-40B4-BE49-F238E27FC236}">
                  <a16:creationId xmlns:a16="http://schemas.microsoft.com/office/drawing/2014/main" id="{3BF04E0F-417A-43B9-9F64-E4C68E7C819A}"/>
                </a:ext>
              </a:extLst>
            </p:cNvPr>
            <p:cNvSpPr/>
            <p:nvPr/>
          </p:nvSpPr>
          <p:spPr>
            <a:xfrm>
              <a:off x="7056643" y="2356170"/>
              <a:ext cx="90809" cy="99402"/>
            </a:xfrm>
            <a:custGeom>
              <a:avLst/>
              <a:gdLst>
                <a:gd name="connsiteX0" fmla="*/ 25933 w 90809"/>
                <a:gd name="connsiteY0" fmla="*/ 4408 h 99402"/>
                <a:gd name="connsiteX1" fmla="*/ 92 w 90809"/>
                <a:gd name="connsiteY1" fmla="*/ 15181 h 99402"/>
                <a:gd name="connsiteX2" fmla="*/ 5 w 90809"/>
                <a:gd name="connsiteY2" fmla="*/ 99402 h 99402"/>
                <a:gd name="connsiteX3" fmla="*/ 90810 w 90809"/>
                <a:gd name="connsiteY3" fmla="*/ 69206 h 99402"/>
                <a:gd name="connsiteX4" fmla="*/ 25933 w 90809"/>
                <a:gd name="connsiteY4" fmla="*/ 4408 h 9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9" h="99402">
                  <a:moveTo>
                    <a:pt x="25933" y="4408"/>
                  </a:moveTo>
                  <a:cubicBezTo>
                    <a:pt x="16434" y="-5067"/>
                    <a:pt x="131" y="1752"/>
                    <a:pt x="92" y="15181"/>
                  </a:cubicBezTo>
                  <a:cubicBezTo>
                    <a:pt x="17" y="43254"/>
                    <a:pt x="-13" y="71328"/>
                    <a:pt x="5" y="99402"/>
                  </a:cubicBezTo>
                  <a:cubicBezTo>
                    <a:pt x="30267" y="89383"/>
                    <a:pt x="60540" y="79297"/>
                    <a:pt x="90810" y="69206"/>
                  </a:cubicBezTo>
                  <a:cubicBezTo>
                    <a:pt x="69157" y="47555"/>
                    <a:pt x="47517" y="25934"/>
                    <a:pt x="25933" y="4408"/>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1" name="Freeform: Shape 30">
              <a:extLst>
                <a:ext uri="{FF2B5EF4-FFF2-40B4-BE49-F238E27FC236}">
                  <a16:creationId xmlns:a16="http://schemas.microsoft.com/office/drawing/2014/main" id="{C9A47564-C4C6-46E5-94D9-4DC266499A0D}"/>
                </a:ext>
              </a:extLst>
            </p:cNvPr>
            <p:cNvSpPr/>
            <p:nvPr/>
          </p:nvSpPr>
          <p:spPr>
            <a:xfrm>
              <a:off x="7056643" y="2356170"/>
              <a:ext cx="90809" cy="99402"/>
            </a:xfrm>
            <a:custGeom>
              <a:avLst/>
              <a:gdLst>
                <a:gd name="connsiteX0" fmla="*/ 25933 w 90809"/>
                <a:gd name="connsiteY0" fmla="*/ 4408 h 99402"/>
                <a:gd name="connsiteX1" fmla="*/ 92 w 90809"/>
                <a:gd name="connsiteY1" fmla="*/ 15181 h 99402"/>
                <a:gd name="connsiteX2" fmla="*/ 5 w 90809"/>
                <a:gd name="connsiteY2" fmla="*/ 99402 h 99402"/>
                <a:gd name="connsiteX3" fmla="*/ 90810 w 90809"/>
                <a:gd name="connsiteY3" fmla="*/ 69206 h 99402"/>
                <a:gd name="connsiteX4" fmla="*/ 25933 w 90809"/>
                <a:gd name="connsiteY4" fmla="*/ 4408 h 9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9" h="99402">
                  <a:moveTo>
                    <a:pt x="25933" y="4408"/>
                  </a:moveTo>
                  <a:cubicBezTo>
                    <a:pt x="16434" y="-5067"/>
                    <a:pt x="131" y="1752"/>
                    <a:pt x="92" y="15181"/>
                  </a:cubicBezTo>
                  <a:cubicBezTo>
                    <a:pt x="17" y="43254"/>
                    <a:pt x="-13" y="71328"/>
                    <a:pt x="5" y="99402"/>
                  </a:cubicBezTo>
                  <a:cubicBezTo>
                    <a:pt x="30267" y="89383"/>
                    <a:pt x="60540" y="79297"/>
                    <a:pt x="90810" y="69206"/>
                  </a:cubicBezTo>
                  <a:cubicBezTo>
                    <a:pt x="69157" y="47555"/>
                    <a:pt x="47517" y="25934"/>
                    <a:pt x="25933" y="4408"/>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2" name="Freeform: Shape 31">
              <a:extLst>
                <a:ext uri="{FF2B5EF4-FFF2-40B4-BE49-F238E27FC236}">
                  <a16:creationId xmlns:a16="http://schemas.microsoft.com/office/drawing/2014/main" id="{DAECE367-FC27-4497-BFEB-8B1BF82D318A}"/>
                </a:ext>
              </a:extLst>
            </p:cNvPr>
            <p:cNvSpPr/>
            <p:nvPr/>
          </p:nvSpPr>
          <p:spPr>
            <a:xfrm>
              <a:off x="6864943" y="2450017"/>
              <a:ext cx="625558" cy="345147"/>
            </a:xfrm>
            <a:custGeom>
              <a:avLst/>
              <a:gdLst>
                <a:gd name="connsiteX0" fmla="*/ 625559 w 625558"/>
                <a:gd name="connsiteY0" fmla="*/ 0 h 345147"/>
                <a:gd name="connsiteX1" fmla="*/ 312779 w 625558"/>
                <a:gd name="connsiteY1" fmla="*/ 103430 h 345147"/>
                <a:gd name="connsiteX2" fmla="*/ 0 w 625558"/>
                <a:gd name="connsiteY2" fmla="*/ 0 h 345147"/>
                <a:gd name="connsiteX3" fmla="*/ 6678 w 625558"/>
                <a:gd name="connsiteY3" fmla="*/ 345148 h 345147"/>
                <a:gd name="connsiteX4" fmla="*/ 312779 w 625558"/>
                <a:gd name="connsiteY4" fmla="*/ 303938 h 345147"/>
                <a:gd name="connsiteX5" fmla="*/ 618881 w 625558"/>
                <a:gd name="connsiteY5" fmla="*/ 345148 h 345147"/>
                <a:gd name="connsiteX6" fmla="*/ 625559 w 625558"/>
                <a:gd name="connsiteY6" fmla="*/ 0 h 34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558" h="345147">
                  <a:moveTo>
                    <a:pt x="625559" y="0"/>
                  </a:moveTo>
                  <a:cubicBezTo>
                    <a:pt x="521262" y="33725"/>
                    <a:pt x="416824" y="69042"/>
                    <a:pt x="312779" y="103430"/>
                  </a:cubicBezTo>
                  <a:cubicBezTo>
                    <a:pt x="208735" y="69042"/>
                    <a:pt x="104297" y="33723"/>
                    <a:pt x="0" y="0"/>
                  </a:cubicBezTo>
                  <a:cubicBezTo>
                    <a:pt x="128" y="115050"/>
                    <a:pt x="2355" y="230098"/>
                    <a:pt x="6678" y="345148"/>
                  </a:cubicBezTo>
                  <a:cubicBezTo>
                    <a:pt x="108100" y="334784"/>
                    <a:pt x="210174" y="320639"/>
                    <a:pt x="312779" y="303938"/>
                  </a:cubicBezTo>
                  <a:cubicBezTo>
                    <a:pt x="415383" y="320639"/>
                    <a:pt x="517458" y="334782"/>
                    <a:pt x="618881" y="345148"/>
                  </a:cubicBezTo>
                  <a:cubicBezTo>
                    <a:pt x="623204" y="230098"/>
                    <a:pt x="625431" y="115048"/>
                    <a:pt x="625559" y="0"/>
                  </a:cubicBezTo>
                  <a:close/>
                </a:path>
              </a:pathLst>
            </a:custGeom>
            <a:solidFill>
              <a:srgbClr val="FFCB00"/>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3" name="Freeform: Shape 32">
              <a:extLst>
                <a:ext uri="{FF2B5EF4-FFF2-40B4-BE49-F238E27FC236}">
                  <a16:creationId xmlns:a16="http://schemas.microsoft.com/office/drawing/2014/main" id="{046742D3-C583-4518-963B-AF35B96BAA39}"/>
                </a:ext>
              </a:extLst>
            </p:cNvPr>
            <p:cNvSpPr/>
            <p:nvPr/>
          </p:nvSpPr>
          <p:spPr>
            <a:xfrm>
              <a:off x="6871589" y="2612685"/>
              <a:ext cx="612271" cy="216279"/>
            </a:xfrm>
            <a:custGeom>
              <a:avLst/>
              <a:gdLst>
                <a:gd name="connsiteX0" fmla="*/ 594504 w 612271"/>
                <a:gd name="connsiteY0" fmla="*/ 144908 h 216279"/>
                <a:gd name="connsiteX1" fmla="*/ 402240 w 612271"/>
                <a:gd name="connsiteY1" fmla="*/ 0 h 216279"/>
                <a:gd name="connsiteX2" fmla="*/ 210029 w 612271"/>
                <a:gd name="connsiteY2" fmla="*/ 0 h 216279"/>
                <a:gd name="connsiteX3" fmla="*/ 17765 w 612271"/>
                <a:gd name="connsiteY3" fmla="*/ 144908 h 216279"/>
                <a:gd name="connsiteX4" fmla="*/ 34 w 612271"/>
                <a:gd name="connsiteY4" fmla="*/ 182478 h 216279"/>
                <a:gd name="connsiteX5" fmla="*/ 25262 w 612271"/>
                <a:gd name="connsiteY5" fmla="*/ 208231 h 216279"/>
                <a:gd name="connsiteX6" fmla="*/ 587009 w 612271"/>
                <a:gd name="connsiteY6" fmla="*/ 208231 h 216279"/>
                <a:gd name="connsiteX7" fmla="*/ 612237 w 612271"/>
                <a:gd name="connsiteY7" fmla="*/ 182478 h 216279"/>
                <a:gd name="connsiteX8" fmla="*/ 594504 w 612271"/>
                <a:gd name="connsiteY8" fmla="*/ 144908 h 2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271" h="216279">
                  <a:moveTo>
                    <a:pt x="594504" y="144908"/>
                  </a:moveTo>
                  <a:cubicBezTo>
                    <a:pt x="531573" y="98617"/>
                    <a:pt x="467244" y="49825"/>
                    <a:pt x="402240" y="0"/>
                  </a:cubicBezTo>
                  <a:cubicBezTo>
                    <a:pt x="338169" y="537"/>
                    <a:pt x="274100" y="537"/>
                    <a:pt x="210029" y="0"/>
                  </a:cubicBezTo>
                  <a:cubicBezTo>
                    <a:pt x="145025" y="49829"/>
                    <a:pt x="80696" y="98619"/>
                    <a:pt x="17765" y="144908"/>
                  </a:cubicBezTo>
                  <a:cubicBezTo>
                    <a:pt x="6012" y="153551"/>
                    <a:pt x="-536" y="167389"/>
                    <a:pt x="34" y="182478"/>
                  </a:cubicBezTo>
                  <a:cubicBezTo>
                    <a:pt x="546" y="195891"/>
                    <a:pt x="11867" y="207457"/>
                    <a:pt x="25262" y="208231"/>
                  </a:cubicBezTo>
                  <a:cubicBezTo>
                    <a:pt x="212510" y="218962"/>
                    <a:pt x="399760" y="218962"/>
                    <a:pt x="587009" y="208231"/>
                  </a:cubicBezTo>
                  <a:cubicBezTo>
                    <a:pt x="600405" y="207451"/>
                    <a:pt x="611725" y="195885"/>
                    <a:pt x="612237" y="182478"/>
                  </a:cubicBezTo>
                  <a:cubicBezTo>
                    <a:pt x="612806" y="167397"/>
                    <a:pt x="606256" y="153555"/>
                    <a:pt x="594504" y="144908"/>
                  </a:cubicBezTo>
                  <a:close/>
                </a:path>
              </a:pathLst>
            </a:custGeom>
            <a:solidFill>
              <a:srgbClr val="FFCB00"/>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4" name="Freeform: Shape 33">
              <a:extLst>
                <a:ext uri="{FF2B5EF4-FFF2-40B4-BE49-F238E27FC236}">
                  <a16:creationId xmlns:a16="http://schemas.microsoft.com/office/drawing/2014/main" id="{8A7A1BEB-286C-43A0-BDD7-372D556D6131}"/>
                </a:ext>
              </a:extLst>
            </p:cNvPr>
            <p:cNvSpPr/>
            <p:nvPr/>
          </p:nvSpPr>
          <p:spPr>
            <a:xfrm>
              <a:off x="6864943" y="2425368"/>
              <a:ext cx="625556" cy="403596"/>
            </a:xfrm>
            <a:custGeom>
              <a:avLst/>
              <a:gdLst>
                <a:gd name="connsiteX0" fmla="*/ 593653 w 625556"/>
                <a:gd name="connsiteY0" fmla="*/ 395548 h 403596"/>
                <a:gd name="connsiteX1" fmla="*/ 31906 w 625556"/>
                <a:gd name="connsiteY1" fmla="*/ 395548 h 403596"/>
                <a:gd name="connsiteX2" fmla="*/ 6678 w 625556"/>
                <a:gd name="connsiteY2" fmla="*/ 369795 h 403596"/>
                <a:gd name="connsiteX3" fmla="*/ 0 w 625556"/>
                <a:gd name="connsiteY3" fmla="*/ 24647 h 403596"/>
                <a:gd name="connsiteX4" fmla="*/ 24893 w 625556"/>
                <a:gd name="connsiteY4" fmla="*/ 294 h 403596"/>
                <a:gd name="connsiteX5" fmla="*/ 600664 w 625556"/>
                <a:gd name="connsiteY5" fmla="*/ 294 h 403596"/>
                <a:gd name="connsiteX6" fmla="*/ 625557 w 625556"/>
                <a:gd name="connsiteY6" fmla="*/ 24647 h 403596"/>
                <a:gd name="connsiteX7" fmla="*/ 618879 w 625556"/>
                <a:gd name="connsiteY7" fmla="*/ 369795 h 403596"/>
                <a:gd name="connsiteX8" fmla="*/ 593653 w 625556"/>
                <a:gd name="connsiteY8" fmla="*/ 395548 h 40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556" h="403596">
                  <a:moveTo>
                    <a:pt x="593653" y="395548"/>
                  </a:moveTo>
                  <a:cubicBezTo>
                    <a:pt x="406403" y="406280"/>
                    <a:pt x="219155" y="406280"/>
                    <a:pt x="31906" y="395548"/>
                  </a:cubicBezTo>
                  <a:cubicBezTo>
                    <a:pt x="18504" y="394766"/>
                    <a:pt x="7190" y="383214"/>
                    <a:pt x="6678" y="369795"/>
                  </a:cubicBezTo>
                  <a:cubicBezTo>
                    <a:pt x="2353" y="254745"/>
                    <a:pt x="128" y="139697"/>
                    <a:pt x="0" y="24647"/>
                  </a:cubicBezTo>
                  <a:cubicBezTo>
                    <a:pt x="-16" y="11236"/>
                    <a:pt x="11149" y="337"/>
                    <a:pt x="24893" y="294"/>
                  </a:cubicBezTo>
                  <a:cubicBezTo>
                    <a:pt x="216817" y="-98"/>
                    <a:pt x="408740" y="-98"/>
                    <a:pt x="600664" y="294"/>
                  </a:cubicBezTo>
                  <a:cubicBezTo>
                    <a:pt x="614410" y="325"/>
                    <a:pt x="625572" y="11236"/>
                    <a:pt x="625557" y="24647"/>
                  </a:cubicBezTo>
                  <a:cubicBezTo>
                    <a:pt x="625429" y="139697"/>
                    <a:pt x="623202" y="254745"/>
                    <a:pt x="618879" y="369795"/>
                  </a:cubicBezTo>
                  <a:cubicBezTo>
                    <a:pt x="618369" y="383204"/>
                    <a:pt x="607054" y="394766"/>
                    <a:pt x="593653" y="395548"/>
                  </a:cubicBezTo>
                  <a:close/>
                </a:path>
              </a:pathLst>
            </a:custGeom>
            <a:solidFill>
              <a:schemeClr val="tx2">
                <a:lumMod val="60000"/>
                <a:lumOff val="40000"/>
              </a:schemeClr>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5" name="Freeform: Shape 34">
              <a:extLst>
                <a:ext uri="{FF2B5EF4-FFF2-40B4-BE49-F238E27FC236}">
                  <a16:creationId xmlns:a16="http://schemas.microsoft.com/office/drawing/2014/main" id="{2726844F-CDD7-48A2-AEED-6342875786C9}"/>
                </a:ext>
              </a:extLst>
            </p:cNvPr>
            <p:cNvSpPr/>
            <p:nvPr/>
          </p:nvSpPr>
          <p:spPr>
            <a:xfrm>
              <a:off x="6864943" y="2450017"/>
              <a:ext cx="625558" cy="329744"/>
            </a:xfrm>
            <a:custGeom>
              <a:avLst/>
              <a:gdLst>
                <a:gd name="connsiteX0" fmla="*/ 0 w 625558"/>
                <a:gd name="connsiteY0" fmla="*/ 0 h 329744"/>
                <a:gd name="connsiteX1" fmla="*/ 19625 w 625558"/>
                <a:gd name="connsiteY1" fmla="*/ 53249 h 329744"/>
                <a:gd name="connsiteX2" fmla="*/ 253030 w 625558"/>
                <a:gd name="connsiteY2" fmla="*/ 301006 h 329744"/>
                <a:gd name="connsiteX3" fmla="*/ 372529 w 625558"/>
                <a:gd name="connsiteY3" fmla="*/ 301006 h 329744"/>
                <a:gd name="connsiteX4" fmla="*/ 605934 w 625558"/>
                <a:gd name="connsiteY4" fmla="*/ 53249 h 329744"/>
                <a:gd name="connsiteX5" fmla="*/ 625559 w 625558"/>
                <a:gd name="connsiteY5" fmla="*/ 0 h 329744"/>
                <a:gd name="connsiteX6" fmla="*/ 0 w 625558"/>
                <a:gd name="connsiteY6" fmla="*/ 0 h 329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558" h="329744">
                  <a:moveTo>
                    <a:pt x="0" y="0"/>
                  </a:moveTo>
                  <a:cubicBezTo>
                    <a:pt x="20" y="20760"/>
                    <a:pt x="7306" y="40416"/>
                    <a:pt x="19625" y="53249"/>
                  </a:cubicBezTo>
                  <a:cubicBezTo>
                    <a:pt x="97628" y="134438"/>
                    <a:pt x="176189" y="218134"/>
                    <a:pt x="253030" y="301006"/>
                  </a:cubicBezTo>
                  <a:cubicBezTo>
                    <a:pt x="288495" y="339324"/>
                    <a:pt x="337066" y="339324"/>
                    <a:pt x="372529" y="301006"/>
                  </a:cubicBezTo>
                  <a:cubicBezTo>
                    <a:pt x="449369" y="218134"/>
                    <a:pt x="527928" y="134438"/>
                    <a:pt x="605934" y="53249"/>
                  </a:cubicBezTo>
                  <a:cubicBezTo>
                    <a:pt x="618253" y="40411"/>
                    <a:pt x="625539" y="20762"/>
                    <a:pt x="625559" y="0"/>
                  </a:cubicBezTo>
                  <a:cubicBezTo>
                    <a:pt x="417038" y="348"/>
                    <a:pt x="208520" y="348"/>
                    <a:pt x="0" y="0"/>
                  </a:cubicBezTo>
                  <a:close/>
                </a:path>
              </a:pathLst>
            </a:custGeom>
            <a:solidFill>
              <a:schemeClr val="tx2">
                <a:lumMod val="40000"/>
                <a:lumOff val="60000"/>
              </a:schemeClr>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6" name="Freeform: Shape 35">
              <a:extLst>
                <a:ext uri="{FF2B5EF4-FFF2-40B4-BE49-F238E27FC236}">
                  <a16:creationId xmlns:a16="http://schemas.microsoft.com/office/drawing/2014/main" id="{C11EC826-6E4D-4CBE-8CEA-C48A9EF79625}"/>
                </a:ext>
              </a:extLst>
            </p:cNvPr>
            <p:cNvSpPr/>
            <p:nvPr/>
          </p:nvSpPr>
          <p:spPr>
            <a:xfrm>
              <a:off x="6864943" y="2425369"/>
              <a:ext cx="625558" cy="264151"/>
            </a:xfrm>
            <a:custGeom>
              <a:avLst/>
              <a:gdLst>
                <a:gd name="connsiteX0" fmla="*/ 625559 w 625558"/>
                <a:gd name="connsiteY0" fmla="*/ 24647 h 264151"/>
                <a:gd name="connsiteX1" fmla="*/ 606015 w 625558"/>
                <a:gd name="connsiteY1" fmla="*/ 63321 h 264151"/>
                <a:gd name="connsiteX2" fmla="*/ 372964 w 625558"/>
                <a:gd name="connsiteY2" fmla="*/ 243283 h 264151"/>
                <a:gd name="connsiteX3" fmla="*/ 252595 w 625558"/>
                <a:gd name="connsiteY3" fmla="*/ 243283 h 264151"/>
                <a:gd name="connsiteX4" fmla="*/ 19544 w 625558"/>
                <a:gd name="connsiteY4" fmla="*/ 63321 h 264151"/>
                <a:gd name="connsiteX5" fmla="*/ 0 w 625558"/>
                <a:gd name="connsiteY5" fmla="*/ 24647 h 264151"/>
                <a:gd name="connsiteX6" fmla="*/ 24893 w 625558"/>
                <a:gd name="connsiteY6" fmla="*/ 294 h 264151"/>
                <a:gd name="connsiteX7" fmla="*/ 600664 w 625558"/>
                <a:gd name="connsiteY7" fmla="*/ 294 h 264151"/>
                <a:gd name="connsiteX8" fmla="*/ 625559 w 625558"/>
                <a:gd name="connsiteY8" fmla="*/ 24647 h 2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558" h="264151">
                  <a:moveTo>
                    <a:pt x="625559" y="24647"/>
                  </a:moveTo>
                  <a:cubicBezTo>
                    <a:pt x="625543" y="39720"/>
                    <a:pt x="618300" y="54007"/>
                    <a:pt x="606015" y="63321"/>
                  </a:cubicBezTo>
                  <a:cubicBezTo>
                    <a:pt x="528212" y="122309"/>
                    <a:pt x="450127" y="183102"/>
                    <a:pt x="372964" y="243283"/>
                  </a:cubicBezTo>
                  <a:cubicBezTo>
                    <a:pt x="337359" y="271103"/>
                    <a:pt x="288199" y="271111"/>
                    <a:pt x="252595" y="243283"/>
                  </a:cubicBezTo>
                  <a:cubicBezTo>
                    <a:pt x="175431" y="183102"/>
                    <a:pt x="97349" y="122309"/>
                    <a:pt x="19544" y="63321"/>
                  </a:cubicBezTo>
                  <a:cubicBezTo>
                    <a:pt x="7257" y="53999"/>
                    <a:pt x="16" y="39726"/>
                    <a:pt x="0" y="24647"/>
                  </a:cubicBezTo>
                  <a:cubicBezTo>
                    <a:pt x="-16" y="11240"/>
                    <a:pt x="11155" y="327"/>
                    <a:pt x="24893" y="294"/>
                  </a:cubicBezTo>
                  <a:cubicBezTo>
                    <a:pt x="216817" y="-98"/>
                    <a:pt x="408740" y="-98"/>
                    <a:pt x="600664" y="294"/>
                  </a:cubicBezTo>
                  <a:cubicBezTo>
                    <a:pt x="614404" y="333"/>
                    <a:pt x="625574" y="11236"/>
                    <a:pt x="625559" y="24647"/>
                  </a:cubicBezTo>
                  <a:close/>
                </a:path>
              </a:pathLst>
            </a:custGeom>
            <a:solidFill>
              <a:schemeClr val="accent1">
                <a:lumMod val="20000"/>
                <a:lumOff val="80000"/>
              </a:schemeClr>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7" name="Freeform: Shape 36">
              <a:extLst>
                <a:ext uri="{FF2B5EF4-FFF2-40B4-BE49-F238E27FC236}">
                  <a16:creationId xmlns:a16="http://schemas.microsoft.com/office/drawing/2014/main" id="{59DC578A-2643-403C-B3E4-2B3AB4F05BAD}"/>
                </a:ext>
              </a:extLst>
            </p:cNvPr>
            <p:cNvSpPr/>
            <p:nvPr/>
          </p:nvSpPr>
          <p:spPr>
            <a:xfrm>
              <a:off x="7117295" y="2485899"/>
              <a:ext cx="120854" cy="121078"/>
            </a:xfrm>
            <a:custGeom>
              <a:avLst/>
              <a:gdLst>
                <a:gd name="connsiteX0" fmla="*/ 120854 w 120854"/>
                <a:gd name="connsiteY0" fmla="*/ 60441 h 121078"/>
                <a:gd name="connsiteX1" fmla="*/ 60427 w 120854"/>
                <a:gd name="connsiteY1" fmla="*/ 121078 h 121078"/>
                <a:gd name="connsiteX2" fmla="*/ 0 w 120854"/>
                <a:gd name="connsiteY2" fmla="*/ 60441 h 121078"/>
                <a:gd name="connsiteX3" fmla="*/ 60427 w 120854"/>
                <a:gd name="connsiteY3" fmla="*/ 0 h 121078"/>
                <a:gd name="connsiteX4" fmla="*/ 120854 w 120854"/>
                <a:gd name="connsiteY4" fmla="*/ 60441 h 12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54" h="121078">
                  <a:moveTo>
                    <a:pt x="120854" y="60441"/>
                  </a:moveTo>
                  <a:cubicBezTo>
                    <a:pt x="120767" y="93827"/>
                    <a:pt x="93689" y="121072"/>
                    <a:pt x="60427" y="121078"/>
                  </a:cubicBezTo>
                  <a:cubicBezTo>
                    <a:pt x="27165" y="121072"/>
                    <a:pt x="87" y="93829"/>
                    <a:pt x="0" y="60441"/>
                  </a:cubicBezTo>
                  <a:cubicBezTo>
                    <a:pt x="-79" y="27049"/>
                    <a:pt x="27000" y="8"/>
                    <a:pt x="60427" y="0"/>
                  </a:cubicBezTo>
                  <a:cubicBezTo>
                    <a:pt x="93854" y="8"/>
                    <a:pt x="120933" y="27049"/>
                    <a:pt x="120854" y="60441"/>
                  </a:cubicBezTo>
                  <a:close/>
                </a:path>
              </a:pathLst>
            </a:custGeom>
            <a:solidFill>
              <a:srgbClr val="FFCB00"/>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8" name="Freeform: Shape 37">
              <a:extLst>
                <a:ext uri="{FF2B5EF4-FFF2-40B4-BE49-F238E27FC236}">
                  <a16:creationId xmlns:a16="http://schemas.microsoft.com/office/drawing/2014/main" id="{430AB27F-2032-4A30-A207-01B3DC5D6864}"/>
                </a:ext>
              </a:extLst>
            </p:cNvPr>
            <p:cNvSpPr/>
            <p:nvPr/>
          </p:nvSpPr>
          <p:spPr>
            <a:xfrm>
              <a:off x="7117295" y="2485899"/>
              <a:ext cx="120854" cy="121078"/>
            </a:xfrm>
            <a:custGeom>
              <a:avLst/>
              <a:gdLst>
                <a:gd name="connsiteX0" fmla="*/ 120854 w 120854"/>
                <a:gd name="connsiteY0" fmla="*/ 60441 h 121078"/>
                <a:gd name="connsiteX1" fmla="*/ 60427 w 120854"/>
                <a:gd name="connsiteY1" fmla="*/ 121078 h 121078"/>
                <a:gd name="connsiteX2" fmla="*/ 0 w 120854"/>
                <a:gd name="connsiteY2" fmla="*/ 60441 h 121078"/>
                <a:gd name="connsiteX3" fmla="*/ 60427 w 120854"/>
                <a:gd name="connsiteY3" fmla="*/ 0 h 121078"/>
                <a:gd name="connsiteX4" fmla="*/ 120854 w 120854"/>
                <a:gd name="connsiteY4" fmla="*/ 60441 h 121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54" h="121078">
                  <a:moveTo>
                    <a:pt x="120854" y="60441"/>
                  </a:moveTo>
                  <a:cubicBezTo>
                    <a:pt x="120767" y="93827"/>
                    <a:pt x="93689" y="121072"/>
                    <a:pt x="60427" y="121078"/>
                  </a:cubicBezTo>
                  <a:cubicBezTo>
                    <a:pt x="27165" y="121072"/>
                    <a:pt x="87" y="93829"/>
                    <a:pt x="0" y="60441"/>
                  </a:cubicBezTo>
                  <a:cubicBezTo>
                    <a:pt x="-79" y="27049"/>
                    <a:pt x="27000" y="8"/>
                    <a:pt x="60427" y="0"/>
                  </a:cubicBezTo>
                  <a:cubicBezTo>
                    <a:pt x="93854" y="8"/>
                    <a:pt x="120933" y="27049"/>
                    <a:pt x="120854" y="60441"/>
                  </a:cubicBez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39" name="Freeform: Shape 38">
              <a:extLst>
                <a:ext uri="{FF2B5EF4-FFF2-40B4-BE49-F238E27FC236}">
                  <a16:creationId xmlns:a16="http://schemas.microsoft.com/office/drawing/2014/main" id="{FB425781-B4E2-4503-A1B9-4B08140FFF5D}"/>
                </a:ext>
              </a:extLst>
            </p:cNvPr>
            <p:cNvSpPr/>
            <p:nvPr/>
          </p:nvSpPr>
          <p:spPr>
            <a:xfrm>
              <a:off x="7162719" y="2050028"/>
              <a:ext cx="30009" cy="158710"/>
            </a:xfrm>
            <a:custGeom>
              <a:avLst/>
              <a:gdLst>
                <a:gd name="connsiteX0" fmla="*/ 211 w 30009"/>
                <a:gd name="connsiteY0" fmla="*/ 15157 h 158710"/>
                <a:gd name="connsiteX1" fmla="*/ 0 w 30009"/>
                <a:gd name="connsiteY1" fmla="*/ 158711 h 158710"/>
                <a:gd name="connsiteX2" fmla="*/ 30010 w 30009"/>
                <a:gd name="connsiteY2" fmla="*/ 158711 h 158710"/>
                <a:gd name="connsiteX3" fmla="*/ 29799 w 30009"/>
                <a:gd name="connsiteY3" fmla="*/ 15157 h 158710"/>
                <a:gd name="connsiteX4" fmla="*/ 15006 w 30009"/>
                <a:gd name="connsiteY4" fmla="*/ 0 h 158710"/>
                <a:gd name="connsiteX5" fmla="*/ 211 w 30009"/>
                <a:gd name="connsiteY5" fmla="*/ 15157 h 15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9" h="158710">
                  <a:moveTo>
                    <a:pt x="211" y="15157"/>
                  </a:moveTo>
                  <a:cubicBezTo>
                    <a:pt x="124" y="63008"/>
                    <a:pt x="53" y="110860"/>
                    <a:pt x="0" y="158711"/>
                  </a:cubicBezTo>
                  <a:cubicBezTo>
                    <a:pt x="10003" y="158693"/>
                    <a:pt x="20006" y="158693"/>
                    <a:pt x="30010" y="158711"/>
                  </a:cubicBezTo>
                  <a:cubicBezTo>
                    <a:pt x="29957" y="110860"/>
                    <a:pt x="29886" y="63008"/>
                    <a:pt x="29799" y="15157"/>
                  </a:cubicBezTo>
                  <a:cubicBezTo>
                    <a:pt x="29781" y="6800"/>
                    <a:pt x="23158" y="0"/>
                    <a:pt x="15006" y="0"/>
                  </a:cubicBezTo>
                  <a:cubicBezTo>
                    <a:pt x="6853" y="2"/>
                    <a:pt x="228" y="6796"/>
                    <a:pt x="211" y="15157"/>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40" name="Freeform: Shape 39">
              <a:extLst>
                <a:ext uri="{FF2B5EF4-FFF2-40B4-BE49-F238E27FC236}">
                  <a16:creationId xmlns:a16="http://schemas.microsoft.com/office/drawing/2014/main" id="{148A20DE-652A-48EC-9610-92A715197DB8}"/>
                </a:ext>
              </a:extLst>
            </p:cNvPr>
            <p:cNvSpPr/>
            <p:nvPr/>
          </p:nvSpPr>
          <p:spPr>
            <a:xfrm>
              <a:off x="7147508" y="2238997"/>
              <a:ext cx="151286" cy="337712"/>
            </a:xfrm>
            <a:custGeom>
              <a:avLst/>
              <a:gdLst>
                <a:gd name="connsiteX0" fmla="*/ 114371 w 151286"/>
                <a:gd name="connsiteY0" fmla="*/ 129751 h 337712"/>
                <a:gd name="connsiteX1" fmla="*/ 60409 w 151286"/>
                <a:gd name="connsiteY1" fmla="*/ 75701 h 337712"/>
                <a:gd name="connsiteX2" fmla="*/ 60289 w 151286"/>
                <a:gd name="connsiteY2" fmla="*/ 44 h 337712"/>
                <a:gd name="connsiteX3" fmla="*/ 142 w 151286"/>
                <a:gd name="connsiteY3" fmla="*/ 44 h 337712"/>
                <a:gd name="connsiteX4" fmla="*/ 22 w 151286"/>
                <a:gd name="connsiteY4" fmla="*/ 75699 h 337712"/>
                <a:gd name="connsiteX5" fmla="*/ 17689 w 151286"/>
                <a:gd name="connsiteY5" fmla="*/ 118482 h 337712"/>
                <a:gd name="connsiteX6" fmla="*/ 72125 w 151286"/>
                <a:gd name="connsiteY6" fmla="*/ 172948 h 337712"/>
                <a:gd name="connsiteX7" fmla="*/ 90714 w 151286"/>
                <a:gd name="connsiteY7" fmla="*/ 214449 h 337712"/>
                <a:gd name="connsiteX8" fmla="*/ 72997 w 151286"/>
                <a:gd name="connsiteY8" fmla="*/ 259413 h 337712"/>
                <a:gd name="connsiteX9" fmla="*/ 30214 w 151286"/>
                <a:gd name="connsiteY9" fmla="*/ 277173 h 337712"/>
                <a:gd name="connsiteX10" fmla="*/ 0 w 151286"/>
                <a:gd name="connsiteY10" fmla="*/ 307417 h 337712"/>
                <a:gd name="connsiteX11" fmla="*/ 30214 w 151286"/>
                <a:gd name="connsiteY11" fmla="*/ 337713 h 337712"/>
                <a:gd name="connsiteX12" fmla="*/ 115686 w 151286"/>
                <a:gd name="connsiteY12" fmla="*/ 302062 h 337712"/>
                <a:gd name="connsiteX13" fmla="*/ 151281 w 151286"/>
                <a:gd name="connsiteY13" fmla="*/ 217749 h 337712"/>
                <a:gd name="connsiteX14" fmla="*/ 114371 w 151286"/>
                <a:gd name="connsiteY14" fmla="*/ 129751 h 33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286" h="337712">
                  <a:moveTo>
                    <a:pt x="114371" y="129751"/>
                  </a:moveTo>
                  <a:cubicBezTo>
                    <a:pt x="96366" y="111745"/>
                    <a:pt x="78370" y="93717"/>
                    <a:pt x="60409" y="75701"/>
                  </a:cubicBezTo>
                  <a:cubicBezTo>
                    <a:pt x="60378" y="50484"/>
                    <a:pt x="60338" y="25262"/>
                    <a:pt x="60289" y="44"/>
                  </a:cubicBezTo>
                  <a:cubicBezTo>
                    <a:pt x="40239" y="-15"/>
                    <a:pt x="20192" y="-15"/>
                    <a:pt x="142" y="44"/>
                  </a:cubicBezTo>
                  <a:cubicBezTo>
                    <a:pt x="93" y="25264"/>
                    <a:pt x="53" y="50482"/>
                    <a:pt x="22" y="75699"/>
                  </a:cubicBezTo>
                  <a:cubicBezTo>
                    <a:pt x="2" y="91757"/>
                    <a:pt x="6353" y="107138"/>
                    <a:pt x="17689" y="118482"/>
                  </a:cubicBezTo>
                  <a:cubicBezTo>
                    <a:pt x="35816" y="136624"/>
                    <a:pt x="53969" y="154792"/>
                    <a:pt x="72125" y="172948"/>
                  </a:cubicBezTo>
                  <a:cubicBezTo>
                    <a:pt x="83215" y="184032"/>
                    <a:pt x="90173" y="198792"/>
                    <a:pt x="90714" y="214449"/>
                  </a:cubicBezTo>
                  <a:cubicBezTo>
                    <a:pt x="91299" y="231404"/>
                    <a:pt x="84948" y="247445"/>
                    <a:pt x="72997" y="259413"/>
                  </a:cubicBezTo>
                  <a:cubicBezTo>
                    <a:pt x="61557" y="270862"/>
                    <a:pt x="46368" y="277183"/>
                    <a:pt x="30214" y="277173"/>
                  </a:cubicBezTo>
                  <a:cubicBezTo>
                    <a:pt x="13512" y="277177"/>
                    <a:pt x="-20" y="290709"/>
                    <a:pt x="0" y="307417"/>
                  </a:cubicBezTo>
                  <a:cubicBezTo>
                    <a:pt x="22" y="324134"/>
                    <a:pt x="13551" y="337716"/>
                    <a:pt x="30214" y="337713"/>
                  </a:cubicBezTo>
                  <a:cubicBezTo>
                    <a:pt x="62453" y="337711"/>
                    <a:pt x="92787" y="324986"/>
                    <a:pt x="115686" y="302062"/>
                  </a:cubicBezTo>
                  <a:cubicBezTo>
                    <a:pt x="138305" y="279410"/>
                    <a:pt x="150960" y="249524"/>
                    <a:pt x="151281" y="217749"/>
                  </a:cubicBezTo>
                  <a:cubicBezTo>
                    <a:pt x="151619" y="184786"/>
                    <a:pt x="137801" y="153191"/>
                    <a:pt x="114371" y="129751"/>
                  </a:cubicBezTo>
                  <a:close/>
                </a:path>
              </a:pathLst>
            </a:custGeom>
            <a:solidFill>
              <a:srgbClr val="FF4747"/>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41" name="Freeform: Shape 40">
              <a:extLst>
                <a:ext uri="{FF2B5EF4-FFF2-40B4-BE49-F238E27FC236}">
                  <a16:creationId xmlns:a16="http://schemas.microsoft.com/office/drawing/2014/main" id="{D93A6831-141E-4F5C-AC5C-D8E078F46590}"/>
                </a:ext>
              </a:extLst>
            </p:cNvPr>
            <p:cNvSpPr/>
            <p:nvPr/>
          </p:nvSpPr>
          <p:spPr>
            <a:xfrm>
              <a:off x="7147508" y="2238997"/>
              <a:ext cx="151286" cy="337712"/>
            </a:xfrm>
            <a:custGeom>
              <a:avLst/>
              <a:gdLst>
                <a:gd name="connsiteX0" fmla="*/ 114371 w 151286"/>
                <a:gd name="connsiteY0" fmla="*/ 129751 h 337712"/>
                <a:gd name="connsiteX1" fmla="*/ 60409 w 151286"/>
                <a:gd name="connsiteY1" fmla="*/ 75701 h 337712"/>
                <a:gd name="connsiteX2" fmla="*/ 60289 w 151286"/>
                <a:gd name="connsiteY2" fmla="*/ 44 h 337712"/>
                <a:gd name="connsiteX3" fmla="*/ 142 w 151286"/>
                <a:gd name="connsiteY3" fmla="*/ 44 h 337712"/>
                <a:gd name="connsiteX4" fmla="*/ 22 w 151286"/>
                <a:gd name="connsiteY4" fmla="*/ 75699 h 337712"/>
                <a:gd name="connsiteX5" fmla="*/ 17689 w 151286"/>
                <a:gd name="connsiteY5" fmla="*/ 118482 h 337712"/>
                <a:gd name="connsiteX6" fmla="*/ 72125 w 151286"/>
                <a:gd name="connsiteY6" fmla="*/ 172948 h 337712"/>
                <a:gd name="connsiteX7" fmla="*/ 90714 w 151286"/>
                <a:gd name="connsiteY7" fmla="*/ 214449 h 337712"/>
                <a:gd name="connsiteX8" fmla="*/ 72997 w 151286"/>
                <a:gd name="connsiteY8" fmla="*/ 259413 h 337712"/>
                <a:gd name="connsiteX9" fmla="*/ 30214 w 151286"/>
                <a:gd name="connsiteY9" fmla="*/ 277173 h 337712"/>
                <a:gd name="connsiteX10" fmla="*/ 0 w 151286"/>
                <a:gd name="connsiteY10" fmla="*/ 307417 h 337712"/>
                <a:gd name="connsiteX11" fmla="*/ 30214 w 151286"/>
                <a:gd name="connsiteY11" fmla="*/ 337713 h 337712"/>
                <a:gd name="connsiteX12" fmla="*/ 115686 w 151286"/>
                <a:gd name="connsiteY12" fmla="*/ 302062 h 337712"/>
                <a:gd name="connsiteX13" fmla="*/ 151281 w 151286"/>
                <a:gd name="connsiteY13" fmla="*/ 217749 h 337712"/>
                <a:gd name="connsiteX14" fmla="*/ 114371 w 151286"/>
                <a:gd name="connsiteY14" fmla="*/ 129751 h 33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286" h="337712">
                  <a:moveTo>
                    <a:pt x="114371" y="129751"/>
                  </a:moveTo>
                  <a:cubicBezTo>
                    <a:pt x="96366" y="111745"/>
                    <a:pt x="78370" y="93717"/>
                    <a:pt x="60409" y="75701"/>
                  </a:cubicBezTo>
                  <a:cubicBezTo>
                    <a:pt x="60378" y="50484"/>
                    <a:pt x="60338" y="25262"/>
                    <a:pt x="60289" y="44"/>
                  </a:cubicBezTo>
                  <a:cubicBezTo>
                    <a:pt x="40239" y="-15"/>
                    <a:pt x="20192" y="-15"/>
                    <a:pt x="142" y="44"/>
                  </a:cubicBezTo>
                  <a:cubicBezTo>
                    <a:pt x="93" y="25264"/>
                    <a:pt x="53" y="50482"/>
                    <a:pt x="22" y="75699"/>
                  </a:cubicBezTo>
                  <a:cubicBezTo>
                    <a:pt x="2" y="91757"/>
                    <a:pt x="6353" y="107138"/>
                    <a:pt x="17689" y="118482"/>
                  </a:cubicBezTo>
                  <a:cubicBezTo>
                    <a:pt x="35816" y="136624"/>
                    <a:pt x="53969" y="154792"/>
                    <a:pt x="72125" y="172948"/>
                  </a:cubicBezTo>
                  <a:cubicBezTo>
                    <a:pt x="83215" y="184032"/>
                    <a:pt x="90173" y="198792"/>
                    <a:pt x="90714" y="214449"/>
                  </a:cubicBezTo>
                  <a:cubicBezTo>
                    <a:pt x="91299" y="231404"/>
                    <a:pt x="84948" y="247445"/>
                    <a:pt x="72997" y="259413"/>
                  </a:cubicBezTo>
                  <a:cubicBezTo>
                    <a:pt x="61557" y="270862"/>
                    <a:pt x="46368" y="277183"/>
                    <a:pt x="30214" y="277173"/>
                  </a:cubicBezTo>
                  <a:cubicBezTo>
                    <a:pt x="13512" y="277177"/>
                    <a:pt x="-20" y="290709"/>
                    <a:pt x="0" y="307417"/>
                  </a:cubicBezTo>
                  <a:cubicBezTo>
                    <a:pt x="22" y="324134"/>
                    <a:pt x="13551" y="337716"/>
                    <a:pt x="30214" y="337713"/>
                  </a:cubicBezTo>
                  <a:cubicBezTo>
                    <a:pt x="62453" y="337711"/>
                    <a:pt x="92787" y="324986"/>
                    <a:pt x="115686" y="302062"/>
                  </a:cubicBezTo>
                  <a:cubicBezTo>
                    <a:pt x="138305" y="279410"/>
                    <a:pt x="150960" y="249524"/>
                    <a:pt x="151281" y="217749"/>
                  </a:cubicBezTo>
                  <a:cubicBezTo>
                    <a:pt x="151619" y="184786"/>
                    <a:pt x="137801" y="153191"/>
                    <a:pt x="114371" y="129751"/>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42" name="Freeform: Shape 41">
              <a:extLst>
                <a:ext uri="{FF2B5EF4-FFF2-40B4-BE49-F238E27FC236}">
                  <a16:creationId xmlns:a16="http://schemas.microsoft.com/office/drawing/2014/main" id="{CD798011-EDA5-4FEE-85D4-307F0C7C5A71}"/>
                </a:ext>
              </a:extLst>
            </p:cNvPr>
            <p:cNvSpPr/>
            <p:nvPr/>
          </p:nvSpPr>
          <p:spPr>
            <a:xfrm>
              <a:off x="7132612" y="2208725"/>
              <a:ext cx="90220" cy="45446"/>
            </a:xfrm>
            <a:custGeom>
              <a:avLst/>
              <a:gdLst>
                <a:gd name="connsiteX0" fmla="*/ 0 w 90220"/>
                <a:gd name="connsiteY0" fmla="*/ 30374 h 45446"/>
                <a:gd name="connsiteX1" fmla="*/ 15008 w 90220"/>
                <a:gd name="connsiteY1" fmla="*/ 45447 h 45446"/>
                <a:gd name="connsiteX2" fmla="*/ 75212 w 90220"/>
                <a:gd name="connsiteY2" fmla="*/ 45447 h 45446"/>
                <a:gd name="connsiteX3" fmla="*/ 90220 w 90220"/>
                <a:gd name="connsiteY3" fmla="*/ 30374 h 45446"/>
                <a:gd name="connsiteX4" fmla="*/ 75153 w 90220"/>
                <a:gd name="connsiteY4" fmla="*/ 15185 h 45446"/>
                <a:gd name="connsiteX5" fmla="*/ 45110 w 90220"/>
                <a:gd name="connsiteY5" fmla="*/ 0 h 45446"/>
                <a:gd name="connsiteX6" fmla="*/ 15067 w 90220"/>
                <a:gd name="connsiteY6" fmla="*/ 15185 h 45446"/>
                <a:gd name="connsiteX7" fmla="*/ 0 w 90220"/>
                <a:gd name="connsiteY7" fmla="*/ 30374 h 4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220" h="45446">
                  <a:moveTo>
                    <a:pt x="0" y="30374"/>
                  </a:moveTo>
                  <a:cubicBezTo>
                    <a:pt x="-26" y="38721"/>
                    <a:pt x="6694" y="45472"/>
                    <a:pt x="15008" y="45447"/>
                  </a:cubicBezTo>
                  <a:cubicBezTo>
                    <a:pt x="35075" y="45388"/>
                    <a:pt x="55145" y="45388"/>
                    <a:pt x="75212" y="45447"/>
                  </a:cubicBezTo>
                  <a:cubicBezTo>
                    <a:pt x="83526" y="45470"/>
                    <a:pt x="90248" y="38733"/>
                    <a:pt x="90220" y="30374"/>
                  </a:cubicBezTo>
                  <a:cubicBezTo>
                    <a:pt x="90194" y="22022"/>
                    <a:pt x="83447" y="15215"/>
                    <a:pt x="75153" y="15185"/>
                  </a:cubicBezTo>
                  <a:cubicBezTo>
                    <a:pt x="65128" y="10106"/>
                    <a:pt x="55113" y="5044"/>
                    <a:pt x="45110" y="0"/>
                  </a:cubicBezTo>
                  <a:cubicBezTo>
                    <a:pt x="35107" y="5046"/>
                    <a:pt x="25092" y="10108"/>
                    <a:pt x="15067" y="15185"/>
                  </a:cubicBezTo>
                  <a:cubicBezTo>
                    <a:pt x="6773" y="15211"/>
                    <a:pt x="26" y="22019"/>
                    <a:pt x="0" y="30374"/>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43" name="Freeform: Shape 42">
              <a:extLst>
                <a:ext uri="{FF2B5EF4-FFF2-40B4-BE49-F238E27FC236}">
                  <a16:creationId xmlns:a16="http://schemas.microsoft.com/office/drawing/2014/main" id="{49410203-6F41-49BB-BE5D-E866139F95A2}"/>
                </a:ext>
              </a:extLst>
            </p:cNvPr>
            <p:cNvSpPr/>
            <p:nvPr/>
          </p:nvSpPr>
          <p:spPr>
            <a:xfrm>
              <a:off x="7132707" y="2193590"/>
              <a:ext cx="90031" cy="30319"/>
            </a:xfrm>
            <a:custGeom>
              <a:avLst/>
              <a:gdLst>
                <a:gd name="connsiteX0" fmla="*/ 0 w 90031"/>
                <a:gd name="connsiteY0" fmla="*/ 15255 h 30319"/>
                <a:gd name="connsiteX1" fmla="*/ 14972 w 90031"/>
                <a:gd name="connsiteY1" fmla="*/ 30320 h 30319"/>
                <a:gd name="connsiteX2" fmla="*/ 75059 w 90031"/>
                <a:gd name="connsiteY2" fmla="*/ 30320 h 30319"/>
                <a:gd name="connsiteX3" fmla="*/ 90031 w 90031"/>
                <a:gd name="connsiteY3" fmla="*/ 15255 h 30319"/>
                <a:gd name="connsiteX4" fmla="*/ 74992 w 90031"/>
                <a:gd name="connsiteY4" fmla="*/ 56 h 30319"/>
                <a:gd name="connsiteX5" fmla="*/ 15041 w 90031"/>
                <a:gd name="connsiteY5" fmla="*/ 56 h 30319"/>
                <a:gd name="connsiteX6" fmla="*/ 0 w 90031"/>
                <a:gd name="connsiteY6" fmla="*/ 15255 h 3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31" h="30319">
                  <a:moveTo>
                    <a:pt x="0" y="15255"/>
                  </a:moveTo>
                  <a:cubicBezTo>
                    <a:pt x="-29" y="23610"/>
                    <a:pt x="6674" y="30353"/>
                    <a:pt x="14972" y="30320"/>
                  </a:cubicBezTo>
                  <a:cubicBezTo>
                    <a:pt x="35001" y="30253"/>
                    <a:pt x="55031" y="30253"/>
                    <a:pt x="75059" y="30320"/>
                  </a:cubicBezTo>
                  <a:cubicBezTo>
                    <a:pt x="83357" y="30345"/>
                    <a:pt x="90061" y="23604"/>
                    <a:pt x="90031" y="15255"/>
                  </a:cubicBezTo>
                  <a:cubicBezTo>
                    <a:pt x="90002" y="6901"/>
                    <a:pt x="83266" y="84"/>
                    <a:pt x="74992" y="56"/>
                  </a:cubicBezTo>
                  <a:cubicBezTo>
                    <a:pt x="55009" y="-19"/>
                    <a:pt x="35024" y="-19"/>
                    <a:pt x="15041" y="56"/>
                  </a:cubicBezTo>
                  <a:cubicBezTo>
                    <a:pt x="6765" y="84"/>
                    <a:pt x="30" y="6901"/>
                    <a:pt x="0" y="15255"/>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grpSp>
        <p:nvGrpSpPr>
          <p:cNvPr id="44" name="Graphic 4">
            <a:extLst>
              <a:ext uri="{FF2B5EF4-FFF2-40B4-BE49-F238E27FC236}">
                <a16:creationId xmlns:a16="http://schemas.microsoft.com/office/drawing/2014/main" id="{46AD0978-7547-4A42-84A5-62B54380420B}"/>
              </a:ext>
            </a:extLst>
          </p:cNvPr>
          <p:cNvGrpSpPr/>
          <p:nvPr/>
        </p:nvGrpSpPr>
        <p:grpSpPr>
          <a:xfrm>
            <a:off x="10016789" y="1991002"/>
            <a:ext cx="574535" cy="563423"/>
            <a:chOff x="10190695" y="2161544"/>
            <a:chExt cx="1008000" cy="1008000"/>
          </a:xfrm>
        </p:grpSpPr>
        <p:sp>
          <p:nvSpPr>
            <p:cNvPr id="45" name="Freeform: Shape 44">
              <a:extLst>
                <a:ext uri="{FF2B5EF4-FFF2-40B4-BE49-F238E27FC236}">
                  <a16:creationId xmlns:a16="http://schemas.microsoft.com/office/drawing/2014/main" id="{F411A272-878C-4DEB-B4FF-6314B0A59C8E}"/>
                </a:ext>
              </a:extLst>
            </p:cNvPr>
            <p:cNvSpPr/>
            <p:nvPr/>
          </p:nvSpPr>
          <p:spPr>
            <a:xfrm>
              <a:off x="10190695" y="2161544"/>
              <a:ext cx="1008000" cy="1008000"/>
            </a:xfrm>
            <a:custGeom>
              <a:avLst/>
              <a:gdLst>
                <a:gd name="connsiteX0" fmla="*/ 1008000 w 1008000"/>
                <a:gd name="connsiteY0" fmla="*/ 504000 h 1008000"/>
                <a:gd name="connsiteX1" fmla="*/ 504000 w 1008000"/>
                <a:gd name="connsiteY1" fmla="*/ 1008000 h 1008000"/>
                <a:gd name="connsiteX2" fmla="*/ 0 w 1008000"/>
                <a:gd name="connsiteY2" fmla="*/ 504000 h 1008000"/>
                <a:gd name="connsiteX3" fmla="*/ 504000 w 1008000"/>
                <a:gd name="connsiteY3" fmla="*/ 0 h 1008000"/>
                <a:gd name="connsiteX4" fmla="*/ 1008000 w 1008000"/>
                <a:gd name="connsiteY4" fmla="*/ 504000 h 10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000" h="1008000">
                  <a:moveTo>
                    <a:pt x="1008000" y="504000"/>
                  </a:moveTo>
                  <a:cubicBezTo>
                    <a:pt x="1008000" y="782356"/>
                    <a:pt x="782356" y="1008000"/>
                    <a:pt x="504000" y="1008000"/>
                  </a:cubicBezTo>
                  <a:cubicBezTo>
                    <a:pt x="225644" y="1008000"/>
                    <a:pt x="0" y="782356"/>
                    <a:pt x="0" y="504000"/>
                  </a:cubicBezTo>
                  <a:cubicBezTo>
                    <a:pt x="0" y="225644"/>
                    <a:pt x="225644" y="0"/>
                    <a:pt x="504000" y="0"/>
                  </a:cubicBezTo>
                  <a:cubicBezTo>
                    <a:pt x="782356" y="0"/>
                    <a:pt x="1008000" y="225644"/>
                    <a:pt x="1008000" y="504000"/>
                  </a:cubicBezTo>
                  <a:close/>
                </a:path>
              </a:pathLst>
            </a:custGeom>
            <a:gradFill>
              <a:gsLst>
                <a:gs pos="84071">
                  <a:schemeClr val="tx2"/>
                </a:gs>
                <a:gs pos="0">
                  <a:schemeClr val="accent6">
                    <a:lumMod val="90000"/>
                    <a:lumOff val="10000"/>
                  </a:schemeClr>
                </a:gs>
                <a:gs pos="47000">
                  <a:schemeClr val="bg2"/>
                </a:gs>
              </a:gsLst>
              <a:lin ang="2700000" scaled="1"/>
            </a:gra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49" name="Freeform: Shape 48">
              <a:extLst>
                <a:ext uri="{FF2B5EF4-FFF2-40B4-BE49-F238E27FC236}">
                  <a16:creationId xmlns:a16="http://schemas.microsoft.com/office/drawing/2014/main" id="{C1C5C27C-5A2D-42FF-8A74-493D8AFE642F}"/>
                </a:ext>
              </a:extLst>
            </p:cNvPr>
            <p:cNvSpPr/>
            <p:nvPr/>
          </p:nvSpPr>
          <p:spPr>
            <a:xfrm>
              <a:off x="10673316" y="2456033"/>
              <a:ext cx="74473" cy="101544"/>
            </a:xfrm>
            <a:custGeom>
              <a:avLst/>
              <a:gdLst>
                <a:gd name="connsiteX0" fmla="*/ 21379 w 74473"/>
                <a:gd name="connsiteY0" fmla="*/ 0 h 101544"/>
                <a:gd name="connsiteX1" fmla="*/ 0 w 74473"/>
                <a:gd name="connsiteY1" fmla="*/ 16041 h 101544"/>
                <a:gd name="connsiteX2" fmla="*/ 21379 w 74473"/>
                <a:gd name="connsiteY2" fmla="*/ 32077 h 101544"/>
                <a:gd name="connsiteX3" fmla="*/ 42405 w 74473"/>
                <a:gd name="connsiteY3" fmla="*/ 53442 h 101544"/>
                <a:gd name="connsiteX4" fmla="*/ 42405 w 74473"/>
                <a:gd name="connsiteY4" fmla="*/ 101544 h 101544"/>
                <a:gd name="connsiteX5" fmla="*/ 74474 w 74473"/>
                <a:gd name="connsiteY5" fmla="*/ 101544 h 101544"/>
                <a:gd name="connsiteX6" fmla="*/ 74474 w 74473"/>
                <a:gd name="connsiteY6" fmla="*/ 53442 h 101544"/>
                <a:gd name="connsiteX7" fmla="*/ 21379 w 74473"/>
                <a:gd name="connsiteY7" fmla="*/ 0 h 10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473" h="101544">
                  <a:moveTo>
                    <a:pt x="21379" y="0"/>
                  </a:moveTo>
                  <a:lnTo>
                    <a:pt x="0" y="16041"/>
                  </a:lnTo>
                  <a:lnTo>
                    <a:pt x="21379" y="32077"/>
                  </a:lnTo>
                  <a:cubicBezTo>
                    <a:pt x="32998" y="32270"/>
                    <a:pt x="42405" y="41775"/>
                    <a:pt x="42405" y="53442"/>
                  </a:cubicBezTo>
                  <a:lnTo>
                    <a:pt x="42405" y="101544"/>
                  </a:lnTo>
                  <a:lnTo>
                    <a:pt x="74474" y="101544"/>
                  </a:lnTo>
                  <a:lnTo>
                    <a:pt x="74474" y="53442"/>
                  </a:lnTo>
                  <a:cubicBezTo>
                    <a:pt x="74474" y="24086"/>
                    <a:pt x="50687" y="193"/>
                    <a:pt x="21379" y="0"/>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0" name="Freeform: Shape 49">
              <a:extLst>
                <a:ext uri="{FF2B5EF4-FFF2-40B4-BE49-F238E27FC236}">
                  <a16:creationId xmlns:a16="http://schemas.microsoft.com/office/drawing/2014/main" id="{9344529A-841D-417E-A907-E92BC9878518}"/>
                </a:ext>
              </a:extLst>
            </p:cNvPr>
            <p:cNvSpPr/>
            <p:nvPr/>
          </p:nvSpPr>
          <p:spPr>
            <a:xfrm>
              <a:off x="10640892" y="2456025"/>
              <a:ext cx="53802" cy="101552"/>
            </a:xfrm>
            <a:custGeom>
              <a:avLst/>
              <a:gdLst>
                <a:gd name="connsiteX0" fmla="*/ 53448 w 53802"/>
                <a:gd name="connsiteY0" fmla="*/ 0 h 101552"/>
                <a:gd name="connsiteX1" fmla="*/ 0 w 53802"/>
                <a:gd name="connsiteY1" fmla="*/ 53450 h 101552"/>
                <a:gd name="connsiteX2" fmla="*/ 0 w 53802"/>
                <a:gd name="connsiteY2" fmla="*/ 101552 h 101552"/>
                <a:gd name="connsiteX3" fmla="*/ 32069 w 53802"/>
                <a:gd name="connsiteY3" fmla="*/ 101552 h 101552"/>
                <a:gd name="connsiteX4" fmla="*/ 32069 w 53802"/>
                <a:gd name="connsiteY4" fmla="*/ 53450 h 101552"/>
                <a:gd name="connsiteX5" fmla="*/ 53448 w 53802"/>
                <a:gd name="connsiteY5" fmla="*/ 32069 h 101552"/>
                <a:gd name="connsiteX6" fmla="*/ 53802 w 53802"/>
                <a:gd name="connsiteY6" fmla="*/ 32085 h 101552"/>
                <a:gd name="connsiteX7" fmla="*/ 53802 w 53802"/>
                <a:gd name="connsiteY7" fmla="*/ 8 h 101552"/>
                <a:gd name="connsiteX8" fmla="*/ 53448 w 53802"/>
                <a:gd name="connsiteY8" fmla="*/ 0 h 10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802" h="101552">
                  <a:moveTo>
                    <a:pt x="53448" y="0"/>
                  </a:moveTo>
                  <a:cubicBezTo>
                    <a:pt x="23972" y="0"/>
                    <a:pt x="0" y="23979"/>
                    <a:pt x="0" y="53450"/>
                  </a:cubicBezTo>
                  <a:lnTo>
                    <a:pt x="0" y="101552"/>
                  </a:lnTo>
                  <a:lnTo>
                    <a:pt x="32069" y="101552"/>
                  </a:lnTo>
                  <a:lnTo>
                    <a:pt x="32069" y="53450"/>
                  </a:lnTo>
                  <a:cubicBezTo>
                    <a:pt x="32069" y="41659"/>
                    <a:pt x="41659" y="32069"/>
                    <a:pt x="53448" y="32069"/>
                  </a:cubicBezTo>
                  <a:cubicBezTo>
                    <a:pt x="53564" y="32069"/>
                    <a:pt x="53680" y="32085"/>
                    <a:pt x="53802" y="32085"/>
                  </a:cubicBezTo>
                  <a:lnTo>
                    <a:pt x="53802" y="8"/>
                  </a:lnTo>
                  <a:cubicBezTo>
                    <a:pt x="53680" y="8"/>
                    <a:pt x="53564" y="0"/>
                    <a:pt x="53448" y="0"/>
                  </a:cubicBez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1" name="Freeform: Shape 50">
              <a:extLst>
                <a:ext uri="{FF2B5EF4-FFF2-40B4-BE49-F238E27FC236}">
                  <a16:creationId xmlns:a16="http://schemas.microsoft.com/office/drawing/2014/main" id="{7099685A-8B67-47A6-A5E7-374F0F5D1A61}"/>
                </a:ext>
              </a:extLst>
            </p:cNvPr>
            <p:cNvSpPr/>
            <p:nvPr/>
          </p:nvSpPr>
          <p:spPr>
            <a:xfrm>
              <a:off x="10590666" y="2713648"/>
              <a:ext cx="313547" cy="161413"/>
            </a:xfrm>
            <a:custGeom>
              <a:avLst/>
              <a:gdLst>
                <a:gd name="connsiteX0" fmla="*/ 313547 w 313547"/>
                <a:gd name="connsiteY0" fmla="*/ 0 h 161413"/>
                <a:gd name="connsiteX1" fmla="*/ 313547 w 313547"/>
                <a:gd name="connsiteY1" fmla="*/ 161414 h 161413"/>
                <a:gd name="connsiteX2" fmla="*/ 104029 w 313547"/>
                <a:gd name="connsiteY2" fmla="*/ 161414 h 161413"/>
                <a:gd name="connsiteX3" fmla="*/ 0 w 313547"/>
                <a:gd name="connsiteY3" fmla="*/ 80711 h 161413"/>
                <a:gd name="connsiteX4" fmla="*/ 104029 w 313547"/>
                <a:gd name="connsiteY4" fmla="*/ 0 h 161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547" h="161413">
                  <a:moveTo>
                    <a:pt x="313547" y="0"/>
                  </a:moveTo>
                  <a:lnTo>
                    <a:pt x="313547" y="161414"/>
                  </a:lnTo>
                  <a:lnTo>
                    <a:pt x="104029" y="161414"/>
                  </a:lnTo>
                  <a:lnTo>
                    <a:pt x="0" y="80711"/>
                  </a:lnTo>
                  <a:lnTo>
                    <a:pt x="104029" y="0"/>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2" name="Freeform: Shape 51">
              <a:extLst>
                <a:ext uri="{FF2B5EF4-FFF2-40B4-BE49-F238E27FC236}">
                  <a16:creationId xmlns:a16="http://schemas.microsoft.com/office/drawing/2014/main" id="{510F7C7C-D1CD-4046-921F-83A126AE9AB5}"/>
                </a:ext>
              </a:extLst>
            </p:cNvPr>
            <p:cNvSpPr/>
            <p:nvPr/>
          </p:nvSpPr>
          <p:spPr>
            <a:xfrm>
              <a:off x="10485176" y="2713648"/>
              <a:ext cx="209518" cy="161413"/>
            </a:xfrm>
            <a:custGeom>
              <a:avLst/>
              <a:gdLst>
                <a:gd name="connsiteX0" fmla="*/ 0 w 209518"/>
                <a:gd name="connsiteY0" fmla="*/ 0 h 161413"/>
                <a:gd name="connsiteX1" fmla="*/ 209518 w 209518"/>
                <a:gd name="connsiteY1" fmla="*/ 0 h 161413"/>
                <a:gd name="connsiteX2" fmla="*/ 209518 w 209518"/>
                <a:gd name="connsiteY2" fmla="*/ 161414 h 161413"/>
                <a:gd name="connsiteX3" fmla="*/ 0 w 209518"/>
                <a:gd name="connsiteY3" fmla="*/ 161414 h 161413"/>
              </a:gdLst>
              <a:ahLst/>
              <a:cxnLst>
                <a:cxn ang="0">
                  <a:pos x="connsiteX0" y="connsiteY0"/>
                </a:cxn>
                <a:cxn ang="0">
                  <a:pos x="connsiteX1" y="connsiteY1"/>
                </a:cxn>
                <a:cxn ang="0">
                  <a:pos x="connsiteX2" y="connsiteY2"/>
                </a:cxn>
                <a:cxn ang="0">
                  <a:pos x="connsiteX3" y="connsiteY3"/>
                </a:cxn>
              </a:cxnLst>
              <a:rect l="l" t="t" r="r" b="b"/>
              <a:pathLst>
                <a:path w="209518" h="161413">
                  <a:moveTo>
                    <a:pt x="0" y="0"/>
                  </a:moveTo>
                  <a:lnTo>
                    <a:pt x="209518" y="0"/>
                  </a:lnTo>
                  <a:lnTo>
                    <a:pt x="209518" y="161414"/>
                  </a:lnTo>
                  <a:lnTo>
                    <a:pt x="0" y="161414"/>
                  </a:lnTo>
                  <a:close/>
                </a:path>
              </a:pathLst>
            </a:custGeom>
            <a:solidFill>
              <a:schemeClr val="accent6"/>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3" name="Freeform: Shape 52">
              <a:extLst>
                <a:ext uri="{FF2B5EF4-FFF2-40B4-BE49-F238E27FC236}">
                  <a16:creationId xmlns:a16="http://schemas.microsoft.com/office/drawing/2014/main" id="{4989B0B4-5CA7-4D44-BFF8-A5B5420AE043}"/>
                </a:ext>
              </a:extLst>
            </p:cNvPr>
            <p:cNvSpPr/>
            <p:nvPr/>
          </p:nvSpPr>
          <p:spPr>
            <a:xfrm>
              <a:off x="10606585" y="2745717"/>
              <a:ext cx="265558" cy="97275"/>
            </a:xfrm>
            <a:custGeom>
              <a:avLst/>
              <a:gdLst>
                <a:gd name="connsiteX0" fmla="*/ 265559 w 265558"/>
                <a:gd name="connsiteY0" fmla="*/ 0 h 97275"/>
                <a:gd name="connsiteX1" fmla="*/ 265559 w 265558"/>
                <a:gd name="connsiteY1" fmla="*/ 97276 h 97275"/>
                <a:gd name="connsiteX2" fmla="*/ 88109 w 265558"/>
                <a:gd name="connsiteY2" fmla="*/ 97276 h 97275"/>
                <a:gd name="connsiteX3" fmla="*/ 0 w 265558"/>
                <a:gd name="connsiteY3" fmla="*/ 48642 h 97275"/>
                <a:gd name="connsiteX4" fmla="*/ 88109 w 265558"/>
                <a:gd name="connsiteY4" fmla="*/ 0 h 9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58" h="97275">
                  <a:moveTo>
                    <a:pt x="265559" y="0"/>
                  </a:moveTo>
                  <a:lnTo>
                    <a:pt x="265559" y="97276"/>
                  </a:lnTo>
                  <a:lnTo>
                    <a:pt x="88109" y="97276"/>
                  </a:lnTo>
                  <a:lnTo>
                    <a:pt x="0" y="48642"/>
                  </a:lnTo>
                  <a:lnTo>
                    <a:pt x="88109" y="0"/>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4" name="Freeform: Shape 53">
              <a:extLst>
                <a:ext uri="{FF2B5EF4-FFF2-40B4-BE49-F238E27FC236}">
                  <a16:creationId xmlns:a16="http://schemas.microsoft.com/office/drawing/2014/main" id="{FA1A28F6-C1A1-48FC-987F-10728A44105A}"/>
                </a:ext>
              </a:extLst>
            </p:cNvPr>
            <p:cNvSpPr/>
            <p:nvPr/>
          </p:nvSpPr>
          <p:spPr>
            <a:xfrm>
              <a:off x="10517245" y="2745717"/>
              <a:ext cx="177449" cy="97275"/>
            </a:xfrm>
            <a:custGeom>
              <a:avLst/>
              <a:gdLst>
                <a:gd name="connsiteX0" fmla="*/ 0 w 177449"/>
                <a:gd name="connsiteY0" fmla="*/ 0 h 97275"/>
                <a:gd name="connsiteX1" fmla="*/ 177449 w 177449"/>
                <a:gd name="connsiteY1" fmla="*/ 0 h 97275"/>
                <a:gd name="connsiteX2" fmla="*/ 177449 w 177449"/>
                <a:gd name="connsiteY2" fmla="*/ 97276 h 97275"/>
                <a:gd name="connsiteX3" fmla="*/ 0 w 177449"/>
                <a:gd name="connsiteY3" fmla="*/ 97276 h 97275"/>
              </a:gdLst>
              <a:ahLst/>
              <a:cxnLst>
                <a:cxn ang="0">
                  <a:pos x="connsiteX0" y="connsiteY0"/>
                </a:cxn>
                <a:cxn ang="0">
                  <a:pos x="connsiteX1" y="connsiteY1"/>
                </a:cxn>
                <a:cxn ang="0">
                  <a:pos x="connsiteX2" y="connsiteY2"/>
                </a:cxn>
                <a:cxn ang="0">
                  <a:pos x="connsiteX3" y="connsiteY3"/>
                </a:cxn>
              </a:cxnLst>
              <a:rect l="l" t="t" r="r" b="b"/>
              <a:pathLst>
                <a:path w="177449" h="97275">
                  <a:moveTo>
                    <a:pt x="0" y="0"/>
                  </a:moveTo>
                  <a:lnTo>
                    <a:pt x="177449" y="0"/>
                  </a:lnTo>
                  <a:lnTo>
                    <a:pt x="177449" y="97276"/>
                  </a:lnTo>
                  <a:lnTo>
                    <a:pt x="0" y="97276"/>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nvGrpSpPr>
            <p:cNvPr id="55" name="Graphic 4">
              <a:extLst>
                <a:ext uri="{FF2B5EF4-FFF2-40B4-BE49-F238E27FC236}">
                  <a16:creationId xmlns:a16="http://schemas.microsoft.com/office/drawing/2014/main" id="{46AD0978-7547-4A42-84A5-62B54380420B}"/>
                </a:ext>
              </a:extLst>
            </p:cNvPr>
            <p:cNvGrpSpPr/>
            <p:nvPr/>
          </p:nvGrpSpPr>
          <p:grpSpPr>
            <a:xfrm>
              <a:off x="10549668" y="2530853"/>
              <a:ext cx="290052" cy="280070"/>
              <a:chOff x="10549668" y="2530853"/>
              <a:chExt cx="290052" cy="280070"/>
            </a:xfrm>
            <a:solidFill>
              <a:srgbClr val="70A2AA"/>
            </a:solidFill>
          </p:grpSpPr>
          <p:sp>
            <p:nvSpPr>
              <p:cNvPr id="56" name="Freeform: Shape 55">
                <a:extLst>
                  <a:ext uri="{FF2B5EF4-FFF2-40B4-BE49-F238E27FC236}">
                    <a16:creationId xmlns:a16="http://schemas.microsoft.com/office/drawing/2014/main" id="{2D5A633F-7147-4B3E-9B92-F24A4D170513}"/>
                  </a:ext>
                </a:extLst>
              </p:cNvPr>
              <p:cNvSpPr/>
              <p:nvPr/>
            </p:nvSpPr>
            <p:spPr>
              <a:xfrm>
                <a:off x="10807652" y="2778855"/>
                <a:ext cx="32068" cy="32068"/>
              </a:xfrm>
              <a:custGeom>
                <a:avLst/>
                <a:gdLst>
                  <a:gd name="connsiteX0" fmla="*/ 0 w 32068"/>
                  <a:gd name="connsiteY0" fmla="*/ 0 h 32068"/>
                  <a:gd name="connsiteX1" fmla="*/ 32069 w 32068"/>
                  <a:gd name="connsiteY1" fmla="*/ 0 h 32068"/>
                  <a:gd name="connsiteX2" fmla="*/ 32069 w 32068"/>
                  <a:gd name="connsiteY2" fmla="*/ 32069 h 32068"/>
                  <a:gd name="connsiteX3" fmla="*/ 0 w 32068"/>
                  <a:gd name="connsiteY3" fmla="*/ 32069 h 32068"/>
                </a:gdLst>
                <a:ahLst/>
                <a:cxnLst>
                  <a:cxn ang="0">
                    <a:pos x="connsiteX0" y="connsiteY0"/>
                  </a:cxn>
                  <a:cxn ang="0">
                    <a:pos x="connsiteX1" y="connsiteY1"/>
                  </a:cxn>
                  <a:cxn ang="0">
                    <a:pos x="connsiteX2" y="connsiteY2"/>
                  </a:cxn>
                  <a:cxn ang="0">
                    <a:pos x="connsiteX3" y="connsiteY3"/>
                  </a:cxn>
                </a:cxnLst>
                <a:rect l="l" t="t" r="r" b="b"/>
                <a:pathLst>
                  <a:path w="32068" h="32068">
                    <a:moveTo>
                      <a:pt x="0" y="0"/>
                    </a:moveTo>
                    <a:lnTo>
                      <a:pt x="32069" y="0"/>
                    </a:lnTo>
                    <a:lnTo>
                      <a:pt x="32069" y="32069"/>
                    </a:lnTo>
                    <a:lnTo>
                      <a:pt x="0" y="32069"/>
                    </a:lnTo>
                    <a:close/>
                  </a:path>
                </a:pathLst>
              </a:custGeom>
              <a:solidFill>
                <a:srgbClr val="FF81C9"/>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7" name="Freeform: Shape 56">
                <a:extLst>
                  <a:ext uri="{FF2B5EF4-FFF2-40B4-BE49-F238E27FC236}">
                    <a16:creationId xmlns:a16="http://schemas.microsoft.com/office/drawing/2014/main" id="{FAF4CECF-762D-4BFE-A870-E9C53BACDFB4}"/>
                  </a:ext>
                </a:extLst>
              </p:cNvPr>
              <p:cNvSpPr/>
              <p:nvPr/>
            </p:nvSpPr>
            <p:spPr>
              <a:xfrm>
                <a:off x="10743151" y="2778855"/>
                <a:ext cx="32068" cy="32068"/>
              </a:xfrm>
              <a:custGeom>
                <a:avLst/>
                <a:gdLst>
                  <a:gd name="connsiteX0" fmla="*/ 0 w 32068"/>
                  <a:gd name="connsiteY0" fmla="*/ 0 h 32068"/>
                  <a:gd name="connsiteX1" fmla="*/ 32069 w 32068"/>
                  <a:gd name="connsiteY1" fmla="*/ 0 h 32068"/>
                  <a:gd name="connsiteX2" fmla="*/ 32069 w 32068"/>
                  <a:gd name="connsiteY2" fmla="*/ 32069 h 32068"/>
                  <a:gd name="connsiteX3" fmla="*/ 0 w 32068"/>
                  <a:gd name="connsiteY3" fmla="*/ 32069 h 32068"/>
                </a:gdLst>
                <a:ahLst/>
                <a:cxnLst>
                  <a:cxn ang="0">
                    <a:pos x="connsiteX0" y="connsiteY0"/>
                  </a:cxn>
                  <a:cxn ang="0">
                    <a:pos x="connsiteX1" y="connsiteY1"/>
                  </a:cxn>
                  <a:cxn ang="0">
                    <a:pos x="connsiteX2" y="connsiteY2"/>
                  </a:cxn>
                  <a:cxn ang="0">
                    <a:pos x="connsiteX3" y="connsiteY3"/>
                  </a:cxn>
                </a:cxnLst>
                <a:rect l="l" t="t" r="r" b="b"/>
                <a:pathLst>
                  <a:path w="32068" h="32068">
                    <a:moveTo>
                      <a:pt x="0" y="0"/>
                    </a:moveTo>
                    <a:lnTo>
                      <a:pt x="32069" y="0"/>
                    </a:lnTo>
                    <a:lnTo>
                      <a:pt x="32069" y="32069"/>
                    </a:lnTo>
                    <a:lnTo>
                      <a:pt x="0" y="32069"/>
                    </a:lnTo>
                    <a:close/>
                  </a:path>
                </a:pathLst>
              </a:custGeom>
              <a:solidFill>
                <a:srgbClr val="FF81C9"/>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8" name="Freeform: Shape 57">
                <a:extLst>
                  <a:ext uri="{FF2B5EF4-FFF2-40B4-BE49-F238E27FC236}">
                    <a16:creationId xmlns:a16="http://schemas.microsoft.com/office/drawing/2014/main" id="{7857EF87-09F5-4BAE-92C4-81A8FE94358C}"/>
                  </a:ext>
                </a:extLst>
              </p:cNvPr>
              <p:cNvSpPr/>
              <p:nvPr/>
            </p:nvSpPr>
            <p:spPr>
              <a:xfrm>
                <a:off x="10678659" y="2778855"/>
                <a:ext cx="32070" cy="32068"/>
              </a:xfrm>
              <a:custGeom>
                <a:avLst/>
                <a:gdLst>
                  <a:gd name="connsiteX0" fmla="*/ 0 w 32070"/>
                  <a:gd name="connsiteY0" fmla="*/ 0 h 32068"/>
                  <a:gd name="connsiteX1" fmla="*/ 32071 w 32070"/>
                  <a:gd name="connsiteY1" fmla="*/ 0 h 32068"/>
                  <a:gd name="connsiteX2" fmla="*/ 32071 w 32070"/>
                  <a:gd name="connsiteY2" fmla="*/ 32069 h 32068"/>
                  <a:gd name="connsiteX3" fmla="*/ 0 w 32070"/>
                  <a:gd name="connsiteY3" fmla="*/ 32069 h 32068"/>
                </a:gdLst>
                <a:ahLst/>
                <a:cxnLst>
                  <a:cxn ang="0">
                    <a:pos x="connsiteX0" y="connsiteY0"/>
                  </a:cxn>
                  <a:cxn ang="0">
                    <a:pos x="connsiteX1" y="connsiteY1"/>
                  </a:cxn>
                  <a:cxn ang="0">
                    <a:pos x="connsiteX2" y="connsiteY2"/>
                  </a:cxn>
                  <a:cxn ang="0">
                    <a:pos x="connsiteX3" y="connsiteY3"/>
                  </a:cxn>
                </a:cxnLst>
                <a:rect l="l" t="t" r="r" b="b"/>
                <a:pathLst>
                  <a:path w="32070" h="32068">
                    <a:moveTo>
                      <a:pt x="0" y="0"/>
                    </a:moveTo>
                    <a:lnTo>
                      <a:pt x="32071" y="0"/>
                    </a:lnTo>
                    <a:lnTo>
                      <a:pt x="32071" y="32069"/>
                    </a:lnTo>
                    <a:lnTo>
                      <a:pt x="0" y="32069"/>
                    </a:lnTo>
                    <a:close/>
                  </a:path>
                </a:pathLst>
              </a:custGeom>
              <a:solidFill>
                <a:srgbClr val="FF81C9"/>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59" name="Freeform: Shape 58">
                <a:extLst>
                  <a:ext uri="{FF2B5EF4-FFF2-40B4-BE49-F238E27FC236}">
                    <a16:creationId xmlns:a16="http://schemas.microsoft.com/office/drawing/2014/main" id="{EB9CA545-6B79-413C-89FE-CEBA028F592A}"/>
                  </a:ext>
                </a:extLst>
              </p:cNvPr>
              <p:cNvSpPr/>
              <p:nvPr/>
            </p:nvSpPr>
            <p:spPr>
              <a:xfrm>
                <a:off x="10614169" y="2778855"/>
                <a:ext cx="32068" cy="32068"/>
              </a:xfrm>
              <a:custGeom>
                <a:avLst/>
                <a:gdLst>
                  <a:gd name="connsiteX0" fmla="*/ 0 w 32068"/>
                  <a:gd name="connsiteY0" fmla="*/ 0 h 32068"/>
                  <a:gd name="connsiteX1" fmla="*/ 32069 w 32068"/>
                  <a:gd name="connsiteY1" fmla="*/ 0 h 32068"/>
                  <a:gd name="connsiteX2" fmla="*/ 32069 w 32068"/>
                  <a:gd name="connsiteY2" fmla="*/ 32069 h 32068"/>
                  <a:gd name="connsiteX3" fmla="*/ 0 w 32068"/>
                  <a:gd name="connsiteY3" fmla="*/ 32069 h 32068"/>
                </a:gdLst>
                <a:ahLst/>
                <a:cxnLst>
                  <a:cxn ang="0">
                    <a:pos x="connsiteX0" y="connsiteY0"/>
                  </a:cxn>
                  <a:cxn ang="0">
                    <a:pos x="connsiteX1" y="connsiteY1"/>
                  </a:cxn>
                  <a:cxn ang="0">
                    <a:pos x="connsiteX2" y="connsiteY2"/>
                  </a:cxn>
                  <a:cxn ang="0">
                    <a:pos x="connsiteX3" y="connsiteY3"/>
                  </a:cxn>
                </a:cxnLst>
                <a:rect l="l" t="t" r="r" b="b"/>
                <a:pathLst>
                  <a:path w="32068" h="32068">
                    <a:moveTo>
                      <a:pt x="0" y="0"/>
                    </a:moveTo>
                    <a:lnTo>
                      <a:pt x="32069" y="0"/>
                    </a:lnTo>
                    <a:lnTo>
                      <a:pt x="32069" y="32069"/>
                    </a:lnTo>
                    <a:lnTo>
                      <a:pt x="0" y="32069"/>
                    </a:lnTo>
                    <a:close/>
                  </a:path>
                </a:pathLst>
              </a:custGeom>
              <a:solidFill>
                <a:srgbClr val="FF81C9"/>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60" name="Freeform: Shape 59">
                <a:extLst>
                  <a:ext uri="{FF2B5EF4-FFF2-40B4-BE49-F238E27FC236}">
                    <a16:creationId xmlns:a16="http://schemas.microsoft.com/office/drawing/2014/main" id="{A9C06B0A-DA0C-4E82-99F5-B4AA1826BBAA}"/>
                  </a:ext>
                </a:extLst>
              </p:cNvPr>
              <p:cNvSpPr/>
              <p:nvPr/>
            </p:nvSpPr>
            <p:spPr>
              <a:xfrm>
                <a:off x="10549668" y="2778855"/>
                <a:ext cx="32068" cy="32068"/>
              </a:xfrm>
              <a:custGeom>
                <a:avLst/>
                <a:gdLst>
                  <a:gd name="connsiteX0" fmla="*/ 0 w 32068"/>
                  <a:gd name="connsiteY0" fmla="*/ 0 h 32068"/>
                  <a:gd name="connsiteX1" fmla="*/ 32069 w 32068"/>
                  <a:gd name="connsiteY1" fmla="*/ 0 h 32068"/>
                  <a:gd name="connsiteX2" fmla="*/ 32069 w 32068"/>
                  <a:gd name="connsiteY2" fmla="*/ 32069 h 32068"/>
                  <a:gd name="connsiteX3" fmla="*/ 0 w 32068"/>
                  <a:gd name="connsiteY3" fmla="*/ 32069 h 32068"/>
                </a:gdLst>
                <a:ahLst/>
                <a:cxnLst>
                  <a:cxn ang="0">
                    <a:pos x="connsiteX0" y="connsiteY0"/>
                  </a:cxn>
                  <a:cxn ang="0">
                    <a:pos x="connsiteX1" y="connsiteY1"/>
                  </a:cxn>
                  <a:cxn ang="0">
                    <a:pos x="connsiteX2" y="connsiteY2"/>
                  </a:cxn>
                  <a:cxn ang="0">
                    <a:pos x="connsiteX3" y="connsiteY3"/>
                  </a:cxn>
                </a:cxnLst>
                <a:rect l="l" t="t" r="r" b="b"/>
                <a:pathLst>
                  <a:path w="32068" h="32068">
                    <a:moveTo>
                      <a:pt x="0" y="0"/>
                    </a:moveTo>
                    <a:lnTo>
                      <a:pt x="32069" y="0"/>
                    </a:lnTo>
                    <a:lnTo>
                      <a:pt x="32069" y="32069"/>
                    </a:lnTo>
                    <a:lnTo>
                      <a:pt x="0" y="32069"/>
                    </a:lnTo>
                    <a:close/>
                  </a:path>
                </a:pathLst>
              </a:custGeom>
              <a:solidFill>
                <a:srgbClr val="FF81C9"/>
              </a:solidFill>
              <a:ln w="1953" cap="flat">
                <a:noFill/>
                <a:prstDash val="solid"/>
                <a:miter/>
              </a:ln>
            </p:spPr>
            <p:txBody>
              <a:bodyPr rtlCol="0" anchor="ctr"/>
              <a:lstStyle/>
              <a:p>
                <a:endParaRPr lang="en-US" sz="1600" dirty="0">
                  <a:latin typeface="+mj-lt"/>
                  <a:cs typeface="Calibri" panose="020F0502020204030204" pitchFamily="34" charset="0"/>
                </a:endParaRPr>
              </a:p>
            </p:txBody>
          </p:sp>
          <p:sp>
            <p:nvSpPr>
              <p:cNvPr id="61" name="Freeform: Shape 60">
                <a:extLst>
                  <a:ext uri="{FF2B5EF4-FFF2-40B4-BE49-F238E27FC236}">
                    <a16:creationId xmlns:a16="http://schemas.microsoft.com/office/drawing/2014/main" id="{6FC0F5A3-3D00-4C9C-AA3C-968C3022A445}"/>
                  </a:ext>
                </a:extLst>
              </p:cNvPr>
              <p:cNvSpPr/>
              <p:nvPr/>
            </p:nvSpPr>
            <p:spPr>
              <a:xfrm>
                <a:off x="10651935" y="2530853"/>
                <a:ext cx="124001" cy="151794"/>
              </a:xfrm>
              <a:custGeom>
                <a:avLst/>
                <a:gdLst>
                  <a:gd name="connsiteX0" fmla="*/ 124002 w 124001"/>
                  <a:gd name="connsiteY0" fmla="*/ 0 h 151794"/>
                  <a:gd name="connsiteX1" fmla="*/ 42759 w 124001"/>
                  <a:gd name="connsiteY1" fmla="*/ 0 h 151794"/>
                  <a:gd name="connsiteX2" fmla="*/ 0 w 124001"/>
                  <a:gd name="connsiteY2" fmla="*/ 76897 h 151794"/>
                  <a:gd name="connsiteX3" fmla="*/ 42759 w 124001"/>
                  <a:gd name="connsiteY3" fmla="*/ 151795 h 151794"/>
                  <a:gd name="connsiteX4" fmla="*/ 124002 w 124001"/>
                  <a:gd name="connsiteY4" fmla="*/ 151795 h 15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01" h="151794">
                    <a:moveTo>
                      <a:pt x="124002" y="0"/>
                    </a:moveTo>
                    <a:lnTo>
                      <a:pt x="42759" y="0"/>
                    </a:lnTo>
                    <a:lnTo>
                      <a:pt x="0" y="76897"/>
                    </a:lnTo>
                    <a:lnTo>
                      <a:pt x="42759" y="151795"/>
                    </a:lnTo>
                    <a:lnTo>
                      <a:pt x="124002" y="151795"/>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sp>
          <p:nvSpPr>
            <p:cNvPr id="62" name="Freeform: Shape 61">
              <a:extLst>
                <a:ext uri="{FF2B5EF4-FFF2-40B4-BE49-F238E27FC236}">
                  <a16:creationId xmlns:a16="http://schemas.microsoft.com/office/drawing/2014/main" id="{BC55FDDC-8A27-47BA-93FB-B85656FA9771}"/>
                </a:ext>
              </a:extLst>
            </p:cNvPr>
            <p:cNvSpPr/>
            <p:nvPr/>
          </p:nvSpPr>
          <p:spPr>
            <a:xfrm>
              <a:off x="10613452" y="2530853"/>
              <a:ext cx="81242" cy="151794"/>
            </a:xfrm>
            <a:custGeom>
              <a:avLst/>
              <a:gdLst>
                <a:gd name="connsiteX0" fmla="*/ 0 w 81242"/>
                <a:gd name="connsiteY0" fmla="*/ 0 h 151794"/>
                <a:gd name="connsiteX1" fmla="*/ 81242 w 81242"/>
                <a:gd name="connsiteY1" fmla="*/ 0 h 151794"/>
                <a:gd name="connsiteX2" fmla="*/ 81242 w 81242"/>
                <a:gd name="connsiteY2" fmla="*/ 151795 h 151794"/>
                <a:gd name="connsiteX3" fmla="*/ 0 w 81242"/>
                <a:gd name="connsiteY3" fmla="*/ 151795 h 151794"/>
              </a:gdLst>
              <a:ahLst/>
              <a:cxnLst>
                <a:cxn ang="0">
                  <a:pos x="connsiteX0" y="connsiteY0"/>
                </a:cxn>
                <a:cxn ang="0">
                  <a:pos x="connsiteX1" y="connsiteY1"/>
                </a:cxn>
                <a:cxn ang="0">
                  <a:pos x="connsiteX2" y="connsiteY2"/>
                </a:cxn>
                <a:cxn ang="0">
                  <a:pos x="connsiteX3" y="connsiteY3"/>
                </a:cxn>
              </a:cxnLst>
              <a:rect l="l" t="t" r="r" b="b"/>
              <a:pathLst>
                <a:path w="81242" h="151794">
                  <a:moveTo>
                    <a:pt x="0" y="0"/>
                  </a:moveTo>
                  <a:lnTo>
                    <a:pt x="81242" y="0"/>
                  </a:lnTo>
                  <a:lnTo>
                    <a:pt x="81242" y="151795"/>
                  </a:lnTo>
                  <a:lnTo>
                    <a:pt x="0" y="151795"/>
                  </a:lnTo>
                  <a:close/>
                </a:path>
              </a:pathLst>
            </a:custGeom>
            <a:solidFill>
              <a:schemeClr val="bg1"/>
            </a:solidFill>
            <a:ln w="1953" cap="flat">
              <a:noFill/>
              <a:prstDash val="solid"/>
              <a:miter/>
            </a:ln>
          </p:spPr>
          <p:txBody>
            <a:bodyPr rtlCol="0" anchor="ctr"/>
            <a:lstStyle/>
            <a:p>
              <a:endParaRPr lang="en-US" sz="1600" dirty="0">
                <a:latin typeface="+mj-lt"/>
                <a:cs typeface="Calibri" panose="020F0502020204030204" pitchFamily="34" charset="0"/>
              </a:endParaRPr>
            </a:p>
          </p:txBody>
        </p:sp>
      </p:grpSp>
      <p:cxnSp>
        <p:nvCxnSpPr>
          <p:cNvPr id="92" name="Straight Connector 91">
            <a:extLst>
              <a:ext uri="{FF2B5EF4-FFF2-40B4-BE49-F238E27FC236}">
                <a16:creationId xmlns:a16="http://schemas.microsoft.com/office/drawing/2014/main" id="{91409CF8-3C41-4A07-B629-C3A2B094A905}"/>
              </a:ext>
            </a:extLst>
          </p:cNvPr>
          <p:cNvCxnSpPr>
            <a:cxnSpLocks/>
          </p:cNvCxnSpPr>
          <p:nvPr/>
        </p:nvCxnSpPr>
        <p:spPr>
          <a:xfrm>
            <a:off x="4264753" y="2658182"/>
            <a:ext cx="0" cy="288000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A8A146C-5498-4BB5-B553-DBEF0A058E09}"/>
              </a:ext>
            </a:extLst>
          </p:cNvPr>
          <p:cNvCxnSpPr>
            <a:cxnSpLocks/>
          </p:cNvCxnSpPr>
          <p:nvPr/>
        </p:nvCxnSpPr>
        <p:spPr>
          <a:xfrm>
            <a:off x="8490222" y="2658182"/>
            <a:ext cx="0" cy="288000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165" name="Google Shape;2165;p19"/>
          <p:cNvGrpSpPr/>
          <p:nvPr/>
        </p:nvGrpSpPr>
        <p:grpSpPr>
          <a:xfrm>
            <a:off x="-95123" y="3641491"/>
            <a:ext cx="1910051" cy="2171842"/>
            <a:chOff x="3841017" y="1642481"/>
            <a:chExt cx="4457327" cy="5451831"/>
          </a:xfrm>
        </p:grpSpPr>
        <p:grpSp>
          <p:nvGrpSpPr>
            <p:cNvPr id="2166" name="Google Shape;2166;p19"/>
            <p:cNvGrpSpPr/>
            <p:nvPr/>
          </p:nvGrpSpPr>
          <p:grpSpPr>
            <a:xfrm>
              <a:off x="3841017" y="1642481"/>
              <a:ext cx="4457327" cy="5451831"/>
              <a:chOff x="3841017" y="1908445"/>
              <a:chExt cx="4457327" cy="5451831"/>
            </a:xfrm>
          </p:grpSpPr>
          <p:sp>
            <p:nvSpPr>
              <p:cNvPr id="2167" name="Google Shape;2167;p19"/>
              <p:cNvSpPr/>
              <p:nvPr/>
            </p:nvSpPr>
            <p:spPr>
              <a:xfrm>
                <a:off x="3841017" y="6027837"/>
                <a:ext cx="4457327" cy="1332439"/>
              </a:xfrm>
              <a:prstGeom prst="ellipse">
                <a:avLst/>
              </a:prstGeom>
              <a:solidFill>
                <a:schemeClr val="tx1">
                  <a:lumMod val="60000"/>
                  <a:lumOff val="40000"/>
                </a:schemeClr>
              </a:solidFill>
              <a:ln>
                <a:noFill/>
              </a:ln>
              <a:effectLst>
                <a:softEdge rad="317500"/>
              </a:effectLst>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2168" name="Google Shape;2168;p19"/>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4756260" y="1908445"/>
                <a:ext cx="2689981" cy="4842576"/>
              </a:xfrm>
              <a:prstGeom prst="rect">
                <a:avLst/>
              </a:prstGeom>
              <a:noFill/>
              <a:ln>
                <a:noFill/>
              </a:ln>
            </p:spPr>
          </p:pic>
        </p:grpSp>
        <p:sp>
          <p:nvSpPr>
            <p:cNvPr id="2169" name="Google Shape;2169;p19"/>
            <p:cNvSpPr/>
            <p:nvPr/>
          </p:nvSpPr>
          <p:spPr>
            <a:xfrm>
              <a:off x="5047677" y="2168085"/>
              <a:ext cx="2131839" cy="3789135"/>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grpSp>
      <p:pic>
        <p:nvPicPr>
          <p:cNvPr id="2170" name="Google Shape;2170;p19"/>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440647" y="3818364"/>
            <a:ext cx="876149" cy="1605883"/>
          </a:xfrm>
          <a:prstGeom prst="rect">
            <a:avLst/>
          </a:prstGeom>
          <a:noFill/>
          <a:ln>
            <a:noFill/>
          </a:ln>
        </p:spPr>
      </p:pic>
      <p:pic>
        <p:nvPicPr>
          <p:cNvPr id="2171" name="Google Shape;2171;p19"/>
          <p:cNvPicPr preferRelativeResize="0"/>
          <p:nvPr/>
        </p:nvPicPr>
        <p:blipFill rotWithShape="1">
          <a:blip r:embed="rId12" cstate="print">
            <a:alphaModFix/>
            <a:extLst>
              <a:ext uri="{28A0092B-C50C-407E-A947-70E740481C1C}">
                <a14:useLocalDpi xmlns:a14="http://schemas.microsoft.com/office/drawing/2010/main"/>
              </a:ext>
            </a:extLst>
          </a:blip>
          <a:srcRect/>
          <a:stretch/>
        </p:blipFill>
        <p:spPr>
          <a:xfrm>
            <a:off x="443820" y="3810928"/>
            <a:ext cx="883313" cy="1599324"/>
          </a:xfrm>
          <a:prstGeom prst="rect">
            <a:avLst/>
          </a:prstGeom>
          <a:noFill/>
          <a:ln>
            <a:noFill/>
          </a:ln>
        </p:spPr>
      </p:pic>
      <p:pic>
        <p:nvPicPr>
          <p:cNvPr id="2172" name="Google Shape;2172;p19"/>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432641" y="3794977"/>
            <a:ext cx="902847" cy="1621270"/>
          </a:xfrm>
          <a:prstGeom prst="rect">
            <a:avLst/>
          </a:prstGeom>
          <a:noFill/>
          <a:ln>
            <a:noFill/>
          </a:ln>
        </p:spPr>
      </p:pic>
      <p:grpSp>
        <p:nvGrpSpPr>
          <p:cNvPr id="90" name="Group 89"/>
          <p:cNvGrpSpPr/>
          <p:nvPr/>
        </p:nvGrpSpPr>
        <p:grpSpPr>
          <a:xfrm>
            <a:off x="10449777" y="160338"/>
            <a:ext cx="1410774" cy="1409827"/>
            <a:chOff x="9661178" y="-197972"/>
            <a:chExt cx="2383352" cy="2613615"/>
          </a:xfrm>
        </p:grpSpPr>
        <p:pic>
          <p:nvPicPr>
            <p:cNvPr id="91" name="Picture 90"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flipH="1">
              <a:off x="10035375" y="350901"/>
              <a:ext cx="1469801" cy="1519795"/>
            </a:xfrm>
            <a:prstGeom prst="ellipse">
              <a:avLst/>
            </a:prstGeom>
          </p:spPr>
        </p:pic>
        <p:grpSp>
          <p:nvGrpSpPr>
            <p:cNvPr id="94" name="Group 93">
              <a:extLst>
                <a:ext uri="{FF2B5EF4-FFF2-40B4-BE49-F238E27FC236}">
                  <a16:creationId xmlns:a16="http://schemas.microsoft.com/office/drawing/2014/main" id="{4B9E4421-4599-47D5-8729-73E4617F29A2}"/>
                </a:ext>
              </a:extLst>
            </p:cNvPr>
            <p:cNvGrpSpPr/>
            <p:nvPr/>
          </p:nvGrpSpPr>
          <p:grpSpPr>
            <a:xfrm>
              <a:off x="9661178" y="-197972"/>
              <a:ext cx="2383352" cy="2613615"/>
              <a:chOff x="-1429655" y="2004674"/>
              <a:chExt cx="3671122" cy="4025800"/>
            </a:xfrm>
          </p:grpSpPr>
          <p:sp>
            <p:nvSpPr>
              <p:cNvPr id="95"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96"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97"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grpSp>
      <p:sp>
        <p:nvSpPr>
          <p:cNvPr id="99" name="Google Shape;1824;p15"/>
          <p:cNvSpPr txBox="1">
            <a:spLocks noGrp="1"/>
          </p:cNvSpPr>
          <p:nvPr>
            <p:ph type="title"/>
          </p:nvPr>
        </p:nvSpPr>
        <p:spPr>
          <a:xfrm>
            <a:off x="583842" y="460552"/>
            <a:ext cx="11022371" cy="914400"/>
          </a:xfrm>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PHISHING PROTECTION</a:t>
            </a:r>
            <a:br>
              <a:rPr lang="en-US" sz="3200" b="1" dirty="0">
                <a:latin typeface="+mj-lt"/>
                <a:sym typeface="Calibri"/>
              </a:rPr>
            </a:br>
            <a:br>
              <a:rPr lang="en-US" sz="3200" b="1" dirty="0">
                <a:latin typeface="+mj-lt"/>
                <a:sym typeface="Calibri"/>
              </a:rPr>
            </a:br>
            <a:endParaRPr lang="en-US" sz="3200" b="1" dirty="0">
              <a:latin typeface="+mj-lt"/>
            </a:endParaRPr>
          </a:p>
        </p:txBody>
      </p:sp>
    </p:spTree>
    <p:extLst>
      <p:ext uri="{BB962C8B-B14F-4D97-AF65-F5344CB8AC3E}">
        <p14:creationId xmlns:p14="http://schemas.microsoft.com/office/powerpoint/2010/main" val="35340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1"/>
                                        </p:tgtEl>
                                        <p:attrNameLst>
                                          <p:attrName>style.visibility</p:attrName>
                                        </p:attrNameLst>
                                      </p:cBhvr>
                                      <p:to>
                                        <p:strVal val="visible"/>
                                      </p:to>
                                    </p:set>
                                    <p:animEffect transition="in" filter="fade">
                                      <p:cBhvr>
                                        <p:cTn id="7" dur="500"/>
                                        <p:tgtEl>
                                          <p:spTgt spid="217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72"/>
                                        </p:tgtEl>
                                        <p:attrNameLst>
                                          <p:attrName>style.visibility</p:attrName>
                                        </p:attrNameLst>
                                      </p:cBhvr>
                                      <p:to>
                                        <p:strVal val="visible"/>
                                      </p:to>
                                    </p:set>
                                    <p:animEffect transition="in" filter="fade">
                                      <p:cBhvr>
                                        <p:cTn id="11" dur="500"/>
                                        <p:tgtEl>
                                          <p:spTgt spid="217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79"/>
                                        </p:tgtEl>
                                        <p:attrNameLst>
                                          <p:attrName>style.visibility</p:attrName>
                                        </p:attrNameLst>
                                      </p:cBhvr>
                                      <p:to>
                                        <p:strVal val="visible"/>
                                      </p:to>
                                    </p:set>
                                    <p:animEffect transition="in" filter="fade">
                                      <p:cBhvr>
                                        <p:cTn id="16" dur="500"/>
                                        <p:tgtEl>
                                          <p:spTgt spid="2179"/>
                                        </p:tgtEl>
                                      </p:cBhvr>
                                    </p:animEffect>
                                  </p:childTnLst>
                                </p:cTn>
                              </p:par>
                              <p:par>
                                <p:cTn id="17" presetID="10" presetClass="entr" presetSubtype="0" fill="hold" nodeType="withEffect">
                                  <p:stCondLst>
                                    <p:cond delay="0"/>
                                  </p:stCondLst>
                                  <p:childTnLst>
                                    <p:set>
                                      <p:cBhvr>
                                        <p:cTn id="18" dur="1" fill="hold">
                                          <p:stCondLst>
                                            <p:cond delay="0"/>
                                          </p:stCondLst>
                                        </p:cTn>
                                        <p:tgtEl>
                                          <p:spTgt spid="2180"/>
                                        </p:tgtEl>
                                        <p:attrNameLst>
                                          <p:attrName>style.visibility</p:attrName>
                                        </p:attrNameLst>
                                      </p:cBhvr>
                                      <p:to>
                                        <p:strVal val="visible"/>
                                      </p:to>
                                    </p:set>
                                    <p:animEffect transition="in" filter="fade">
                                      <p:cBhvr>
                                        <p:cTn id="19" dur="500"/>
                                        <p:tgtEl>
                                          <p:spTgt spid="2180"/>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nodeType="clickEffect">
                                  <p:stCondLst>
                                    <p:cond delay="0"/>
                                  </p:stCondLst>
                                  <p:childTnLst>
                                    <p:set>
                                      <p:cBhvr>
                                        <p:cTn id="23" dur="1" fill="hold">
                                          <p:stCondLst>
                                            <p:cond delay="0"/>
                                          </p:stCondLst>
                                        </p:cTn>
                                        <p:tgtEl>
                                          <p:spTgt spid="2196"/>
                                        </p:tgtEl>
                                        <p:attrNameLst>
                                          <p:attrName>style.visibility</p:attrName>
                                        </p:attrNameLst>
                                      </p:cBhvr>
                                      <p:to>
                                        <p:strVal val="visible"/>
                                      </p:to>
                                    </p:set>
                                    <p:anim calcmode="lin" valueType="num">
                                      <p:cBhvr additive="base">
                                        <p:cTn id="24" dur="500"/>
                                        <p:tgtEl>
                                          <p:spTgt spid="2196"/>
                                        </p:tgtEl>
                                        <p:attrNameLst>
                                          <p:attrName>ppt_x</p:attrName>
                                        </p:attrNameLst>
                                      </p:cBhvr>
                                      <p:tavLst>
                                        <p:tav tm="0">
                                          <p:val>
                                            <p:strVal val="#ppt_x+1"/>
                                          </p:val>
                                        </p:tav>
                                        <p:tav tm="100000">
                                          <p:val>
                                            <p:strVal val="#ppt_x"/>
                                          </p:val>
                                        </p:tav>
                                      </p:tavLst>
                                    </p:anim>
                                  </p:childTnLst>
                                </p:cTn>
                              </p:par>
                              <p:par>
                                <p:cTn id="25" presetID="10" presetClass="entr" presetSubtype="0" fill="hold" nodeType="withEffect">
                                  <p:stCondLst>
                                    <p:cond delay="0"/>
                                  </p:stCondLst>
                                  <p:childTnLst>
                                    <p:set>
                                      <p:cBhvr>
                                        <p:cTn id="26" dur="1" fill="hold">
                                          <p:stCondLst>
                                            <p:cond delay="0"/>
                                          </p:stCondLst>
                                        </p:cTn>
                                        <p:tgtEl>
                                          <p:spTgt spid="2203"/>
                                        </p:tgtEl>
                                        <p:attrNameLst>
                                          <p:attrName>style.visibility</p:attrName>
                                        </p:attrNameLst>
                                      </p:cBhvr>
                                      <p:to>
                                        <p:strVal val="visible"/>
                                      </p:to>
                                    </p:set>
                                    <p:animEffect transition="in" filter="fade">
                                      <p:cBhvr>
                                        <p:cTn id="27" dur="500"/>
                                        <p:tgtEl>
                                          <p:spTgt spid="220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205"/>
                                        </p:tgtEl>
                                        <p:attrNameLst>
                                          <p:attrName>style.visibility</p:attrName>
                                        </p:attrNameLst>
                                      </p:cBhvr>
                                      <p:to>
                                        <p:strVal val="visible"/>
                                      </p:to>
                                    </p:set>
                                    <p:animEffect transition="in" filter="fade">
                                      <p:cBhvr>
                                        <p:cTn id="32" dur="500"/>
                                        <p:tgtEl>
                                          <p:spTgt spid="2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91"/>
        <p:cNvGrpSpPr/>
        <p:nvPr/>
      </p:nvGrpSpPr>
      <p:grpSpPr>
        <a:xfrm>
          <a:off x="0" y="0"/>
          <a:ext cx="0" cy="0"/>
          <a:chOff x="0" y="0"/>
          <a:chExt cx="0" cy="0"/>
        </a:xfrm>
      </p:grpSpPr>
      <p:pic>
        <p:nvPicPr>
          <p:cNvPr id="2293" name="Google Shape;2293;p21" descr="Picture 765"/>
          <p:cNvPicPr preferRelativeResize="0"/>
          <p:nvPr/>
        </p:nvPicPr>
        <p:blipFill rotWithShape="1">
          <a:blip r:embed="rId3">
            <a:alphaModFix/>
          </a:blip>
          <a:srcRect/>
          <a:stretch/>
        </p:blipFill>
        <p:spPr>
          <a:xfrm>
            <a:off x="9207082" y="1258705"/>
            <a:ext cx="1425671" cy="670957"/>
          </a:xfrm>
          <a:prstGeom prst="rect">
            <a:avLst/>
          </a:prstGeom>
          <a:noFill/>
          <a:ln>
            <a:noFill/>
          </a:ln>
        </p:spPr>
      </p:pic>
      <p:cxnSp>
        <p:nvCxnSpPr>
          <p:cNvPr id="2294" name="Google Shape;2294;p21"/>
          <p:cNvCxnSpPr/>
          <p:nvPr/>
        </p:nvCxnSpPr>
        <p:spPr>
          <a:xfrm>
            <a:off x="9098785" y="2472656"/>
            <a:ext cx="580337" cy="651193"/>
          </a:xfrm>
          <a:prstGeom prst="straightConnector1">
            <a:avLst/>
          </a:prstGeom>
          <a:noFill/>
          <a:ln w="19050" cap="flat" cmpd="sng">
            <a:solidFill>
              <a:schemeClr val="dk1"/>
            </a:solidFill>
            <a:prstDash val="dot"/>
            <a:round/>
            <a:headEnd type="none" w="sm" len="sm"/>
            <a:tailEnd type="none" w="sm" len="sm"/>
          </a:ln>
        </p:spPr>
      </p:cxnSp>
      <p:cxnSp>
        <p:nvCxnSpPr>
          <p:cNvPr id="2295" name="Google Shape;2295;p21"/>
          <p:cNvCxnSpPr/>
          <p:nvPr/>
        </p:nvCxnSpPr>
        <p:spPr>
          <a:xfrm rot="10800000">
            <a:off x="10072112" y="2181964"/>
            <a:ext cx="0" cy="948206"/>
          </a:xfrm>
          <a:prstGeom prst="straightConnector1">
            <a:avLst/>
          </a:prstGeom>
          <a:noFill/>
          <a:ln w="19050" cap="flat" cmpd="sng">
            <a:solidFill>
              <a:schemeClr val="dk1"/>
            </a:solidFill>
            <a:prstDash val="dot"/>
            <a:round/>
            <a:headEnd type="none" w="sm" len="sm"/>
            <a:tailEnd type="none" w="sm" len="sm"/>
          </a:ln>
        </p:spPr>
      </p:cxnSp>
      <p:sp>
        <p:nvSpPr>
          <p:cNvPr id="2296" name="Google Shape;2296;p21"/>
          <p:cNvSpPr/>
          <p:nvPr/>
        </p:nvSpPr>
        <p:spPr>
          <a:xfrm>
            <a:off x="10029012" y="2514367"/>
            <a:ext cx="78725" cy="75233"/>
          </a:xfrm>
          <a:prstGeom prst="ellipse">
            <a:avLst/>
          </a:prstGeom>
          <a:solidFill>
            <a:schemeClr val="accent1"/>
          </a:solidFill>
          <a:ln>
            <a:noFill/>
          </a:ln>
        </p:spPr>
        <p:txBody>
          <a:bodyPr spcFirstLastPara="1" wrap="square" lIns="91425" tIns="45700" rIns="91425" bIns="45700" anchor="ctr" anchorCtr="0">
            <a:noAutofit/>
          </a:bodyPr>
          <a:lstStyle/>
          <a:p>
            <a:pPr marL="285750" marR="0" lvl="0" indent="-168910" algn="ctr" rtl="0">
              <a:lnSpc>
                <a:spcPct val="80000"/>
              </a:lnSpc>
              <a:spcBef>
                <a:spcPts val="0"/>
              </a:spcBef>
              <a:spcAft>
                <a:spcPts val="0"/>
              </a:spcAft>
              <a:buClr>
                <a:srgbClr val="E45785"/>
              </a:buClr>
              <a:buSzPts val="1840"/>
              <a:buFont typeface="Noto Sans Symbols"/>
              <a:buNone/>
            </a:pPr>
            <a:endParaRPr sz="1600" dirty="0">
              <a:solidFill>
                <a:srgbClr val="4D4D4F"/>
              </a:solidFill>
              <a:latin typeface="+mj-lt"/>
              <a:ea typeface="Calibri"/>
              <a:cs typeface="Calibri" panose="020F0502020204030204" pitchFamily="34" charset="0"/>
              <a:sym typeface="Calibri"/>
            </a:endParaRPr>
          </a:p>
        </p:txBody>
      </p:sp>
      <p:pic>
        <p:nvPicPr>
          <p:cNvPr id="2297" name="Google Shape;2297;p21" descr="Picture 765"/>
          <p:cNvPicPr preferRelativeResize="0"/>
          <p:nvPr/>
        </p:nvPicPr>
        <p:blipFill rotWithShape="1">
          <a:blip r:embed="rId4">
            <a:alphaModFix/>
          </a:blip>
          <a:srcRect/>
          <a:stretch/>
        </p:blipFill>
        <p:spPr>
          <a:xfrm>
            <a:off x="10423999" y="1840444"/>
            <a:ext cx="1285101" cy="604802"/>
          </a:xfrm>
          <a:prstGeom prst="rect">
            <a:avLst/>
          </a:prstGeom>
          <a:noFill/>
          <a:ln>
            <a:noFill/>
          </a:ln>
        </p:spPr>
      </p:pic>
      <p:cxnSp>
        <p:nvCxnSpPr>
          <p:cNvPr id="2298" name="Google Shape;2298;p21"/>
          <p:cNvCxnSpPr>
            <a:endCxn id="2297" idx="2"/>
          </p:cNvCxnSpPr>
          <p:nvPr/>
        </p:nvCxnSpPr>
        <p:spPr>
          <a:xfrm rot="10800000" flipH="1">
            <a:off x="10439850" y="2445246"/>
            <a:ext cx="626700" cy="923700"/>
          </a:xfrm>
          <a:prstGeom prst="straightConnector1">
            <a:avLst/>
          </a:prstGeom>
          <a:noFill/>
          <a:ln w="19050" cap="flat" cmpd="sng">
            <a:solidFill>
              <a:schemeClr val="dk1"/>
            </a:solidFill>
            <a:prstDash val="dot"/>
            <a:round/>
            <a:headEnd type="none" w="sm" len="sm"/>
            <a:tailEnd type="none" w="sm" len="sm"/>
          </a:ln>
        </p:spPr>
      </p:cxnSp>
      <p:sp>
        <p:nvSpPr>
          <p:cNvPr id="2299" name="Google Shape;2299;p21"/>
          <p:cNvSpPr/>
          <p:nvPr/>
        </p:nvSpPr>
        <p:spPr>
          <a:xfrm>
            <a:off x="9468206" y="2880710"/>
            <a:ext cx="78725" cy="75233"/>
          </a:xfrm>
          <a:prstGeom prst="ellipse">
            <a:avLst/>
          </a:prstGeom>
          <a:solidFill>
            <a:schemeClr val="accent1"/>
          </a:solidFill>
          <a:ln>
            <a:noFill/>
          </a:ln>
        </p:spPr>
        <p:txBody>
          <a:bodyPr spcFirstLastPara="1" wrap="square" lIns="91425" tIns="45700" rIns="91425" bIns="45700" anchor="ctr" anchorCtr="0">
            <a:noAutofit/>
          </a:bodyPr>
          <a:lstStyle/>
          <a:p>
            <a:pPr marL="285750" marR="0" lvl="0" indent="-168910" algn="ctr" rtl="0">
              <a:lnSpc>
                <a:spcPct val="80000"/>
              </a:lnSpc>
              <a:spcBef>
                <a:spcPts val="0"/>
              </a:spcBef>
              <a:spcAft>
                <a:spcPts val="0"/>
              </a:spcAft>
              <a:buClr>
                <a:srgbClr val="E45785"/>
              </a:buClr>
              <a:buSzPts val="1840"/>
              <a:buFont typeface="Noto Sans Symbols"/>
              <a:buNone/>
            </a:pPr>
            <a:endParaRPr sz="1600" dirty="0">
              <a:solidFill>
                <a:srgbClr val="4D4D4F"/>
              </a:solidFill>
              <a:latin typeface="+mj-lt"/>
              <a:ea typeface="Calibri"/>
              <a:cs typeface="Calibri" panose="020F0502020204030204" pitchFamily="34" charset="0"/>
              <a:sym typeface="Calibri"/>
            </a:endParaRPr>
          </a:p>
        </p:txBody>
      </p:sp>
      <p:sp>
        <p:nvSpPr>
          <p:cNvPr id="2300" name="Google Shape;2300;p21"/>
          <p:cNvSpPr/>
          <p:nvPr/>
        </p:nvSpPr>
        <p:spPr>
          <a:xfrm>
            <a:off x="10567351" y="3049684"/>
            <a:ext cx="78725" cy="75233"/>
          </a:xfrm>
          <a:prstGeom prst="ellipse">
            <a:avLst/>
          </a:prstGeom>
          <a:solidFill>
            <a:schemeClr val="accent1"/>
          </a:solidFill>
          <a:ln>
            <a:noFill/>
          </a:ln>
        </p:spPr>
        <p:txBody>
          <a:bodyPr spcFirstLastPara="1" wrap="square" lIns="91425" tIns="45700" rIns="91425" bIns="45700" anchor="ctr" anchorCtr="0">
            <a:noAutofit/>
          </a:bodyPr>
          <a:lstStyle/>
          <a:p>
            <a:pPr marL="285750" marR="0" lvl="0" indent="-168910" algn="ctr" rtl="0">
              <a:lnSpc>
                <a:spcPct val="80000"/>
              </a:lnSpc>
              <a:spcBef>
                <a:spcPts val="0"/>
              </a:spcBef>
              <a:spcAft>
                <a:spcPts val="0"/>
              </a:spcAft>
              <a:buClr>
                <a:srgbClr val="E45785"/>
              </a:buClr>
              <a:buSzPts val="1840"/>
              <a:buFont typeface="Noto Sans Symbols"/>
              <a:buNone/>
            </a:pPr>
            <a:endParaRPr sz="1600" dirty="0">
              <a:solidFill>
                <a:srgbClr val="4D4D4F"/>
              </a:solidFill>
              <a:latin typeface="+mj-lt"/>
              <a:ea typeface="Calibri"/>
              <a:cs typeface="Calibri" panose="020F0502020204030204" pitchFamily="34" charset="0"/>
              <a:sym typeface="Calibri"/>
            </a:endParaRPr>
          </a:p>
        </p:txBody>
      </p:sp>
      <p:pic>
        <p:nvPicPr>
          <p:cNvPr id="2301" name="Google Shape;2301;p21"/>
          <p:cNvPicPr preferRelativeResize="0"/>
          <p:nvPr/>
        </p:nvPicPr>
        <p:blipFill rotWithShape="1">
          <a:blip r:embed="rId5">
            <a:alphaModFix/>
          </a:blip>
          <a:srcRect/>
          <a:stretch/>
        </p:blipFill>
        <p:spPr>
          <a:xfrm>
            <a:off x="9742945" y="1395542"/>
            <a:ext cx="221955" cy="204290"/>
          </a:xfrm>
          <a:prstGeom prst="rect">
            <a:avLst/>
          </a:prstGeom>
          <a:noFill/>
          <a:ln>
            <a:noFill/>
          </a:ln>
        </p:spPr>
      </p:pic>
      <p:pic>
        <p:nvPicPr>
          <p:cNvPr id="2302" name="Google Shape;2302;p21"/>
          <p:cNvPicPr preferRelativeResize="0"/>
          <p:nvPr/>
        </p:nvPicPr>
        <p:blipFill rotWithShape="1">
          <a:blip r:embed="rId6">
            <a:alphaModFix/>
          </a:blip>
          <a:srcRect/>
          <a:stretch/>
        </p:blipFill>
        <p:spPr>
          <a:xfrm>
            <a:off x="10267436" y="1626629"/>
            <a:ext cx="224653" cy="127651"/>
          </a:xfrm>
          <a:prstGeom prst="rect">
            <a:avLst/>
          </a:prstGeom>
          <a:noFill/>
          <a:ln>
            <a:noFill/>
          </a:ln>
        </p:spPr>
      </p:pic>
      <p:pic>
        <p:nvPicPr>
          <p:cNvPr id="2303" name="Google Shape;2303;p21"/>
          <p:cNvPicPr preferRelativeResize="0"/>
          <p:nvPr/>
        </p:nvPicPr>
        <p:blipFill rotWithShape="1">
          <a:blip r:embed="rId7">
            <a:alphaModFix/>
          </a:blip>
          <a:srcRect/>
          <a:stretch/>
        </p:blipFill>
        <p:spPr>
          <a:xfrm>
            <a:off x="9546931" y="1661267"/>
            <a:ext cx="509778" cy="158304"/>
          </a:xfrm>
          <a:prstGeom prst="rect">
            <a:avLst/>
          </a:prstGeom>
          <a:noFill/>
          <a:ln>
            <a:noFill/>
          </a:ln>
        </p:spPr>
      </p:pic>
      <p:sp>
        <p:nvSpPr>
          <p:cNvPr id="2304" name="Google Shape;2304;p21"/>
          <p:cNvSpPr txBox="1"/>
          <p:nvPr/>
        </p:nvSpPr>
        <p:spPr>
          <a:xfrm>
            <a:off x="10678146" y="2425796"/>
            <a:ext cx="1500249" cy="338514"/>
          </a:xfrm>
          <a:prstGeom prst="rect">
            <a:avLst/>
          </a:prstGeom>
          <a:noFill/>
          <a:ln>
            <a:noFill/>
          </a:ln>
        </p:spPr>
        <p:txBody>
          <a:bodyPr spcFirstLastPara="1" wrap="square" lIns="91425" tIns="45700" rIns="91425" bIns="45700" anchor="ctr" anchorCtr="0">
            <a:spAutoFit/>
          </a:bodyPr>
          <a:lstStyle/>
          <a:p>
            <a:pPr marL="0" marR="0" lvl="0" indent="0" algn="ctr">
              <a:spcBef>
                <a:spcPts val="0"/>
              </a:spcBef>
              <a:spcAft>
                <a:spcPts val="0"/>
              </a:spcAft>
              <a:buNone/>
            </a:pPr>
            <a:r>
              <a:rPr lang="en-US" sz="1600" dirty="0">
                <a:solidFill>
                  <a:srgbClr val="262627"/>
                </a:solidFill>
                <a:latin typeface="+mj-lt"/>
                <a:cs typeface="Calibri" panose="020F0502020204030204" pitchFamily="34" charset="0"/>
                <a:sym typeface="Arial"/>
              </a:rPr>
              <a:t>Internet</a:t>
            </a:r>
            <a:endParaRPr dirty="0">
              <a:latin typeface="+mj-lt"/>
              <a:cs typeface="Calibri" panose="020F0502020204030204" pitchFamily="34" charset="0"/>
            </a:endParaRPr>
          </a:p>
        </p:txBody>
      </p:sp>
      <p:sp>
        <p:nvSpPr>
          <p:cNvPr id="2305" name="Google Shape;2305;p21"/>
          <p:cNvSpPr txBox="1"/>
          <p:nvPr/>
        </p:nvSpPr>
        <p:spPr>
          <a:xfrm>
            <a:off x="7462202" y="2452272"/>
            <a:ext cx="1500249" cy="338514"/>
          </a:xfrm>
          <a:prstGeom prst="rect">
            <a:avLst/>
          </a:prstGeom>
          <a:noFill/>
          <a:ln>
            <a:noFill/>
          </a:ln>
        </p:spPr>
        <p:txBody>
          <a:bodyPr spcFirstLastPara="1" wrap="square" lIns="91425" tIns="45700" rIns="91425" bIns="45700" anchor="ctr" anchorCtr="0">
            <a:spAutoFit/>
          </a:bodyPr>
          <a:lstStyle/>
          <a:p>
            <a:pPr marL="0" marR="0" lvl="0" indent="0" algn="ctr">
              <a:spcBef>
                <a:spcPts val="0"/>
              </a:spcBef>
              <a:spcAft>
                <a:spcPts val="0"/>
              </a:spcAft>
              <a:buNone/>
            </a:pPr>
            <a:r>
              <a:rPr lang="en-US" sz="1600" dirty="0">
                <a:solidFill>
                  <a:srgbClr val="262627"/>
                </a:solidFill>
                <a:latin typeface="+mj-lt"/>
                <a:cs typeface="Calibri" panose="020F0502020204030204" pitchFamily="34" charset="0"/>
                <a:sym typeface="Arial"/>
              </a:rPr>
              <a:t>Email </a:t>
            </a:r>
            <a:endParaRPr dirty="0">
              <a:latin typeface="+mj-lt"/>
              <a:cs typeface="Calibri" panose="020F0502020204030204" pitchFamily="34" charset="0"/>
            </a:endParaRPr>
          </a:p>
        </p:txBody>
      </p:sp>
      <p:sp>
        <p:nvSpPr>
          <p:cNvPr id="2306" name="Google Shape;2306;p21"/>
          <p:cNvSpPr txBox="1"/>
          <p:nvPr/>
        </p:nvSpPr>
        <p:spPr>
          <a:xfrm>
            <a:off x="9334326" y="1837816"/>
            <a:ext cx="1500249" cy="338514"/>
          </a:xfrm>
          <a:prstGeom prst="rect">
            <a:avLst/>
          </a:prstGeom>
          <a:noFill/>
          <a:ln>
            <a:noFill/>
          </a:ln>
        </p:spPr>
        <p:txBody>
          <a:bodyPr spcFirstLastPara="1" wrap="square" lIns="91425" tIns="45700" rIns="91425" bIns="45700" anchor="ctr" anchorCtr="0">
            <a:spAutoFit/>
          </a:bodyPr>
          <a:lstStyle/>
          <a:p>
            <a:pPr marL="0" marR="0" lvl="0" indent="0" algn="ctr">
              <a:spcBef>
                <a:spcPts val="0"/>
              </a:spcBef>
              <a:spcAft>
                <a:spcPts val="0"/>
              </a:spcAft>
              <a:buNone/>
            </a:pPr>
            <a:r>
              <a:rPr lang="en-US" sz="1600" dirty="0">
                <a:solidFill>
                  <a:srgbClr val="262627"/>
                </a:solidFill>
                <a:latin typeface="+mj-lt"/>
                <a:cs typeface="Calibri" panose="020F0502020204030204" pitchFamily="34" charset="0"/>
                <a:sym typeface="Arial"/>
              </a:rPr>
              <a:t>SaaS</a:t>
            </a:r>
            <a:endParaRPr dirty="0">
              <a:latin typeface="+mj-lt"/>
              <a:cs typeface="Calibri" panose="020F0502020204030204" pitchFamily="34" charset="0"/>
            </a:endParaRPr>
          </a:p>
        </p:txBody>
      </p:sp>
      <p:grpSp>
        <p:nvGrpSpPr>
          <p:cNvPr id="2307" name="Google Shape;2307;p21"/>
          <p:cNvGrpSpPr/>
          <p:nvPr/>
        </p:nvGrpSpPr>
        <p:grpSpPr>
          <a:xfrm>
            <a:off x="7458961" y="1747158"/>
            <a:ext cx="1574784" cy="741134"/>
            <a:chOff x="7997821" y="2315623"/>
            <a:chExt cx="1574784" cy="741134"/>
          </a:xfrm>
        </p:grpSpPr>
        <p:pic>
          <p:nvPicPr>
            <p:cNvPr id="2308" name="Google Shape;2308;p21" descr="Picture 765"/>
            <p:cNvPicPr preferRelativeResize="0"/>
            <p:nvPr/>
          </p:nvPicPr>
          <p:blipFill rotWithShape="1">
            <a:blip r:embed="rId4">
              <a:alphaModFix/>
            </a:blip>
            <a:srcRect/>
            <a:stretch/>
          </p:blipFill>
          <p:spPr>
            <a:xfrm>
              <a:off x="7997821" y="2315623"/>
              <a:ext cx="1574784" cy="741134"/>
            </a:xfrm>
            <a:prstGeom prst="rect">
              <a:avLst/>
            </a:prstGeom>
            <a:noFill/>
            <a:ln>
              <a:noFill/>
            </a:ln>
          </p:spPr>
        </p:pic>
        <p:pic>
          <p:nvPicPr>
            <p:cNvPr id="2309" name="Google Shape;2309;p21"/>
            <p:cNvPicPr preferRelativeResize="0"/>
            <p:nvPr/>
          </p:nvPicPr>
          <p:blipFill rotWithShape="1">
            <a:blip r:embed="rId8" cstate="print">
              <a:clrChange>
                <a:clrFrom>
                  <a:srgbClr val="FFFFFF"/>
                </a:clrFrom>
                <a:clrTo>
                  <a:srgbClr val="FFFFFF">
                    <a:alpha val="0"/>
                  </a:srgbClr>
                </a:clrTo>
              </a:clrChange>
              <a:alphaModFix/>
              <a:extLst>
                <a:ext uri="{28A0092B-C50C-407E-A947-70E740481C1C}">
                  <a14:useLocalDpi xmlns:a14="http://schemas.microsoft.com/office/drawing/2010/main"/>
                </a:ext>
              </a:extLst>
            </a:blip>
            <a:srcRect l="4425" t="30435" r="3938" b="32064"/>
            <a:stretch/>
          </p:blipFill>
          <p:spPr>
            <a:xfrm>
              <a:off x="8142311" y="2744815"/>
              <a:ext cx="907572" cy="268111"/>
            </a:xfrm>
            <a:prstGeom prst="rect">
              <a:avLst/>
            </a:prstGeom>
            <a:noFill/>
            <a:ln>
              <a:noFill/>
            </a:ln>
          </p:spPr>
        </p:pic>
        <p:pic>
          <p:nvPicPr>
            <p:cNvPr id="2310" name="Google Shape;2310;p21"/>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8705017" y="2583268"/>
              <a:ext cx="648684" cy="162214"/>
            </a:xfrm>
            <a:prstGeom prst="rect">
              <a:avLst/>
            </a:prstGeom>
            <a:noFill/>
            <a:ln>
              <a:noFill/>
            </a:ln>
          </p:spPr>
        </p:pic>
      </p:grpSp>
      <p:sp>
        <p:nvSpPr>
          <p:cNvPr id="2311" name="Google Shape;2311;p21"/>
          <p:cNvSpPr txBox="1"/>
          <p:nvPr/>
        </p:nvSpPr>
        <p:spPr>
          <a:xfrm>
            <a:off x="3365359" y="3287826"/>
            <a:ext cx="2371816" cy="369291"/>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800" dirty="0">
                <a:solidFill>
                  <a:schemeClr val="tx1"/>
                </a:solidFill>
                <a:latin typeface="+mj-lt"/>
                <a:ea typeface="Calibri"/>
                <a:cs typeface="Calibri" panose="020F0502020204030204" pitchFamily="34" charset="0"/>
                <a:sym typeface="Calibri"/>
              </a:rPr>
              <a:t>DATA AT REST</a:t>
            </a:r>
            <a:endParaRPr sz="1600" dirty="0">
              <a:solidFill>
                <a:schemeClr val="tx1"/>
              </a:solidFill>
              <a:latin typeface="+mj-lt"/>
              <a:cs typeface="Calibri" panose="020F0502020204030204" pitchFamily="34" charset="0"/>
            </a:endParaRPr>
          </a:p>
        </p:txBody>
      </p:sp>
      <p:cxnSp>
        <p:nvCxnSpPr>
          <p:cNvPr id="2312" name="Google Shape;2312;p21"/>
          <p:cNvCxnSpPr/>
          <p:nvPr/>
        </p:nvCxnSpPr>
        <p:spPr>
          <a:xfrm>
            <a:off x="7191125" y="4311512"/>
            <a:ext cx="1689867" cy="0"/>
          </a:xfrm>
          <a:prstGeom prst="straightConnector1">
            <a:avLst/>
          </a:prstGeom>
          <a:solidFill>
            <a:schemeClr val="lt1"/>
          </a:solidFill>
          <a:ln w="38100" cap="flat" cmpd="sng">
            <a:solidFill>
              <a:schemeClr val="accent1"/>
            </a:solidFill>
            <a:prstDash val="solid"/>
            <a:round/>
            <a:headEnd type="none" w="sm" len="sm"/>
            <a:tailEnd type="triangle" w="med" len="med"/>
          </a:ln>
        </p:spPr>
      </p:cxnSp>
      <p:cxnSp>
        <p:nvCxnSpPr>
          <p:cNvPr id="2313" name="Google Shape;2313;p21"/>
          <p:cNvCxnSpPr/>
          <p:nvPr/>
        </p:nvCxnSpPr>
        <p:spPr>
          <a:xfrm rot="10800000">
            <a:off x="3297643" y="3685579"/>
            <a:ext cx="1677476" cy="0"/>
          </a:xfrm>
          <a:prstGeom prst="straightConnector1">
            <a:avLst/>
          </a:prstGeom>
          <a:solidFill>
            <a:schemeClr val="lt1"/>
          </a:solidFill>
          <a:ln w="38100" cap="flat" cmpd="sng">
            <a:solidFill>
              <a:schemeClr val="accent1"/>
            </a:solidFill>
            <a:prstDash val="solid"/>
            <a:round/>
            <a:headEnd type="none" w="sm" len="sm"/>
            <a:tailEnd type="triangle" w="med" len="med"/>
          </a:ln>
        </p:spPr>
      </p:cxnSp>
      <p:sp>
        <p:nvSpPr>
          <p:cNvPr id="2314" name="Google Shape;2314;p21"/>
          <p:cNvSpPr/>
          <p:nvPr/>
        </p:nvSpPr>
        <p:spPr>
          <a:xfrm>
            <a:off x="7132656" y="4340881"/>
            <a:ext cx="1890636"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dirty="0">
                <a:solidFill>
                  <a:schemeClr val="tx1"/>
                </a:solidFill>
                <a:latin typeface="+mj-lt"/>
                <a:ea typeface="Calibri"/>
                <a:cs typeface="Calibri" panose="020F0502020204030204" pitchFamily="34" charset="0"/>
                <a:sym typeface="Calibri"/>
              </a:rPr>
              <a:t>DATA IN MOTION</a:t>
            </a:r>
            <a:endParaRPr sz="1600" dirty="0">
              <a:solidFill>
                <a:schemeClr val="tx1"/>
              </a:solidFill>
              <a:latin typeface="+mj-lt"/>
              <a:cs typeface="Calibri" panose="020F0502020204030204" pitchFamily="34" charset="0"/>
            </a:endParaRPr>
          </a:p>
        </p:txBody>
      </p:sp>
      <p:sp>
        <p:nvSpPr>
          <p:cNvPr id="2325" name="Google Shape;2325;p21"/>
          <p:cNvSpPr/>
          <p:nvPr/>
        </p:nvSpPr>
        <p:spPr>
          <a:xfrm>
            <a:off x="1356312" y="3239084"/>
            <a:ext cx="3589398" cy="789919"/>
          </a:xfrm>
          <a:prstGeom prst="rect">
            <a:avLst/>
          </a:prstGeom>
          <a:noFill/>
          <a:ln>
            <a:noFill/>
          </a:ln>
        </p:spPr>
        <p:txBody>
          <a:bodyPr spcFirstLastPara="1" wrap="square" lIns="91425" tIns="45700" rIns="91425" bIns="45700" anchor="t" anchorCtr="0">
            <a:spAutoFit/>
          </a:bodyPr>
          <a:lstStyle/>
          <a:p>
            <a:pPr lvl="0"/>
            <a:r>
              <a:rPr lang="en-US" dirty="0">
                <a:solidFill>
                  <a:srgbClr val="262627"/>
                </a:solidFill>
                <a:latin typeface="Calibri" panose="020F0502020204030204" pitchFamily="34" charset="0"/>
                <a:cs typeface="Calibri" panose="020F0502020204030204" pitchFamily="34" charset="0"/>
              </a:rPr>
              <a:t>Hard Disk Encryption</a:t>
            </a:r>
            <a:endParaRPr sz="1600" dirty="0">
              <a:latin typeface="Calibri" panose="020F0502020204030204" pitchFamily="34" charset="0"/>
              <a:cs typeface="Calibri" panose="020F0502020204030204" pitchFamily="34" charset="0"/>
            </a:endParaRPr>
          </a:p>
          <a:p>
            <a:pPr marL="0" marR="0" lvl="0" indent="0" algn="l" rtl="0">
              <a:spcBef>
                <a:spcPts val="240"/>
              </a:spcBef>
              <a:spcAft>
                <a:spcPts val="0"/>
              </a:spcAft>
              <a:buNone/>
            </a:pPr>
            <a:r>
              <a:rPr lang="en-US" dirty="0">
                <a:solidFill>
                  <a:srgbClr val="262627"/>
                </a:solidFill>
                <a:latin typeface="Calibri" panose="020F0502020204030204" pitchFamily="34" charset="0"/>
                <a:cs typeface="Calibri" panose="020F0502020204030204" pitchFamily="34" charset="0"/>
                <a:sym typeface="Arial"/>
              </a:rPr>
              <a:t>Port Protection</a:t>
            </a:r>
            <a:endParaRPr sz="1600" dirty="0">
              <a:latin typeface="Calibri" panose="020F0502020204030204" pitchFamily="34" charset="0"/>
              <a:cs typeface="Calibri" panose="020F0502020204030204" pitchFamily="34" charset="0"/>
            </a:endParaRPr>
          </a:p>
          <a:p>
            <a:pPr marL="0" marR="0" lvl="0" indent="0" algn="l" rtl="0">
              <a:spcBef>
                <a:spcPts val="240"/>
              </a:spcBef>
              <a:spcAft>
                <a:spcPts val="0"/>
              </a:spcAft>
              <a:buNone/>
            </a:pPr>
            <a:r>
              <a:rPr lang="en-US" dirty="0">
                <a:solidFill>
                  <a:srgbClr val="262627"/>
                </a:solidFill>
                <a:latin typeface="Calibri" panose="020F0502020204030204" pitchFamily="34" charset="0"/>
                <a:cs typeface="Calibri" panose="020F0502020204030204" pitchFamily="34" charset="0"/>
                <a:sym typeface="Arial"/>
              </a:rPr>
              <a:t>Ransomware Recovery</a:t>
            </a:r>
            <a:endParaRPr sz="1600" dirty="0">
              <a:latin typeface="Calibri" panose="020F0502020204030204" pitchFamily="34" charset="0"/>
              <a:cs typeface="Calibri" panose="020F0502020204030204" pitchFamily="34" charset="0"/>
            </a:endParaRPr>
          </a:p>
        </p:txBody>
      </p:sp>
      <p:grpSp>
        <p:nvGrpSpPr>
          <p:cNvPr id="2327" name="Google Shape;2327;p21"/>
          <p:cNvGrpSpPr/>
          <p:nvPr/>
        </p:nvGrpSpPr>
        <p:grpSpPr>
          <a:xfrm>
            <a:off x="9304588" y="3917572"/>
            <a:ext cx="2399946" cy="2721503"/>
            <a:chOff x="691376" y="3317327"/>
            <a:chExt cx="2399946" cy="2721503"/>
          </a:xfrm>
        </p:grpSpPr>
        <p:sp>
          <p:nvSpPr>
            <p:cNvPr id="2328" name="Google Shape;2328;p21"/>
            <p:cNvSpPr txBox="1"/>
            <p:nvPr/>
          </p:nvSpPr>
          <p:spPr>
            <a:xfrm>
              <a:off x="725273" y="3592272"/>
              <a:ext cx="2366049" cy="307736"/>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b="1" dirty="0">
                  <a:solidFill>
                    <a:srgbClr val="262627"/>
                  </a:solidFill>
                  <a:latin typeface="+mj-lt"/>
                  <a:cs typeface="Calibri" panose="020F0502020204030204" pitchFamily="34" charset="0"/>
                  <a:sym typeface="Arial"/>
                </a:rPr>
                <a:t>Data Leak Prevention (DLP)</a:t>
              </a:r>
              <a:endParaRPr sz="1600" dirty="0">
                <a:latin typeface="+mj-lt"/>
                <a:cs typeface="Calibri" panose="020F0502020204030204" pitchFamily="34" charset="0"/>
              </a:endParaRPr>
            </a:p>
          </p:txBody>
        </p:sp>
        <p:grpSp>
          <p:nvGrpSpPr>
            <p:cNvPr id="2329" name="Google Shape;2329;p21"/>
            <p:cNvGrpSpPr/>
            <p:nvPr/>
          </p:nvGrpSpPr>
          <p:grpSpPr>
            <a:xfrm>
              <a:off x="691376" y="3317327"/>
              <a:ext cx="2399945" cy="2721503"/>
              <a:chOff x="691376" y="3317327"/>
              <a:chExt cx="2399945" cy="2721503"/>
            </a:xfrm>
          </p:grpSpPr>
          <p:sp>
            <p:nvSpPr>
              <p:cNvPr id="2330" name="Google Shape;2330;p21"/>
              <p:cNvSpPr/>
              <p:nvPr/>
            </p:nvSpPr>
            <p:spPr>
              <a:xfrm>
                <a:off x="718292" y="3884434"/>
                <a:ext cx="2373029" cy="215439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solidFill>
                      <a:srgbClr val="4D4D4F"/>
                    </a:solidFill>
                    <a:latin typeface="+mj-lt"/>
                    <a:ea typeface="Calibri"/>
                    <a:cs typeface="Calibri" panose="020F0502020204030204" pitchFamily="34" charset="0"/>
                    <a:sym typeface="Calibri"/>
                  </a:rPr>
                  <a:t>Define DLP policies with hundreds of predefined and custom data types, including: </a:t>
                </a:r>
                <a:endParaRPr sz="1600" dirty="0">
                  <a:latin typeface="+mj-lt"/>
                  <a:cs typeface="Calibri" panose="020F0502020204030204" pitchFamily="34" charset="0"/>
                </a:endParaRPr>
              </a:p>
              <a:p>
                <a:pPr marL="171450" marR="0" lvl="0" indent="-171450" algn="l" rtl="0">
                  <a:spcBef>
                    <a:spcPts val="240"/>
                  </a:spcBef>
                  <a:spcAft>
                    <a:spcPts val="0"/>
                  </a:spcAft>
                  <a:buClr>
                    <a:srgbClr val="72183E"/>
                  </a:buClr>
                  <a:buSzPts val="780"/>
                  <a:buFont typeface="Arial"/>
                  <a:buChar char="•"/>
                </a:pPr>
                <a:r>
                  <a:rPr lang="en-US" dirty="0">
                    <a:solidFill>
                      <a:schemeClr val="dk1"/>
                    </a:solidFill>
                    <a:latin typeface="+mj-lt"/>
                    <a:ea typeface="Calibri"/>
                    <a:cs typeface="Calibri" panose="020F0502020204030204" pitchFamily="34" charset="0"/>
                    <a:sym typeface="Calibri"/>
                  </a:rPr>
                  <a:t>Social security number</a:t>
                </a:r>
                <a:endParaRPr sz="1600" dirty="0">
                  <a:latin typeface="+mj-lt"/>
                  <a:cs typeface="Calibri" panose="020F0502020204030204" pitchFamily="34" charset="0"/>
                </a:endParaRPr>
              </a:p>
              <a:p>
                <a:pPr marL="171450" marR="0" lvl="0" indent="-171450" algn="l" rtl="0">
                  <a:spcBef>
                    <a:spcPts val="240"/>
                  </a:spcBef>
                  <a:spcAft>
                    <a:spcPts val="0"/>
                  </a:spcAft>
                  <a:buClr>
                    <a:srgbClr val="72183E"/>
                  </a:buClr>
                  <a:buSzPts val="780"/>
                  <a:buFont typeface="Arial"/>
                  <a:buChar char="•"/>
                </a:pPr>
                <a:r>
                  <a:rPr lang="en-US" dirty="0">
                    <a:solidFill>
                      <a:schemeClr val="dk1"/>
                    </a:solidFill>
                    <a:latin typeface="+mj-lt"/>
                    <a:ea typeface="Calibri"/>
                    <a:cs typeface="Calibri" panose="020F0502020204030204" pitchFamily="34" charset="0"/>
                    <a:sym typeface="Calibri"/>
                  </a:rPr>
                  <a:t>Source code</a:t>
                </a:r>
                <a:endParaRPr sz="1600" dirty="0">
                  <a:latin typeface="+mj-lt"/>
                  <a:cs typeface="Calibri" panose="020F0502020204030204" pitchFamily="34" charset="0"/>
                </a:endParaRPr>
              </a:p>
              <a:p>
                <a:pPr marL="171450" marR="0" lvl="0" indent="-171450" algn="l" rtl="0">
                  <a:spcBef>
                    <a:spcPts val="240"/>
                  </a:spcBef>
                  <a:spcAft>
                    <a:spcPts val="0"/>
                  </a:spcAft>
                  <a:buClr>
                    <a:srgbClr val="72183E"/>
                  </a:buClr>
                  <a:buSzPts val="780"/>
                  <a:buFont typeface="Arial"/>
                  <a:buChar char="•"/>
                </a:pPr>
                <a:r>
                  <a:rPr lang="en-US" dirty="0">
                    <a:solidFill>
                      <a:schemeClr val="dk1"/>
                    </a:solidFill>
                    <a:latin typeface="+mj-lt"/>
                    <a:ea typeface="Calibri"/>
                    <a:cs typeface="Calibri" panose="020F0502020204030204" pitchFamily="34" charset="0"/>
                    <a:sym typeface="Calibri"/>
                  </a:rPr>
                  <a:t>Medical files </a:t>
                </a:r>
                <a:endParaRPr dirty="0">
                  <a:solidFill>
                    <a:schemeClr val="dk1"/>
                  </a:solidFill>
                  <a:latin typeface="+mj-lt"/>
                  <a:ea typeface="Calibri"/>
                  <a:cs typeface="Calibri" panose="020F0502020204030204" pitchFamily="34" charset="0"/>
                  <a:sym typeface="Calibri"/>
                </a:endParaRPr>
              </a:p>
              <a:p>
                <a:pPr marL="171450" marR="0" lvl="0" indent="-171450" algn="l" rtl="0">
                  <a:spcBef>
                    <a:spcPts val="240"/>
                  </a:spcBef>
                  <a:spcAft>
                    <a:spcPts val="0"/>
                  </a:spcAft>
                  <a:buClr>
                    <a:schemeClr val="accent2"/>
                  </a:buClr>
                  <a:buSzPts val="780"/>
                  <a:buFont typeface="Arial"/>
                  <a:buChar char="•"/>
                </a:pPr>
                <a:r>
                  <a:rPr lang="en-US" dirty="0">
                    <a:solidFill>
                      <a:schemeClr val="dk1"/>
                    </a:solidFill>
                    <a:latin typeface="+mj-lt"/>
                    <a:ea typeface="Calibri"/>
                    <a:cs typeface="Calibri" panose="020F0502020204030204" pitchFamily="34" charset="0"/>
                    <a:sym typeface="Calibri"/>
                  </a:rPr>
                  <a:t>Credit card number</a:t>
                </a:r>
                <a:endParaRPr sz="1600" dirty="0">
                  <a:latin typeface="+mj-lt"/>
                  <a:cs typeface="Calibri" panose="020F0502020204030204" pitchFamily="34" charset="0"/>
                </a:endParaRPr>
              </a:p>
              <a:p>
                <a:pPr marL="171450" marR="0" lvl="0" indent="-171450" algn="l" rtl="0">
                  <a:spcBef>
                    <a:spcPts val="240"/>
                  </a:spcBef>
                  <a:spcAft>
                    <a:spcPts val="0"/>
                  </a:spcAft>
                  <a:buClr>
                    <a:schemeClr val="accent2"/>
                  </a:buClr>
                  <a:buSzPts val="780"/>
                  <a:buFont typeface="Arial"/>
                  <a:buChar char="•"/>
                </a:pPr>
                <a:r>
                  <a:rPr lang="en-US" dirty="0">
                    <a:solidFill>
                      <a:schemeClr val="dk1"/>
                    </a:solidFill>
                    <a:latin typeface="+mj-lt"/>
                    <a:ea typeface="Calibri"/>
                    <a:cs typeface="Calibri" panose="020F0502020204030204" pitchFamily="34" charset="0"/>
                    <a:sym typeface="Calibri"/>
                  </a:rPr>
                  <a:t>Bank account</a:t>
                </a:r>
                <a:endParaRPr sz="1600" dirty="0">
                  <a:latin typeface="+mj-lt"/>
                  <a:cs typeface="Calibri" panose="020F0502020204030204" pitchFamily="34" charset="0"/>
                </a:endParaRPr>
              </a:p>
              <a:p>
                <a:pPr marL="0" marR="0" lvl="0" indent="0" algn="l" rtl="0">
                  <a:spcBef>
                    <a:spcPts val="240"/>
                  </a:spcBef>
                  <a:spcAft>
                    <a:spcPts val="0"/>
                  </a:spcAft>
                  <a:buNone/>
                </a:pPr>
                <a:endParaRPr sz="1200" dirty="0">
                  <a:solidFill>
                    <a:srgbClr val="262627"/>
                  </a:solidFill>
                  <a:latin typeface="Calibri" panose="020F0502020204030204" pitchFamily="34" charset="0"/>
                  <a:cs typeface="Calibri" panose="020F0502020204030204" pitchFamily="34" charset="0"/>
                  <a:sym typeface="Arial"/>
                </a:endParaRPr>
              </a:p>
            </p:txBody>
          </p:sp>
          <p:sp>
            <p:nvSpPr>
              <p:cNvPr id="2331" name="Google Shape;2331;p21"/>
              <p:cNvSpPr txBox="1"/>
              <p:nvPr/>
            </p:nvSpPr>
            <p:spPr>
              <a:xfrm>
                <a:off x="691376" y="3317327"/>
                <a:ext cx="2098823" cy="289270"/>
              </a:xfrm>
              <a:prstGeom prst="rect">
                <a:avLst/>
              </a:prstGeom>
              <a:noFill/>
              <a:ln>
                <a:noFill/>
              </a:ln>
            </p:spPr>
            <p:txBody>
              <a:bodyPr spcFirstLastPara="1" wrap="square" lIns="91425" tIns="45700" rIns="91425" bIns="45700" anchor="t" anchorCtr="0">
                <a:spAutoFit/>
              </a:bodyPr>
              <a:lstStyle/>
              <a:p>
                <a:pPr marL="0" marR="0" lvl="0" indent="0" algn="l" rtl="0">
                  <a:lnSpc>
                    <a:spcPct val="80000"/>
                  </a:lnSpc>
                  <a:spcBef>
                    <a:spcPts val="0"/>
                  </a:spcBef>
                  <a:spcAft>
                    <a:spcPts val="0"/>
                  </a:spcAft>
                  <a:buNone/>
                </a:pPr>
                <a:endParaRPr sz="1600" b="1" dirty="0">
                  <a:solidFill>
                    <a:srgbClr val="262627"/>
                  </a:solidFill>
                  <a:latin typeface="Calibri" panose="020F0502020204030204" pitchFamily="34" charset="0"/>
                  <a:cs typeface="Calibri" panose="020F0502020204030204" pitchFamily="34" charset="0"/>
                  <a:sym typeface="Arial"/>
                </a:endParaRPr>
              </a:p>
            </p:txBody>
          </p:sp>
        </p:grpSp>
      </p:grpSp>
      <p:pic>
        <p:nvPicPr>
          <p:cNvPr id="2332" name="Google Shape;2332;p21" descr="CNN - Home | Facebook"/>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11202724" y="2149209"/>
            <a:ext cx="209750" cy="211979"/>
          </a:xfrm>
          <a:prstGeom prst="rect">
            <a:avLst/>
          </a:prstGeom>
          <a:noFill/>
          <a:ln>
            <a:noFill/>
          </a:ln>
        </p:spPr>
      </p:pic>
      <p:pic>
        <p:nvPicPr>
          <p:cNvPr id="2333" name="Google Shape;2333;p21"/>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10879741" y="2012160"/>
            <a:ext cx="384704" cy="155517"/>
          </a:xfrm>
          <a:prstGeom prst="rect">
            <a:avLst/>
          </a:prstGeom>
          <a:noFill/>
          <a:ln>
            <a:noFill/>
          </a:ln>
        </p:spPr>
      </p:pic>
      <p:pic>
        <p:nvPicPr>
          <p:cNvPr id="2334" name="Google Shape;2334;p21"/>
          <p:cNvPicPr preferRelativeResize="0"/>
          <p:nvPr/>
        </p:nvPicPr>
        <p:blipFill rotWithShape="1">
          <a:blip r:embed="rId12" cstate="print">
            <a:alphaModFix/>
            <a:extLst>
              <a:ext uri="{28A0092B-C50C-407E-A947-70E740481C1C}">
                <a14:useLocalDpi xmlns:a14="http://schemas.microsoft.com/office/drawing/2010/main"/>
              </a:ext>
            </a:extLst>
          </a:blip>
          <a:srcRect/>
          <a:stretch/>
        </p:blipFill>
        <p:spPr>
          <a:xfrm>
            <a:off x="10714030" y="2151348"/>
            <a:ext cx="209750" cy="211979"/>
          </a:xfrm>
          <a:prstGeom prst="rect">
            <a:avLst/>
          </a:prstGeom>
          <a:noFill/>
          <a:ln>
            <a:noFill/>
          </a:ln>
        </p:spPr>
      </p:pic>
      <p:grpSp>
        <p:nvGrpSpPr>
          <p:cNvPr id="2338" name="Google Shape;2338;p21"/>
          <p:cNvGrpSpPr/>
          <p:nvPr/>
        </p:nvGrpSpPr>
        <p:grpSpPr>
          <a:xfrm>
            <a:off x="1120051" y="4897284"/>
            <a:ext cx="2621152" cy="955154"/>
            <a:chOff x="9111716" y="4300677"/>
            <a:chExt cx="2621152" cy="955154"/>
          </a:xfrm>
        </p:grpSpPr>
        <p:sp>
          <p:nvSpPr>
            <p:cNvPr id="2339" name="Google Shape;2339;p21"/>
            <p:cNvSpPr/>
            <p:nvPr/>
          </p:nvSpPr>
          <p:spPr>
            <a:xfrm>
              <a:off x="9310923" y="4517208"/>
              <a:ext cx="2421945" cy="73862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solidFill>
                    <a:srgbClr val="262627"/>
                  </a:solidFill>
                  <a:latin typeface="Calibri" panose="020F0502020204030204" pitchFamily="34" charset="0"/>
                  <a:cs typeface="Calibri" panose="020F0502020204030204" pitchFamily="34" charset="0"/>
                  <a:sym typeface="Arial"/>
                </a:rPr>
                <a:t>Block access to corporate assets from infected/vulnerable devices </a:t>
              </a:r>
              <a:endParaRPr dirty="0">
                <a:solidFill>
                  <a:srgbClr val="262627"/>
                </a:solidFill>
                <a:latin typeface="Calibri" panose="020F0502020204030204" pitchFamily="34" charset="0"/>
                <a:cs typeface="Calibri" panose="020F0502020204030204" pitchFamily="34" charset="0"/>
                <a:sym typeface="Arial"/>
              </a:endParaRPr>
            </a:p>
          </p:txBody>
        </p:sp>
        <p:sp>
          <p:nvSpPr>
            <p:cNvPr id="2340" name="Google Shape;2340;p21"/>
            <p:cNvSpPr txBox="1"/>
            <p:nvPr/>
          </p:nvSpPr>
          <p:spPr>
            <a:xfrm>
              <a:off x="9111716" y="4300677"/>
              <a:ext cx="2050175" cy="28927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80000"/>
                </a:lnSpc>
                <a:spcBef>
                  <a:spcPts val="0"/>
                </a:spcBef>
                <a:spcAft>
                  <a:spcPts val="0"/>
                </a:spcAft>
                <a:buNone/>
              </a:pPr>
              <a:endParaRPr sz="1600" b="1" dirty="0">
                <a:solidFill>
                  <a:srgbClr val="262627"/>
                </a:solidFill>
                <a:latin typeface="Calibri" panose="020F0502020204030204" pitchFamily="34" charset="0"/>
                <a:cs typeface="Calibri" panose="020F0502020204030204" pitchFamily="34" charset="0"/>
                <a:sym typeface="Arial"/>
              </a:endParaRPr>
            </a:p>
          </p:txBody>
        </p:sp>
      </p:grpSp>
      <p:grpSp>
        <p:nvGrpSpPr>
          <p:cNvPr id="2343" name="Google Shape;2343;p21"/>
          <p:cNvGrpSpPr/>
          <p:nvPr/>
        </p:nvGrpSpPr>
        <p:grpSpPr>
          <a:xfrm>
            <a:off x="440278" y="5086576"/>
            <a:ext cx="749228" cy="777198"/>
            <a:chOff x="9827535" y="2897243"/>
            <a:chExt cx="964258" cy="964259"/>
          </a:xfrm>
        </p:grpSpPr>
        <p:sp>
          <p:nvSpPr>
            <p:cNvPr id="2344" name="Google Shape;2344;p21"/>
            <p:cNvSpPr/>
            <p:nvPr/>
          </p:nvSpPr>
          <p:spPr>
            <a:xfrm>
              <a:off x="9827535" y="3154378"/>
              <a:ext cx="964258" cy="578557"/>
            </a:xfrm>
            <a:custGeom>
              <a:avLst/>
              <a:gdLst/>
              <a:ahLst/>
              <a:cxnLst/>
              <a:rect l="l" t="t" r="r" b="b"/>
              <a:pathLst>
                <a:path w="964258" h="578557" extrusionOk="0">
                  <a:moveTo>
                    <a:pt x="867833" y="224994"/>
                  </a:moveTo>
                  <a:lnTo>
                    <a:pt x="867833" y="96426"/>
                  </a:lnTo>
                  <a:cubicBezTo>
                    <a:pt x="867833" y="43171"/>
                    <a:pt x="824661" y="0"/>
                    <a:pt x="771407" y="0"/>
                  </a:cubicBezTo>
                  <a:lnTo>
                    <a:pt x="536120" y="0"/>
                  </a:lnTo>
                  <a:cubicBezTo>
                    <a:pt x="524010" y="0"/>
                    <a:pt x="514257" y="9910"/>
                    <a:pt x="514272" y="22020"/>
                  </a:cubicBezTo>
                  <a:cubicBezTo>
                    <a:pt x="514290" y="36757"/>
                    <a:pt x="516637" y="50951"/>
                    <a:pt x="520927" y="64285"/>
                  </a:cubicBezTo>
                  <a:lnTo>
                    <a:pt x="65556" y="64285"/>
                  </a:lnTo>
                  <a:cubicBezTo>
                    <a:pt x="29536" y="64285"/>
                    <a:pt x="-654" y="93763"/>
                    <a:pt x="11" y="129778"/>
                  </a:cubicBezTo>
                  <a:cubicBezTo>
                    <a:pt x="655" y="164706"/>
                    <a:pt x="29202" y="192854"/>
                    <a:pt x="64283" y="192854"/>
                  </a:cubicBezTo>
                  <a:lnTo>
                    <a:pt x="128568" y="192854"/>
                  </a:lnTo>
                  <a:lnTo>
                    <a:pt x="128568" y="578557"/>
                  </a:lnTo>
                  <a:lnTo>
                    <a:pt x="707123" y="578557"/>
                  </a:lnTo>
                  <a:lnTo>
                    <a:pt x="771407" y="578557"/>
                  </a:lnTo>
                  <a:cubicBezTo>
                    <a:pt x="824667" y="578557"/>
                    <a:pt x="867833" y="535390"/>
                    <a:pt x="867833" y="482131"/>
                  </a:cubicBezTo>
                  <a:lnTo>
                    <a:pt x="936009" y="482131"/>
                  </a:lnTo>
                  <a:cubicBezTo>
                    <a:pt x="951610" y="482131"/>
                    <a:pt x="964259" y="469483"/>
                    <a:pt x="964259" y="453882"/>
                  </a:cubicBezTo>
                  <a:lnTo>
                    <a:pt x="964259" y="253244"/>
                  </a:lnTo>
                  <a:cubicBezTo>
                    <a:pt x="964259" y="237643"/>
                    <a:pt x="951610" y="224994"/>
                    <a:pt x="936009" y="224994"/>
                  </a:cubicBezTo>
                  <a:close/>
                </a:path>
              </a:pathLst>
            </a:custGeom>
            <a:solidFill>
              <a:srgbClr val="FFDC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45" name="Google Shape;2345;p21"/>
            <p:cNvSpPr/>
            <p:nvPr/>
          </p:nvSpPr>
          <p:spPr>
            <a:xfrm>
              <a:off x="9956103" y="2897243"/>
              <a:ext cx="578555" cy="964257"/>
            </a:xfrm>
            <a:custGeom>
              <a:avLst/>
              <a:gdLst/>
              <a:ahLst/>
              <a:cxnLst/>
              <a:rect l="l" t="t" r="r" b="b"/>
              <a:pathLst>
                <a:path w="578555" h="964257" extrusionOk="0">
                  <a:moveTo>
                    <a:pt x="493124" y="0"/>
                  </a:moveTo>
                  <a:lnTo>
                    <a:pt x="85431" y="0"/>
                  </a:lnTo>
                  <a:cubicBezTo>
                    <a:pt x="38324" y="0"/>
                    <a:pt x="0" y="38324"/>
                    <a:pt x="0" y="85429"/>
                  </a:cubicBezTo>
                  <a:lnTo>
                    <a:pt x="0" y="878828"/>
                  </a:lnTo>
                  <a:cubicBezTo>
                    <a:pt x="0" y="925933"/>
                    <a:pt x="38326" y="964257"/>
                    <a:pt x="85431" y="964257"/>
                  </a:cubicBezTo>
                  <a:lnTo>
                    <a:pt x="493124" y="964257"/>
                  </a:lnTo>
                  <a:cubicBezTo>
                    <a:pt x="540230" y="964257"/>
                    <a:pt x="578555" y="925933"/>
                    <a:pt x="578555" y="878828"/>
                  </a:cubicBezTo>
                  <a:lnTo>
                    <a:pt x="578555" y="85429"/>
                  </a:lnTo>
                  <a:cubicBezTo>
                    <a:pt x="578555" y="38324"/>
                    <a:pt x="540230" y="0"/>
                    <a:pt x="493124" y="0"/>
                  </a:cubicBezTo>
                  <a:close/>
                </a:path>
              </a:pathLst>
            </a:custGeom>
            <a:solidFill>
              <a:srgbClr val="3A556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46" name="Google Shape;2346;p21"/>
            <p:cNvSpPr/>
            <p:nvPr/>
          </p:nvSpPr>
          <p:spPr>
            <a:xfrm>
              <a:off x="10245381" y="2897243"/>
              <a:ext cx="289277" cy="964259"/>
            </a:xfrm>
            <a:custGeom>
              <a:avLst/>
              <a:gdLst/>
              <a:ahLst/>
              <a:cxnLst/>
              <a:rect l="l" t="t" r="r" b="b"/>
              <a:pathLst>
                <a:path w="289277" h="964259" extrusionOk="0">
                  <a:moveTo>
                    <a:pt x="289278" y="878830"/>
                  </a:moveTo>
                  <a:lnTo>
                    <a:pt x="289278" y="85429"/>
                  </a:lnTo>
                  <a:cubicBezTo>
                    <a:pt x="289278" y="38324"/>
                    <a:pt x="250952" y="0"/>
                    <a:pt x="203847" y="0"/>
                  </a:cubicBezTo>
                  <a:lnTo>
                    <a:pt x="0" y="0"/>
                  </a:lnTo>
                  <a:lnTo>
                    <a:pt x="0" y="964259"/>
                  </a:lnTo>
                  <a:lnTo>
                    <a:pt x="203847" y="964259"/>
                  </a:lnTo>
                  <a:cubicBezTo>
                    <a:pt x="250952" y="964259"/>
                    <a:pt x="289278" y="925935"/>
                    <a:pt x="289278" y="878830"/>
                  </a:cubicBez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47" name="Google Shape;2347;p21"/>
            <p:cNvSpPr/>
            <p:nvPr/>
          </p:nvSpPr>
          <p:spPr>
            <a:xfrm>
              <a:off x="10012603" y="2953742"/>
              <a:ext cx="465556" cy="851258"/>
            </a:xfrm>
            <a:custGeom>
              <a:avLst/>
              <a:gdLst/>
              <a:ahLst/>
              <a:cxnLst/>
              <a:rect l="l" t="t" r="r" b="b"/>
              <a:pathLst>
                <a:path w="465556" h="851258" extrusionOk="0">
                  <a:moveTo>
                    <a:pt x="433288" y="0"/>
                  </a:moveTo>
                  <a:lnTo>
                    <a:pt x="401021" y="0"/>
                  </a:lnTo>
                  <a:lnTo>
                    <a:pt x="401021" y="32267"/>
                  </a:lnTo>
                  <a:cubicBezTo>
                    <a:pt x="401021" y="81292"/>
                    <a:pt x="361279" y="121033"/>
                    <a:pt x="312254" y="121033"/>
                  </a:cubicBezTo>
                  <a:lnTo>
                    <a:pt x="153302" y="121033"/>
                  </a:lnTo>
                  <a:cubicBezTo>
                    <a:pt x="104277" y="121033"/>
                    <a:pt x="64536" y="81292"/>
                    <a:pt x="64536" y="32267"/>
                  </a:cubicBezTo>
                  <a:lnTo>
                    <a:pt x="64536" y="0"/>
                  </a:lnTo>
                  <a:lnTo>
                    <a:pt x="32269" y="0"/>
                  </a:lnTo>
                  <a:cubicBezTo>
                    <a:pt x="14477" y="0"/>
                    <a:pt x="0" y="14475"/>
                    <a:pt x="0" y="32267"/>
                  </a:cubicBezTo>
                  <a:lnTo>
                    <a:pt x="0" y="818991"/>
                  </a:lnTo>
                  <a:cubicBezTo>
                    <a:pt x="0" y="836783"/>
                    <a:pt x="14477" y="851258"/>
                    <a:pt x="32269" y="851258"/>
                  </a:cubicBezTo>
                  <a:lnTo>
                    <a:pt x="433288" y="851258"/>
                  </a:lnTo>
                  <a:cubicBezTo>
                    <a:pt x="451079" y="851258"/>
                    <a:pt x="465556" y="836783"/>
                    <a:pt x="465556" y="818991"/>
                  </a:cubicBezTo>
                  <a:lnTo>
                    <a:pt x="465556" y="32267"/>
                  </a:lnTo>
                  <a:cubicBezTo>
                    <a:pt x="465556" y="14475"/>
                    <a:pt x="451079" y="0"/>
                    <a:pt x="433288" y="0"/>
                  </a:cubicBezTo>
                  <a:close/>
                </a:path>
              </a:pathLst>
            </a:custGeom>
            <a:solidFill>
              <a:srgbClr val="EBF0F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48" name="Google Shape;2348;p21"/>
            <p:cNvSpPr/>
            <p:nvPr/>
          </p:nvSpPr>
          <p:spPr>
            <a:xfrm>
              <a:off x="9891820" y="3604366"/>
              <a:ext cx="128566" cy="128566"/>
            </a:xfrm>
            <a:custGeom>
              <a:avLst/>
              <a:gdLst/>
              <a:ahLst/>
              <a:cxnLst/>
              <a:rect l="l" t="t" r="r" b="b"/>
              <a:pathLst>
                <a:path w="128566" h="128566" extrusionOk="0">
                  <a:moveTo>
                    <a:pt x="128567" y="64283"/>
                  </a:moveTo>
                  <a:cubicBezTo>
                    <a:pt x="128567" y="99786"/>
                    <a:pt x="99786" y="128567"/>
                    <a:pt x="64283" y="128567"/>
                  </a:cubicBezTo>
                  <a:cubicBezTo>
                    <a:pt x="28781" y="128567"/>
                    <a:pt x="0" y="99786"/>
                    <a:pt x="0" y="64283"/>
                  </a:cubicBezTo>
                  <a:cubicBezTo>
                    <a:pt x="0" y="28781"/>
                    <a:pt x="28781" y="0"/>
                    <a:pt x="64283" y="0"/>
                  </a:cubicBezTo>
                  <a:cubicBezTo>
                    <a:pt x="99786" y="0"/>
                    <a:pt x="128567" y="28781"/>
                    <a:pt x="128567" y="64283"/>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49" name="Google Shape;2349;p21"/>
            <p:cNvSpPr/>
            <p:nvPr/>
          </p:nvSpPr>
          <p:spPr>
            <a:xfrm>
              <a:off x="9843607" y="3347231"/>
              <a:ext cx="257136" cy="257133"/>
            </a:xfrm>
            <a:custGeom>
              <a:avLst/>
              <a:gdLst/>
              <a:ahLst/>
              <a:cxnLst/>
              <a:rect l="l" t="t" r="r" b="b"/>
              <a:pathLst>
                <a:path w="257136" h="257133" extrusionOk="0">
                  <a:moveTo>
                    <a:pt x="192850" y="128567"/>
                  </a:moveTo>
                  <a:cubicBezTo>
                    <a:pt x="228335" y="128567"/>
                    <a:pt x="257135" y="99767"/>
                    <a:pt x="257135" y="64283"/>
                  </a:cubicBezTo>
                  <a:cubicBezTo>
                    <a:pt x="257135" y="28800"/>
                    <a:pt x="228335" y="0"/>
                    <a:pt x="192850" y="0"/>
                  </a:cubicBezTo>
                  <a:lnTo>
                    <a:pt x="64283" y="0"/>
                  </a:lnTo>
                  <a:cubicBezTo>
                    <a:pt x="28798" y="0"/>
                    <a:pt x="0" y="28800"/>
                    <a:pt x="0" y="64283"/>
                  </a:cubicBezTo>
                  <a:cubicBezTo>
                    <a:pt x="0" y="99767"/>
                    <a:pt x="28798" y="128567"/>
                    <a:pt x="64283" y="128567"/>
                  </a:cubicBezTo>
                  <a:lnTo>
                    <a:pt x="96426" y="128567"/>
                  </a:lnTo>
                  <a:cubicBezTo>
                    <a:pt x="60940" y="128567"/>
                    <a:pt x="32143" y="157366"/>
                    <a:pt x="32143" y="192850"/>
                  </a:cubicBezTo>
                  <a:cubicBezTo>
                    <a:pt x="32143" y="228334"/>
                    <a:pt x="60942" y="257133"/>
                    <a:pt x="96426" y="257133"/>
                  </a:cubicBezTo>
                  <a:lnTo>
                    <a:pt x="192852" y="257133"/>
                  </a:lnTo>
                  <a:cubicBezTo>
                    <a:pt x="228337" y="257133"/>
                    <a:pt x="257137" y="228334"/>
                    <a:pt x="257137" y="192850"/>
                  </a:cubicBezTo>
                  <a:cubicBezTo>
                    <a:pt x="257137" y="157366"/>
                    <a:pt x="228335" y="128567"/>
                    <a:pt x="192850" y="128567"/>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50" name="Google Shape;2350;p21"/>
            <p:cNvSpPr/>
            <p:nvPr/>
          </p:nvSpPr>
          <p:spPr>
            <a:xfrm>
              <a:off x="10156612" y="3683967"/>
              <a:ext cx="177534" cy="56499"/>
            </a:xfrm>
            <a:custGeom>
              <a:avLst/>
              <a:gdLst/>
              <a:ahLst/>
              <a:cxnLst/>
              <a:rect l="l" t="t" r="r" b="b"/>
              <a:pathLst>
                <a:path w="177534" h="56499" extrusionOk="0">
                  <a:moveTo>
                    <a:pt x="149285" y="56500"/>
                  </a:moveTo>
                  <a:lnTo>
                    <a:pt x="28250" y="56500"/>
                  </a:lnTo>
                  <a:cubicBezTo>
                    <a:pt x="12648" y="56500"/>
                    <a:pt x="0" y="43851"/>
                    <a:pt x="0" y="28250"/>
                  </a:cubicBezTo>
                  <a:cubicBezTo>
                    <a:pt x="0" y="12648"/>
                    <a:pt x="12648" y="0"/>
                    <a:pt x="28250" y="0"/>
                  </a:cubicBezTo>
                  <a:lnTo>
                    <a:pt x="149285" y="0"/>
                  </a:lnTo>
                  <a:cubicBezTo>
                    <a:pt x="164886" y="0"/>
                    <a:pt x="177535" y="12648"/>
                    <a:pt x="177535" y="28250"/>
                  </a:cubicBezTo>
                  <a:cubicBezTo>
                    <a:pt x="177535" y="43851"/>
                    <a:pt x="164886" y="56500"/>
                    <a:pt x="149285" y="565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51" name="Google Shape;2351;p21"/>
            <p:cNvSpPr/>
            <p:nvPr/>
          </p:nvSpPr>
          <p:spPr>
            <a:xfrm>
              <a:off x="10245381" y="3683967"/>
              <a:ext cx="88766" cy="56499"/>
            </a:xfrm>
            <a:custGeom>
              <a:avLst/>
              <a:gdLst/>
              <a:ahLst/>
              <a:cxnLst/>
              <a:rect l="l" t="t" r="r" b="b"/>
              <a:pathLst>
                <a:path w="88766" h="56499" extrusionOk="0">
                  <a:moveTo>
                    <a:pt x="88766" y="28250"/>
                  </a:moveTo>
                  <a:cubicBezTo>
                    <a:pt x="88766" y="12648"/>
                    <a:pt x="76118" y="0"/>
                    <a:pt x="60517" y="0"/>
                  </a:cubicBezTo>
                  <a:lnTo>
                    <a:pt x="0" y="0"/>
                  </a:lnTo>
                  <a:lnTo>
                    <a:pt x="0" y="56500"/>
                  </a:lnTo>
                  <a:lnTo>
                    <a:pt x="60517" y="56500"/>
                  </a:lnTo>
                  <a:cubicBezTo>
                    <a:pt x="76118" y="56500"/>
                    <a:pt x="88766" y="43853"/>
                    <a:pt x="88766" y="2825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52" name="Google Shape;2352;p21"/>
            <p:cNvSpPr/>
            <p:nvPr/>
          </p:nvSpPr>
          <p:spPr>
            <a:xfrm>
              <a:off x="10341807" y="3154378"/>
              <a:ext cx="449986" cy="578557"/>
            </a:xfrm>
            <a:custGeom>
              <a:avLst/>
              <a:gdLst/>
              <a:ahLst/>
              <a:cxnLst/>
              <a:rect l="l" t="t" r="r" b="b"/>
              <a:pathLst>
                <a:path w="449986" h="578557" extrusionOk="0">
                  <a:moveTo>
                    <a:pt x="353561" y="183561"/>
                  </a:moveTo>
                  <a:lnTo>
                    <a:pt x="353561" y="96426"/>
                  </a:lnTo>
                  <a:cubicBezTo>
                    <a:pt x="353561" y="43171"/>
                    <a:pt x="310390" y="0"/>
                    <a:pt x="257135" y="0"/>
                  </a:cubicBezTo>
                  <a:lnTo>
                    <a:pt x="21848" y="0"/>
                  </a:lnTo>
                  <a:cubicBezTo>
                    <a:pt x="9786" y="0"/>
                    <a:pt x="0" y="9786"/>
                    <a:pt x="0" y="21850"/>
                  </a:cubicBezTo>
                  <a:cubicBezTo>
                    <a:pt x="0" y="98418"/>
                    <a:pt x="62293" y="160711"/>
                    <a:pt x="138861" y="160711"/>
                  </a:cubicBezTo>
                  <a:lnTo>
                    <a:pt x="192850" y="160711"/>
                  </a:lnTo>
                  <a:lnTo>
                    <a:pt x="192850" y="578557"/>
                  </a:lnTo>
                  <a:lnTo>
                    <a:pt x="257135" y="578557"/>
                  </a:lnTo>
                  <a:cubicBezTo>
                    <a:pt x="310395" y="578557"/>
                    <a:pt x="353561" y="535390"/>
                    <a:pt x="353561" y="482131"/>
                  </a:cubicBezTo>
                  <a:lnTo>
                    <a:pt x="421737" y="482131"/>
                  </a:lnTo>
                  <a:cubicBezTo>
                    <a:pt x="437339" y="482131"/>
                    <a:pt x="449987" y="469483"/>
                    <a:pt x="449987" y="453882"/>
                  </a:cubicBezTo>
                  <a:lnTo>
                    <a:pt x="449987" y="211811"/>
                  </a:lnTo>
                  <a:cubicBezTo>
                    <a:pt x="449987" y="196210"/>
                    <a:pt x="437339" y="183561"/>
                    <a:pt x="421737" y="183561"/>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grpSp>
          <p:nvGrpSpPr>
            <p:cNvPr id="2353" name="Google Shape;2353;p21"/>
            <p:cNvGrpSpPr/>
            <p:nvPr/>
          </p:nvGrpSpPr>
          <p:grpSpPr>
            <a:xfrm>
              <a:off x="9875747" y="3475798"/>
              <a:ext cx="916046" cy="257135"/>
              <a:chOff x="9875747" y="3475798"/>
              <a:chExt cx="916046" cy="257135"/>
            </a:xfrm>
          </p:grpSpPr>
          <p:sp>
            <p:nvSpPr>
              <p:cNvPr id="2354" name="Google Shape;2354;p21"/>
              <p:cNvSpPr/>
              <p:nvPr/>
            </p:nvSpPr>
            <p:spPr>
              <a:xfrm>
                <a:off x="9875747" y="3475798"/>
                <a:ext cx="224994" cy="128566"/>
              </a:xfrm>
              <a:custGeom>
                <a:avLst/>
                <a:gdLst/>
                <a:ahLst/>
                <a:cxnLst/>
                <a:rect l="l" t="t" r="r" b="b"/>
                <a:pathLst>
                  <a:path w="224994" h="128566" extrusionOk="0">
                    <a:moveTo>
                      <a:pt x="160709" y="0"/>
                    </a:moveTo>
                    <a:lnTo>
                      <a:pt x="64283" y="0"/>
                    </a:lnTo>
                    <a:cubicBezTo>
                      <a:pt x="28798" y="0"/>
                      <a:pt x="0" y="28800"/>
                      <a:pt x="0" y="64283"/>
                    </a:cubicBezTo>
                    <a:cubicBezTo>
                      <a:pt x="0" y="99767"/>
                      <a:pt x="28800" y="128567"/>
                      <a:pt x="64283" y="128567"/>
                    </a:cubicBezTo>
                    <a:lnTo>
                      <a:pt x="160709" y="128567"/>
                    </a:lnTo>
                    <a:cubicBezTo>
                      <a:pt x="196195" y="128567"/>
                      <a:pt x="224994" y="99767"/>
                      <a:pt x="224994" y="64283"/>
                    </a:cubicBezTo>
                    <a:cubicBezTo>
                      <a:pt x="224994" y="28800"/>
                      <a:pt x="196195" y="0"/>
                      <a:pt x="160709" y="0"/>
                    </a:cubicBezTo>
                    <a:close/>
                  </a:path>
                </a:pathLst>
              </a:custGeom>
              <a:solidFill>
                <a:srgbClr val="FFADA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2355" name="Google Shape;2355;p21"/>
              <p:cNvSpPr/>
              <p:nvPr/>
            </p:nvSpPr>
            <p:spPr>
              <a:xfrm>
                <a:off x="10534658" y="3475798"/>
                <a:ext cx="257135" cy="257135"/>
              </a:xfrm>
              <a:custGeom>
                <a:avLst/>
                <a:gdLst/>
                <a:ahLst/>
                <a:cxnLst/>
                <a:rect l="l" t="t" r="r" b="b"/>
                <a:pathLst>
                  <a:path w="257135" h="257135" extrusionOk="0">
                    <a:moveTo>
                      <a:pt x="0" y="0"/>
                    </a:moveTo>
                    <a:lnTo>
                      <a:pt x="0" y="257135"/>
                    </a:lnTo>
                    <a:lnTo>
                      <a:pt x="64283" y="257135"/>
                    </a:lnTo>
                    <a:cubicBezTo>
                      <a:pt x="117544" y="257135"/>
                      <a:pt x="160709" y="213968"/>
                      <a:pt x="160709" y="160709"/>
                    </a:cubicBezTo>
                    <a:lnTo>
                      <a:pt x="228885" y="160709"/>
                    </a:lnTo>
                    <a:cubicBezTo>
                      <a:pt x="244487" y="160709"/>
                      <a:pt x="257135" y="148061"/>
                      <a:pt x="257135" y="132459"/>
                    </a:cubicBezTo>
                    <a:lnTo>
                      <a:pt x="257135" y="0"/>
                    </a:lnTo>
                    <a:close/>
                  </a:path>
                </a:pathLst>
              </a:custGeom>
              <a:solidFill>
                <a:srgbClr val="FFADA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dirty="0">
                  <a:solidFill>
                    <a:schemeClr val="dk1"/>
                  </a:solidFill>
                  <a:latin typeface="Calibri" panose="020F0502020204030204" pitchFamily="34" charset="0"/>
                  <a:ea typeface="Helvetica Neue"/>
                  <a:cs typeface="Calibri" panose="020F0502020204030204" pitchFamily="34" charset="0"/>
                  <a:sym typeface="Helvetica Neue"/>
                </a:endParaRPr>
              </a:p>
            </p:txBody>
          </p:sp>
        </p:grpSp>
      </p:grpSp>
      <p:pic>
        <p:nvPicPr>
          <p:cNvPr id="2356" name="Google Shape;2356;p21"/>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472133" y="3257043"/>
            <a:ext cx="720197" cy="720197"/>
          </a:xfrm>
          <a:prstGeom prst="rect">
            <a:avLst/>
          </a:prstGeom>
          <a:noFill/>
          <a:ln>
            <a:noFill/>
          </a:ln>
        </p:spPr>
      </p:pic>
      <p:grpSp>
        <p:nvGrpSpPr>
          <p:cNvPr id="2357" name="Google Shape;2357;p21"/>
          <p:cNvGrpSpPr/>
          <p:nvPr/>
        </p:nvGrpSpPr>
        <p:grpSpPr>
          <a:xfrm>
            <a:off x="10192176" y="3386584"/>
            <a:ext cx="375175" cy="375175"/>
            <a:chOff x="9827535" y="2897243"/>
            <a:chExt cx="964258" cy="964259"/>
          </a:xfrm>
        </p:grpSpPr>
        <p:sp>
          <p:nvSpPr>
            <p:cNvPr id="2358" name="Google Shape;2358;p21"/>
            <p:cNvSpPr/>
            <p:nvPr/>
          </p:nvSpPr>
          <p:spPr>
            <a:xfrm>
              <a:off x="9827535" y="3154378"/>
              <a:ext cx="964258" cy="578557"/>
            </a:xfrm>
            <a:custGeom>
              <a:avLst/>
              <a:gdLst/>
              <a:ahLst/>
              <a:cxnLst/>
              <a:rect l="l" t="t" r="r" b="b"/>
              <a:pathLst>
                <a:path w="964258" h="578557" extrusionOk="0">
                  <a:moveTo>
                    <a:pt x="867833" y="224994"/>
                  </a:moveTo>
                  <a:lnTo>
                    <a:pt x="867833" y="96426"/>
                  </a:lnTo>
                  <a:cubicBezTo>
                    <a:pt x="867833" y="43171"/>
                    <a:pt x="824661" y="0"/>
                    <a:pt x="771407" y="0"/>
                  </a:cubicBezTo>
                  <a:lnTo>
                    <a:pt x="536120" y="0"/>
                  </a:lnTo>
                  <a:cubicBezTo>
                    <a:pt x="524010" y="0"/>
                    <a:pt x="514257" y="9910"/>
                    <a:pt x="514272" y="22020"/>
                  </a:cubicBezTo>
                  <a:cubicBezTo>
                    <a:pt x="514290" y="36757"/>
                    <a:pt x="516637" y="50951"/>
                    <a:pt x="520927" y="64285"/>
                  </a:cubicBezTo>
                  <a:lnTo>
                    <a:pt x="65556" y="64285"/>
                  </a:lnTo>
                  <a:cubicBezTo>
                    <a:pt x="29536" y="64285"/>
                    <a:pt x="-654" y="93763"/>
                    <a:pt x="11" y="129778"/>
                  </a:cubicBezTo>
                  <a:cubicBezTo>
                    <a:pt x="655" y="164706"/>
                    <a:pt x="29202" y="192854"/>
                    <a:pt x="64283" y="192854"/>
                  </a:cubicBezTo>
                  <a:lnTo>
                    <a:pt x="128568" y="192854"/>
                  </a:lnTo>
                  <a:lnTo>
                    <a:pt x="128568" y="578557"/>
                  </a:lnTo>
                  <a:lnTo>
                    <a:pt x="707123" y="578557"/>
                  </a:lnTo>
                  <a:lnTo>
                    <a:pt x="771407" y="578557"/>
                  </a:lnTo>
                  <a:cubicBezTo>
                    <a:pt x="824667" y="578557"/>
                    <a:pt x="867833" y="535390"/>
                    <a:pt x="867833" y="482131"/>
                  </a:cubicBezTo>
                  <a:lnTo>
                    <a:pt x="936009" y="482131"/>
                  </a:lnTo>
                  <a:cubicBezTo>
                    <a:pt x="951610" y="482131"/>
                    <a:pt x="964259" y="469483"/>
                    <a:pt x="964259" y="453882"/>
                  </a:cubicBezTo>
                  <a:lnTo>
                    <a:pt x="964259" y="253244"/>
                  </a:lnTo>
                  <a:cubicBezTo>
                    <a:pt x="964259" y="237643"/>
                    <a:pt x="951610" y="224994"/>
                    <a:pt x="936009" y="224994"/>
                  </a:cubicBezTo>
                  <a:close/>
                </a:path>
              </a:pathLst>
            </a:custGeom>
            <a:solidFill>
              <a:srgbClr val="FFDC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59" name="Google Shape;2359;p21"/>
            <p:cNvSpPr/>
            <p:nvPr/>
          </p:nvSpPr>
          <p:spPr>
            <a:xfrm>
              <a:off x="9956103" y="2897243"/>
              <a:ext cx="578555" cy="964257"/>
            </a:xfrm>
            <a:custGeom>
              <a:avLst/>
              <a:gdLst/>
              <a:ahLst/>
              <a:cxnLst/>
              <a:rect l="l" t="t" r="r" b="b"/>
              <a:pathLst>
                <a:path w="578555" h="964257" extrusionOk="0">
                  <a:moveTo>
                    <a:pt x="493124" y="0"/>
                  </a:moveTo>
                  <a:lnTo>
                    <a:pt x="85431" y="0"/>
                  </a:lnTo>
                  <a:cubicBezTo>
                    <a:pt x="38324" y="0"/>
                    <a:pt x="0" y="38324"/>
                    <a:pt x="0" y="85429"/>
                  </a:cubicBezTo>
                  <a:lnTo>
                    <a:pt x="0" y="878828"/>
                  </a:lnTo>
                  <a:cubicBezTo>
                    <a:pt x="0" y="925933"/>
                    <a:pt x="38326" y="964257"/>
                    <a:pt x="85431" y="964257"/>
                  </a:cubicBezTo>
                  <a:lnTo>
                    <a:pt x="493124" y="964257"/>
                  </a:lnTo>
                  <a:cubicBezTo>
                    <a:pt x="540230" y="964257"/>
                    <a:pt x="578555" y="925933"/>
                    <a:pt x="578555" y="878828"/>
                  </a:cubicBezTo>
                  <a:lnTo>
                    <a:pt x="578555" y="85429"/>
                  </a:lnTo>
                  <a:cubicBezTo>
                    <a:pt x="578555" y="38324"/>
                    <a:pt x="540230" y="0"/>
                    <a:pt x="493124" y="0"/>
                  </a:cubicBezTo>
                  <a:close/>
                </a:path>
              </a:pathLst>
            </a:custGeom>
            <a:solidFill>
              <a:srgbClr val="3A556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0" name="Google Shape;2360;p21"/>
            <p:cNvSpPr/>
            <p:nvPr/>
          </p:nvSpPr>
          <p:spPr>
            <a:xfrm>
              <a:off x="10245381" y="2897243"/>
              <a:ext cx="289277" cy="964259"/>
            </a:xfrm>
            <a:custGeom>
              <a:avLst/>
              <a:gdLst/>
              <a:ahLst/>
              <a:cxnLst/>
              <a:rect l="l" t="t" r="r" b="b"/>
              <a:pathLst>
                <a:path w="289277" h="964259" extrusionOk="0">
                  <a:moveTo>
                    <a:pt x="289278" y="878830"/>
                  </a:moveTo>
                  <a:lnTo>
                    <a:pt x="289278" y="85429"/>
                  </a:lnTo>
                  <a:cubicBezTo>
                    <a:pt x="289278" y="38324"/>
                    <a:pt x="250952" y="0"/>
                    <a:pt x="203847" y="0"/>
                  </a:cubicBezTo>
                  <a:lnTo>
                    <a:pt x="0" y="0"/>
                  </a:lnTo>
                  <a:lnTo>
                    <a:pt x="0" y="964259"/>
                  </a:lnTo>
                  <a:lnTo>
                    <a:pt x="203847" y="964259"/>
                  </a:lnTo>
                  <a:cubicBezTo>
                    <a:pt x="250952" y="964259"/>
                    <a:pt x="289278" y="925935"/>
                    <a:pt x="289278" y="878830"/>
                  </a:cubicBezTo>
                  <a:close/>
                </a:path>
              </a:pathLst>
            </a:custGeom>
            <a:solidFill>
              <a:srgbClr val="64798A"/>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1" name="Google Shape;2361;p21"/>
            <p:cNvSpPr/>
            <p:nvPr/>
          </p:nvSpPr>
          <p:spPr>
            <a:xfrm>
              <a:off x="10012603" y="2953742"/>
              <a:ext cx="465556" cy="851258"/>
            </a:xfrm>
            <a:custGeom>
              <a:avLst/>
              <a:gdLst/>
              <a:ahLst/>
              <a:cxnLst/>
              <a:rect l="l" t="t" r="r" b="b"/>
              <a:pathLst>
                <a:path w="465556" h="851258" extrusionOk="0">
                  <a:moveTo>
                    <a:pt x="433288" y="0"/>
                  </a:moveTo>
                  <a:lnTo>
                    <a:pt x="401021" y="0"/>
                  </a:lnTo>
                  <a:lnTo>
                    <a:pt x="401021" y="32267"/>
                  </a:lnTo>
                  <a:cubicBezTo>
                    <a:pt x="401021" y="81292"/>
                    <a:pt x="361279" y="121033"/>
                    <a:pt x="312254" y="121033"/>
                  </a:cubicBezTo>
                  <a:lnTo>
                    <a:pt x="153302" y="121033"/>
                  </a:lnTo>
                  <a:cubicBezTo>
                    <a:pt x="104277" y="121033"/>
                    <a:pt x="64536" y="81292"/>
                    <a:pt x="64536" y="32267"/>
                  </a:cubicBezTo>
                  <a:lnTo>
                    <a:pt x="64536" y="0"/>
                  </a:lnTo>
                  <a:lnTo>
                    <a:pt x="32269" y="0"/>
                  </a:lnTo>
                  <a:cubicBezTo>
                    <a:pt x="14477" y="0"/>
                    <a:pt x="0" y="14475"/>
                    <a:pt x="0" y="32267"/>
                  </a:cubicBezTo>
                  <a:lnTo>
                    <a:pt x="0" y="818991"/>
                  </a:lnTo>
                  <a:cubicBezTo>
                    <a:pt x="0" y="836783"/>
                    <a:pt x="14477" y="851258"/>
                    <a:pt x="32269" y="851258"/>
                  </a:cubicBezTo>
                  <a:lnTo>
                    <a:pt x="433288" y="851258"/>
                  </a:lnTo>
                  <a:cubicBezTo>
                    <a:pt x="451079" y="851258"/>
                    <a:pt x="465556" y="836783"/>
                    <a:pt x="465556" y="818991"/>
                  </a:cubicBezTo>
                  <a:lnTo>
                    <a:pt x="465556" y="32267"/>
                  </a:lnTo>
                  <a:cubicBezTo>
                    <a:pt x="465556" y="14475"/>
                    <a:pt x="451079" y="0"/>
                    <a:pt x="433288" y="0"/>
                  </a:cubicBezTo>
                  <a:close/>
                </a:path>
              </a:pathLst>
            </a:custGeom>
            <a:solidFill>
              <a:srgbClr val="EBF0F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2" name="Google Shape;2362;p21"/>
            <p:cNvSpPr/>
            <p:nvPr/>
          </p:nvSpPr>
          <p:spPr>
            <a:xfrm>
              <a:off x="9891820" y="3604366"/>
              <a:ext cx="128566" cy="128566"/>
            </a:xfrm>
            <a:custGeom>
              <a:avLst/>
              <a:gdLst/>
              <a:ahLst/>
              <a:cxnLst/>
              <a:rect l="l" t="t" r="r" b="b"/>
              <a:pathLst>
                <a:path w="128566" h="128566" extrusionOk="0">
                  <a:moveTo>
                    <a:pt x="128567" y="64283"/>
                  </a:moveTo>
                  <a:cubicBezTo>
                    <a:pt x="128567" y="99786"/>
                    <a:pt x="99786" y="128567"/>
                    <a:pt x="64283" y="128567"/>
                  </a:cubicBezTo>
                  <a:cubicBezTo>
                    <a:pt x="28781" y="128567"/>
                    <a:pt x="0" y="99786"/>
                    <a:pt x="0" y="64283"/>
                  </a:cubicBezTo>
                  <a:cubicBezTo>
                    <a:pt x="0" y="28781"/>
                    <a:pt x="28781" y="0"/>
                    <a:pt x="64283" y="0"/>
                  </a:cubicBezTo>
                  <a:cubicBezTo>
                    <a:pt x="99786" y="0"/>
                    <a:pt x="128567" y="28781"/>
                    <a:pt x="128567" y="64283"/>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3" name="Google Shape;2363;p21"/>
            <p:cNvSpPr/>
            <p:nvPr/>
          </p:nvSpPr>
          <p:spPr>
            <a:xfrm>
              <a:off x="9843607" y="3347231"/>
              <a:ext cx="257136" cy="257133"/>
            </a:xfrm>
            <a:custGeom>
              <a:avLst/>
              <a:gdLst/>
              <a:ahLst/>
              <a:cxnLst/>
              <a:rect l="l" t="t" r="r" b="b"/>
              <a:pathLst>
                <a:path w="257136" h="257133" extrusionOk="0">
                  <a:moveTo>
                    <a:pt x="192850" y="128567"/>
                  </a:moveTo>
                  <a:cubicBezTo>
                    <a:pt x="228335" y="128567"/>
                    <a:pt x="257135" y="99767"/>
                    <a:pt x="257135" y="64283"/>
                  </a:cubicBezTo>
                  <a:cubicBezTo>
                    <a:pt x="257135" y="28800"/>
                    <a:pt x="228335" y="0"/>
                    <a:pt x="192850" y="0"/>
                  </a:cubicBezTo>
                  <a:lnTo>
                    <a:pt x="64283" y="0"/>
                  </a:lnTo>
                  <a:cubicBezTo>
                    <a:pt x="28798" y="0"/>
                    <a:pt x="0" y="28800"/>
                    <a:pt x="0" y="64283"/>
                  </a:cubicBezTo>
                  <a:cubicBezTo>
                    <a:pt x="0" y="99767"/>
                    <a:pt x="28798" y="128567"/>
                    <a:pt x="64283" y="128567"/>
                  </a:cubicBezTo>
                  <a:lnTo>
                    <a:pt x="96426" y="128567"/>
                  </a:lnTo>
                  <a:cubicBezTo>
                    <a:pt x="60940" y="128567"/>
                    <a:pt x="32143" y="157366"/>
                    <a:pt x="32143" y="192850"/>
                  </a:cubicBezTo>
                  <a:cubicBezTo>
                    <a:pt x="32143" y="228334"/>
                    <a:pt x="60942" y="257133"/>
                    <a:pt x="96426" y="257133"/>
                  </a:cubicBezTo>
                  <a:lnTo>
                    <a:pt x="192852" y="257133"/>
                  </a:lnTo>
                  <a:cubicBezTo>
                    <a:pt x="228337" y="257133"/>
                    <a:pt x="257137" y="228334"/>
                    <a:pt x="257137" y="192850"/>
                  </a:cubicBezTo>
                  <a:cubicBezTo>
                    <a:pt x="257137" y="157366"/>
                    <a:pt x="228335" y="128567"/>
                    <a:pt x="192850" y="128567"/>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4" name="Google Shape;2364;p21"/>
            <p:cNvSpPr/>
            <p:nvPr/>
          </p:nvSpPr>
          <p:spPr>
            <a:xfrm>
              <a:off x="10156612" y="3683967"/>
              <a:ext cx="177534" cy="56499"/>
            </a:xfrm>
            <a:custGeom>
              <a:avLst/>
              <a:gdLst/>
              <a:ahLst/>
              <a:cxnLst/>
              <a:rect l="l" t="t" r="r" b="b"/>
              <a:pathLst>
                <a:path w="177534" h="56499" extrusionOk="0">
                  <a:moveTo>
                    <a:pt x="149285" y="56500"/>
                  </a:moveTo>
                  <a:lnTo>
                    <a:pt x="28250" y="56500"/>
                  </a:lnTo>
                  <a:cubicBezTo>
                    <a:pt x="12648" y="56500"/>
                    <a:pt x="0" y="43851"/>
                    <a:pt x="0" y="28250"/>
                  </a:cubicBezTo>
                  <a:cubicBezTo>
                    <a:pt x="0" y="12648"/>
                    <a:pt x="12648" y="0"/>
                    <a:pt x="28250" y="0"/>
                  </a:cubicBezTo>
                  <a:lnTo>
                    <a:pt x="149285" y="0"/>
                  </a:lnTo>
                  <a:cubicBezTo>
                    <a:pt x="164886" y="0"/>
                    <a:pt x="177535" y="12648"/>
                    <a:pt x="177535" y="28250"/>
                  </a:cubicBezTo>
                  <a:cubicBezTo>
                    <a:pt x="177535" y="43851"/>
                    <a:pt x="164886" y="56500"/>
                    <a:pt x="149285" y="565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5" name="Google Shape;2365;p21"/>
            <p:cNvSpPr/>
            <p:nvPr/>
          </p:nvSpPr>
          <p:spPr>
            <a:xfrm>
              <a:off x="10245381" y="3683967"/>
              <a:ext cx="88766" cy="56499"/>
            </a:xfrm>
            <a:custGeom>
              <a:avLst/>
              <a:gdLst/>
              <a:ahLst/>
              <a:cxnLst/>
              <a:rect l="l" t="t" r="r" b="b"/>
              <a:pathLst>
                <a:path w="88766" h="56499" extrusionOk="0">
                  <a:moveTo>
                    <a:pt x="88766" y="28250"/>
                  </a:moveTo>
                  <a:cubicBezTo>
                    <a:pt x="88766" y="12648"/>
                    <a:pt x="76118" y="0"/>
                    <a:pt x="60517" y="0"/>
                  </a:cubicBezTo>
                  <a:lnTo>
                    <a:pt x="0" y="0"/>
                  </a:lnTo>
                  <a:lnTo>
                    <a:pt x="0" y="56500"/>
                  </a:lnTo>
                  <a:lnTo>
                    <a:pt x="60517" y="56500"/>
                  </a:lnTo>
                  <a:cubicBezTo>
                    <a:pt x="76118" y="56500"/>
                    <a:pt x="88766" y="43853"/>
                    <a:pt x="88766" y="2825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6" name="Google Shape;2366;p21"/>
            <p:cNvSpPr/>
            <p:nvPr/>
          </p:nvSpPr>
          <p:spPr>
            <a:xfrm>
              <a:off x="10341807" y="3154378"/>
              <a:ext cx="449986" cy="578557"/>
            </a:xfrm>
            <a:custGeom>
              <a:avLst/>
              <a:gdLst/>
              <a:ahLst/>
              <a:cxnLst/>
              <a:rect l="l" t="t" r="r" b="b"/>
              <a:pathLst>
                <a:path w="449986" h="578557" extrusionOk="0">
                  <a:moveTo>
                    <a:pt x="353561" y="183561"/>
                  </a:moveTo>
                  <a:lnTo>
                    <a:pt x="353561" y="96426"/>
                  </a:lnTo>
                  <a:cubicBezTo>
                    <a:pt x="353561" y="43171"/>
                    <a:pt x="310390" y="0"/>
                    <a:pt x="257135" y="0"/>
                  </a:cubicBezTo>
                  <a:lnTo>
                    <a:pt x="21848" y="0"/>
                  </a:lnTo>
                  <a:cubicBezTo>
                    <a:pt x="9786" y="0"/>
                    <a:pt x="0" y="9786"/>
                    <a:pt x="0" y="21850"/>
                  </a:cubicBezTo>
                  <a:cubicBezTo>
                    <a:pt x="0" y="98418"/>
                    <a:pt x="62293" y="160711"/>
                    <a:pt x="138861" y="160711"/>
                  </a:cubicBezTo>
                  <a:lnTo>
                    <a:pt x="192850" y="160711"/>
                  </a:lnTo>
                  <a:lnTo>
                    <a:pt x="192850" y="578557"/>
                  </a:lnTo>
                  <a:lnTo>
                    <a:pt x="257135" y="578557"/>
                  </a:lnTo>
                  <a:cubicBezTo>
                    <a:pt x="310395" y="578557"/>
                    <a:pt x="353561" y="535390"/>
                    <a:pt x="353561" y="482131"/>
                  </a:cubicBezTo>
                  <a:lnTo>
                    <a:pt x="421737" y="482131"/>
                  </a:lnTo>
                  <a:cubicBezTo>
                    <a:pt x="437339" y="482131"/>
                    <a:pt x="449987" y="469483"/>
                    <a:pt x="449987" y="453882"/>
                  </a:cubicBezTo>
                  <a:lnTo>
                    <a:pt x="449987" y="211811"/>
                  </a:lnTo>
                  <a:cubicBezTo>
                    <a:pt x="449987" y="196210"/>
                    <a:pt x="437339" y="183561"/>
                    <a:pt x="421737" y="183561"/>
                  </a:cubicBezTo>
                  <a:close/>
                </a:path>
              </a:pathLst>
            </a:custGeom>
            <a:solidFill>
              <a:srgbClr val="FFC5B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grpSp>
          <p:nvGrpSpPr>
            <p:cNvPr id="2367" name="Google Shape;2367;p21"/>
            <p:cNvGrpSpPr/>
            <p:nvPr/>
          </p:nvGrpSpPr>
          <p:grpSpPr>
            <a:xfrm>
              <a:off x="9875747" y="3475798"/>
              <a:ext cx="916046" cy="257135"/>
              <a:chOff x="9875747" y="3475798"/>
              <a:chExt cx="916046" cy="257135"/>
            </a:xfrm>
          </p:grpSpPr>
          <p:sp>
            <p:nvSpPr>
              <p:cNvPr id="2368" name="Google Shape;2368;p21"/>
              <p:cNvSpPr/>
              <p:nvPr/>
            </p:nvSpPr>
            <p:spPr>
              <a:xfrm>
                <a:off x="9875747" y="3475798"/>
                <a:ext cx="224994" cy="128566"/>
              </a:xfrm>
              <a:custGeom>
                <a:avLst/>
                <a:gdLst/>
                <a:ahLst/>
                <a:cxnLst/>
                <a:rect l="l" t="t" r="r" b="b"/>
                <a:pathLst>
                  <a:path w="224994" h="128566" extrusionOk="0">
                    <a:moveTo>
                      <a:pt x="160709" y="0"/>
                    </a:moveTo>
                    <a:lnTo>
                      <a:pt x="64283" y="0"/>
                    </a:lnTo>
                    <a:cubicBezTo>
                      <a:pt x="28798" y="0"/>
                      <a:pt x="0" y="28800"/>
                      <a:pt x="0" y="64283"/>
                    </a:cubicBezTo>
                    <a:cubicBezTo>
                      <a:pt x="0" y="99767"/>
                      <a:pt x="28800" y="128567"/>
                      <a:pt x="64283" y="128567"/>
                    </a:cubicBezTo>
                    <a:lnTo>
                      <a:pt x="160709" y="128567"/>
                    </a:lnTo>
                    <a:cubicBezTo>
                      <a:pt x="196195" y="128567"/>
                      <a:pt x="224994" y="99767"/>
                      <a:pt x="224994" y="64283"/>
                    </a:cubicBezTo>
                    <a:cubicBezTo>
                      <a:pt x="224994" y="28800"/>
                      <a:pt x="196195" y="0"/>
                      <a:pt x="160709" y="0"/>
                    </a:cubicBezTo>
                    <a:close/>
                  </a:path>
                </a:pathLst>
              </a:custGeom>
              <a:solidFill>
                <a:srgbClr val="FFADA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sp>
            <p:nvSpPr>
              <p:cNvPr id="2369" name="Google Shape;2369;p21"/>
              <p:cNvSpPr/>
              <p:nvPr/>
            </p:nvSpPr>
            <p:spPr>
              <a:xfrm>
                <a:off x="10534658" y="3475798"/>
                <a:ext cx="257135" cy="257135"/>
              </a:xfrm>
              <a:custGeom>
                <a:avLst/>
                <a:gdLst/>
                <a:ahLst/>
                <a:cxnLst/>
                <a:rect l="l" t="t" r="r" b="b"/>
                <a:pathLst>
                  <a:path w="257135" h="257135" extrusionOk="0">
                    <a:moveTo>
                      <a:pt x="0" y="0"/>
                    </a:moveTo>
                    <a:lnTo>
                      <a:pt x="0" y="257135"/>
                    </a:lnTo>
                    <a:lnTo>
                      <a:pt x="64283" y="257135"/>
                    </a:lnTo>
                    <a:cubicBezTo>
                      <a:pt x="117544" y="257135"/>
                      <a:pt x="160709" y="213968"/>
                      <a:pt x="160709" y="160709"/>
                    </a:cubicBezTo>
                    <a:lnTo>
                      <a:pt x="228885" y="160709"/>
                    </a:lnTo>
                    <a:cubicBezTo>
                      <a:pt x="244487" y="160709"/>
                      <a:pt x="257135" y="148061"/>
                      <a:pt x="257135" y="132459"/>
                    </a:cubicBezTo>
                    <a:lnTo>
                      <a:pt x="257135" y="0"/>
                    </a:lnTo>
                    <a:close/>
                  </a:path>
                </a:pathLst>
              </a:custGeom>
              <a:solidFill>
                <a:srgbClr val="FFADA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4000" dirty="0">
                  <a:solidFill>
                    <a:schemeClr val="dk1"/>
                  </a:solidFill>
                  <a:latin typeface="+mj-lt"/>
                  <a:ea typeface="Helvetica Neue"/>
                  <a:cs typeface="Calibri" panose="020F0502020204030204" pitchFamily="34" charset="0"/>
                  <a:sym typeface="Helvetica Neue"/>
                </a:endParaRPr>
              </a:p>
            </p:txBody>
          </p:sp>
        </p:grpSp>
      </p:grpSp>
      <p:pic>
        <p:nvPicPr>
          <p:cNvPr id="2370" name="Google Shape;2370;p21"/>
          <p:cNvPicPr preferRelativeResize="0"/>
          <p:nvPr/>
        </p:nvPicPr>
        <p:blipFill rotWithShape="1">
          <a:blip r:embed="rId14" cstate="print">
            <a:alphaModFix/>
            <a:extLst>
              <a:ext uri="{28A0092B-C50C-407E-A947-70E740481C1C}">
                <a14:useLocalDpi xmlns:a14="http://schemas.microsoft.com/office/drawing/2010/main"/>
              </a:ext>
            </a:extLst>
          </a:blip>
          <a:srcRect/>
          <a:stretch/>
        </p:blipFill>
        <p:spPr>
          <a:xfrm>
            <a:off x="9561217" y="3314308"/>
            <a:ext cx="517000" cy="517000"/>
          </a:xfrm>
          <a:prstGeom prst="rect">
            <a:avLst/>
          </a:prstGeom>
          <a:noFill/>
          <a:ln>
            <a:noFill/>
          </a:ln>
        </p:spPr>
      </p:pic>
      <p:sp>
        <p:nvSpPr>
          <p:cNvPr id="2" name="Footer Placeholder 1" hidden="1"/>
          <p:cNvSpPr>
            <a:spLocks noGrp="1"/>
          </p:cNvSpPr>
          <p:nvPr>
            <p:ph type="ftr" sz="quarter" idx="11"/>
          </p:nvPr>
        </p:nvSpPr>
        <p:spPr/>
        <p:txBody>
          <a:bodyPr/>
          <a:lstStyle/>
          <a:p>
            <a:r>
              <a:rPr lang="en-US" dirty="0"/>
              <a:t> [Internal Use] for Check Point employees​</a:t>
            </a:r>
          </a:p>
        </p:txBody>
      </p:sp>
      <p:sp>
        <p:nvSpPr>
          <p:cNvPr id="3" name="Date Placeholder 2" hidden="1"/>
          <p:cNvSpPr>
            <a:spLocks noGrp="1"/>
          </p:cNvSpPr>
          <p:nvPr>
            <p:ph type="dt" idx="10"/>
          </p:nvPr>
        </p:nvSpPr>
        <p:spPr/>
        <p:txBody>
          <a:bodyPr/>
          <a:lstStyle/>
          <a:p>
            <a:endParaRPr lang="en-US" dirty="0"/>
          </a:p>
        </p:txBody>
      </p:sp>
      <p:pic>
        <p:nvPicPr>
          <p:cNvPr id="90" name="Picture 89" descr="A person sitting in front of a building&#10;&#10;Description automatically generated">
            <a:extLst>
              <a:ext uri="{FF2B5EF4-FFF2-40B4-BE49-F238E27FC236}">
                <a16:creationId xmlns:a16="http://schemas.microsoft.com/office/drawing/2014/main" id="{E07476C3-1FDA-46F2-B47E-47D22CE940C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flipH="1">
            <a:off x="5151924" y="3331751"/>
            <a:ext cx="1469801" cy="1519795"/>
          </a:xfrm>
          <a:prstGeom prst="ellipse">
            <a:avLst/>
          </a:prstGeom>
        </p:spPr>
      </p:pic>
      <p:grpSp>
        <p:nvGrpSpPr>
          <p:cNvPr id="92" name="Group 91">
            <a:extLst>
              <a:ext uri="{FF2B5EF4-FFF2-40B4-BE49-F238E27FC236}">
                <a16:creationId xmlns:a16="http://schemas.microsoft.com/office/drawing/2014/main" id="{4B9E4421-4599-47D5-8729-73E4617F29A2}"/>
              </a:ext>
            </a:extLst>
          </p:cNvPr>
          <p:cNvGrpSpPr/>
          <p:nvPr/>
        </p:nvGrpSpPr>
        <p:grpSpPr>
          <a:xfrm>
            <a:off x="4777727" y="2782877"/>
            <a:ext cx="2383352" cy="2613615"/>
            <a:chOff x="-1429655" y="2004674"/>
            <a:chExt cx="3671122" cy="4025800"/>
          </a:xfrm>
        </p:grpSpPr>
        <p:sp>
          <p:nvSpPr>
            <p:cNvPr id="94" name="Freeform: Shape 152">
              <a:extLst>
                <a:ext uri="{FF2B5EF4-FFF2-40B4-BE49-F238E27FC236}">
                  <a16:creationId xmlns:a16="http://schemas.microsoft.com/office/drawing/2014/main" id="{B1DA73EF-3AFB-4380-B035-810D652BEE34}"/>
                </a:ext>
              </a:extLst>
            </p:cNvPr>
            <p:cNvSpPr/>
            <p:nvPr/>
          </p:nvSpPr>
          <p:spPr>
            <a:xfrm>
              <a:off x="-1061320" y="2727198"/>
              <a:ext cx="2284481" cy="2580246"/>
            </a:xfrm>
            <a:custGeom>
              <a:avLst/>
              <a:gdLst>
                <a:gd name="connsiteX0" fmla="*/ 1093246 w 1815022"/>
                <a:gd name="connsiteY0" fmla="*/ 2267 h 2050008"/>
                <a:gd name="connsiteX1" fmla="*/ 2224 w 1815022"/>
                <a:gd name="connsiteY1" fmla="*/ 956653 h 2050008"/>
                <a:gd name="connsiteX2" fmla="*/ 956620 w 1815022"/>
                <a:gd name="connsiteY2" fmla="*/ 2047676 h 2050008"/>
                <a:gd name="connsiteX3" fmla="*/ 1699512 w 1815022"/>
                <a:gd name="connsiteY3" fmla="*/ 1796682 h 2050008"/>
                <a:gd name="connsiteX4" fmla="*/ 1707037 w 1815022"/>
                <a:gd name="connsiteY4" fmla="*/ 1685240 h 2050008"/>
                <a:gd name="connsiteX5" fmla="*/ 1595595 w 1815022"/>
                <a:gd name="connsiteY5" fmla="*/ 1677715 h 2050008"/>
                <a:gd name="connsiteX6" fmla="*/ 372585 w 1815022"/>
                <a:gd name="connsiteY6" fmla="*/ 1595038 h 2050008"/>
                <a:gd name="connsiteX7" fmla="*/ 455252 w 1815022"/>
                <a:gd name="connsiteY7" fmla="*/ 372028 h 2050008"/>
                <a:gd name="connsiteX8" fmla="*/ 1677605 w 1815022"/>
                <a:gd name="connsiteY8" fmla="*/ 453943 h 2050008"/>
                <a:gd name="connsiteX9" fmla="*/ 1789152 w 1815022"/>
                <a:gd name="connsiteY9" fmla="*/ 459115 h 2050008"/>
                <a:gd name="connsiteX10" fmla="*/ 1796477 w 1815022"/>
                <a:gd name="connsiteY10" fmla="*/ 350025 h 2050008"/>
                <a:gd name="connsiteX11" fmla="*/ 1093246 w 1815022"/>
                <a:gd name="connsiteY11" fmla="*/ 2267 h 205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022" h="2050008">
                  <a:moveTo>
                    <a:pt x="1093246" y="2267"/>
                  </a:moveTo>
                  <a:cubicBezTo>
                    <a:pt x="528423" y="-35461"/>
                    <a:pt x="39953" y="391830"/>
                    <a:pt x="2224" y="956653"/>
                  </a:cubicBezTo>
                  <a:cubicBezTo>
                    <a:pt x="-35504" y="1521486"/>
                    <a:pt x="391787" y="2009947"/>
                    <a:pt x="956620" y="2047676"/>
                  </a:cubicBezTo>
                  <a:cubicBezTo>
                    <a:pt x="1227730" y="2065792"/>
                    <a:pt x="1494934" y="1975514"/>
                    <a:pt x="1699512" y="1796682"/>
                  </a:cubicBezTo>
                  <a:cubicBezTo>
                    <a:pt x="1732364" y="1767983"/>
                    <a:pt x="1735736" y="1718091"/>
                    <a:pt x="1707037" y="1685240"/>
                  </a:cubicBezTo>
                  <a:cubicBezTo>
                    <a:pt x="1678338" y="1652388"/>
                    <a:pt x="1628446" y="1649016"/>
                    <a:pt x="1595595" y="1677715"/>
                  </a:cubicBezTo>
                  <a:cubicBezTo>
                    <a:pt x="1235035" y="1992612"/>
                    <a:pt x="687481" y="1955597"/>
                    <a:pt x="372585" y="1595038"/>
                  </a:cubicBezTo>
                  <a:cubicBezTo>
                    <a:pt x="57688" y="1234488"/>
                    <a:pt x="94702" y="686924"/>
                    <a:pt x="455252" y="372028"/>
                  </a:cubicBezTo>
                  <a:cubicBezTo>
                    <a:pt x="815516" y="57389"/>
                    <a:pt x="1362547" y="94050"/>
                    <a:pt x="1677605" y="453943"/>
                  </a:cubicBezTo>
                  <a:cubicBezTo>
                    <a:pt x="1706980" y="486176"/>
                    <a:pt x="1756920" y="488490"/>
                    <a:pt x="1789152" y="459115"/>
                  </a:cubicBezTo>
                  <a:cubicBezTo>
                    <a:pt x="1820442" y="430597"/>
                    <a:pt x="1823680" y="382467"/>
                    <a:pt x="1796477" y="350025"/>
                  </a:cubicBezTo>
                  <a:cubicBezTo>
                    <a:pt x="1617855" y="144914"/>
                    <a:pt x="1364671" y="19708"/>
                    <a:pt x="1093246" y="2267"/>
                  </a:cubicBezTo>
                  <a:close/>
                </a:path>
              </a:pathLst>
            </a:custGeom>
            <a:gradFill>
              <a:gsLst>
                <a:gs pos="5000">
                  <a:srgbClr val="700046"/>
                </a:gs>
                <a:gs pos="100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95" name="Freeform: Shape 153">
              <a:extLst>
                <a:ext uri="{FF2B5EF4-FFF2-40B4-BE49-F238E27FC236}">
                  <a16:creationId xmlns:a16="http://schemas.microsoft.com/office/drawing/2014/main" id="{8B615270-802B-407A-8CED-BE2A200751FB}"/>
                </a:ext>
              </a:extLst>
            </p:cNvPr>
            <p:cNvSpPr/>
            <p:nvPr/>
          </p:nvSpPr>
          <p:spPr>
            <a:xfrm rot="16480344">
              <a:off x="-1429654" y="2359426"/>
              <a:ext cx="3316301" cy="3316303"/>
            </a:xfrm>
            <a:custGeom>
              <a:avLst/>
              <a:gdLst>
                <a:gd name="connsiteX0" fmla="*/ 1317309 w 2634805"/>
                <a:gd name="connsiteY0" fmla="*/ -51 h 2634805"/>
                <a:gd name="connsiteX1" fmla="*/ 1238347 w 2634805"/>
                <a:gd name="connsiteY1" fmla="*/ 78912 h 2634805"/>
                <a:gd name="connsiteX2" fmla="*/ 1317309 w 2634805"/>
                <a:gd name="connsiteY2" fmla="*/ 157874 h 2634805"/>
                <a:gd name="connsiteX3" fmla="*/ 2476787 w 2634805"/>
                <a:gd name="connsiteY3" fmla="*/ 1317352 h 2634805"/>
                <a:gd name="connsiteX4" fmla="*/ 1317309 w 2634805"/>
                <a:gd name="connsiteY4" fmla="*/ 2476830 h 2634805"/>
                <a:gd name="connsiteX5" fmla="*/ 157830 w 2634805"/>
                <a:gd name="connsiteY5" fmla="*/ 1317352 h 2634805"/>
                <a:gd name="connsiteX6" fmla="*/ 78868 w 2634805"/>
                <a:gd name="connsiteY6" fmla="*/ 1238390 h 2634805"/>
                <a:gd name="connsiteX7" fmla="*/ -94 w 2634805"/>
                <a:gd name="connsiteY7" fmla="*/ 1317352 h 2634805"/>
                <a:gd name="connsiteX8" fmla="*/ 1317309 w 2634805"/>
                <a:gd name="connsiteY8" fmla="*/ 2634755 h 2634805"/>
                <a:gd name="connsiteX9" fmla="*/ 2634712 w 2634805"/>
                <a:gd name="connsiteY9" fmla="*/ 1317352 h 2634805"/>
                <a:gd name="connsiteX10" fmla="*/ 1317309 w 2634805"/>
                <a:gd name="connsiteY10" fmla="*/ -51 h 26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4805" h="2634805">
                  <a:moveTo>
                    <a:pt x="1317309" y="-51"/>
                  </a:moveTo>
                  <a:cubicBezTo>
                    <a:pt x="1273703" y="-51"/>
                    <a:pt x="1238347" y="35306"/>
                    <a:pt x="1238347" y="78912"/>
                  </a:cubicBezTo>
                  <a:cubicBezTo>
                    <a:pt x="1238347" y="122517"/>
                    <a:pt x="1273703" y="157874"/>
                    <a:pt x="1317309" y="157874"/>
                  </a:cubicBezTo>
                  <a:cubicBezTo>
                    <a:pt x="1957674" y="157874"/>
                    <a:pt x="2476787" y="676986"/>
                    <a:pt x="2476787" y="1317352"/>
                  </a:cubicBezTo>
                  <a:cubicBezTo>
                    <a:pt x="2476787" y="1957718"/>
                    <a:pt x="1957674" y="2476830"/>
                    <a:pt x="1317309" y="2476830"/>
                  </a:cubicBezTo>
                  <a:cubicBezTo>
                    <a:pt x="676943" y="2476830"/>
                    <a:pt x="157830" y="1957718"/>
                    <a:pt x="157830" y="1317352"/>
                  </a:cubicBezTo>
                  <a:cubicBezTo>
                    <a:pt x="157830" y="1273747"/>
                    <a:pt x="122474" y="1238390"/>
                    <a:pt x="78868" y="1238390"/>
                  </a:cubicBezTo>
                  <a:cubicBezTo>
                    <a:pt x="35259" y="1238390"/>
                    <a:pt x="-94" y="1273747"/>
                    <a:pt x="-94" y="1317352"/>
                  </a:cubicBezTo>
                  <a:cubicBezTo>
                    <a:pt x="-94" y="2043729"/>
                    <a:pt x="590932" y="2634755"/>
                    <a:pt x="1317309" y="2634755"/>
                  </a:cubicBezTo>
                  <a:cubicBezTo>
                    <a:pt x="2043685" y="2634755"/>
                    <a:pt x="2634712" y="2043729"/>
                    <a:pt x="2634712" y="1317352"/>
                  </a:cubicBezTo>
                  <a:cubicBezTo>
                    <a:pt x="2634712" y="590976"/>
                    <a:pt x="2043781" y="-51"/>
                    <a:pt x="1317309" y="-51"/>
                  </a:cubicBezTo>
                  <a:close/>
                </a:path>
              </a:pathLst>
            </a:custGeom>
            <a:gradFill>
              <a:gsLst>
                <a:gs pos="100000">
                  <a:srgbClr val="8C00FF"/>
                </a:gs>
                <a:gs pos="58000">
                  <a:srgbClr val="7D0085"/>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sp>
          <p:nvSpPr>
            <p:cNvPr id="96" name="Freeform: Shape 154">
              <a:extLst>
                <a:ext uri="{FF2B5EF4-FFF2-40B4-BE49-F238E27FC236}">
                  <a16:creationId xmlns:a16="http://schemas.microsoft.com/office/drawing/2014/main" id="{6E55DDA0-258B-4FA5-88BA-360D75CE5CDF}"/>
                </a:ext>
              </a:extLst>
            </p:cNvPr>
            <p:cNvSpPr/>
            <p:nvPr/>
          </p:nvSpPr>
          <p:spPr>
            <a:xfrm>
              <a:off x="-1222133" y="2004674"/>
              <a:ext cx="3463600" cy="4025800"/>
            </a:xfrm>
            <a:custGeom>
              <a:avLst/>
              <a:gdLst>
                <a:gd name="connsiteX0" fmla="*/ 1152432 w 2751833"/>
                <a:gd name="connsiteY0" fmla="*/ -45 h 3198502"/>
                <a:gd name="connsiteX1" fmla="*/ 21624 w 2751833"/>
                <a:gd name="connsiteY1" fmla="*/ 468395 h 3198502"/>
                <a:gd name="connsiteX2" fmla="*/ 24482 w 2751833"/>
                <a:gd name="connsiteY2" fmla="*/ 580028 h 3198502"/>
                <a:gd name="connsiteX3" fmla="*/ 133257 w 2751833"/>
                <a:gd name="connsiteY3" fmla="*/ 580028 h 3198502"/>
                <a:gd name="connsiteX4" fmla="*/ 2171607 w 2751833"/>
                <a:gd name="connsiteY4" fmla="*/ 580028 h 3198502"/>
                <a:gd name="connsiteX5" fmla="*/ 2171607 w 2751833"/>
                <a:gd name="connsiteY5" fmla="*/ 2618378 h 3198502"/>
                <a:gd name="connsiteX6" fmla="*/ 133267 w 2751833"/>
                <a:gd name="connsiteY6" fmla="*/ 2618388 h 3198502"/>
                <a:gd name="connsiteX7" fmla="*/ 133257 w 2751833"/>
                <a:gd name="connsiteY7" fmla="*/ 2618378 h 3198502"/>
                <a:gd name="connsiteX8" fmla="*/ 21624 w 2751833"/>
                <a:gd name="connsiteY8" fmla="*/ 2621236 h 3198502"/>
                <a:gd name="connsiteX9" fmla="*/ 21624 w 2751833"/>
                <a:gd name="connsiteY9" fmla="*/ 2730011 h 3198502"/>
                <a:gd name="connsiteX10" fmla="*/ 2283297 w 2751833"/>
                <a:gd name="connsiteY10" fmla="*/ 2730068 h 3198502"/>
                <a:gd name="connsiteX11" fmla="*/ 2283364 w 2751833"/>
                <a:gd name="connsiteY11" fmla="*/ 468395 h 3198502"/>
                <a:gd name="connsiteX12" fmla="*/ 1152432 w 2751833"/>
                <a:gd name="connsiteY12" fmla="*/ -45 h 319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833" h="3198502">
                  <a:moveTo>
                    <a:pt x="1152432" y="-45"/>
                  </a:moveTo>
                  <a:cubicBezTo>
                    <a:pt x="728055" y="-1230"/>
                    <a:pt x="320842" y="167456"/>
                    <a:pt x="21624" y="468395"/>
                  </a:cubicBezTo>
                  <a:cubicBezTo>
                    <a:pt x="-8418" y="500008"/>
                    <a:pt x="-7132" y="549986"/>
                    <a:pt x="24482" y="580028"/>
                  </a:cubicBezTo>
                  <a:cubicBezTo>
                    <a:pt x="54952" y="608984"/>
                    <a:pt x="102777" y="608984"/>
                    <a:pt x="133257" y="580028"/>
                  </a:cubicBezTo>
                  <a:cubicBezTo>
                    <a:pt x="696366" y="17726"/>
                    <a:pt x="1608499" y="17726"/>
                    <a:pt x="2171607" y="580028"/>
                  </a:cubicBezTo>
                  <a:cubicBezTo>
                    <a:pt x="2733582" y="1142003"/>
                    <a:pt x="2733582" y="2056403"/>
                    <a:pt x="2171607" y="2618378"/>
                  </a:cubicBezTo>
                  <a:cubicBezTo>
                    <a:pt x="1608737" y="3181248"/>
                    <a:pt x="696146" y="3181258"/>
                    <a:pt x="133267" y="2618388"/>
                  </a:cubicBezTo>
                  <a:cubicBezTo>
                    <a:pt x="133267" y="2618388"/>
                    <a:pt x="133257" y="2618378"/>
                    <a:pt x="133257" y="2618378"/>
                  </a:cubicBezTo>
                  <a:cubicBezTo>
                    <a:pt x="101644" y="2588336"/>
                    <a:pt x="51666" y="2589622"/>
                    <a:pt x="21624" y="2621236"/>
                  </a:cubicBezTo>
                  <a:cubicBezTo>
                    <a:pt x="-7332" y="2651706"/>
                    <a:pt x="-7332" y="2699531"/>
                    <a:pt x="21624" y="2730011"/>
                  </a:cubicBezTo>
                  <a:cubicBezTo>
                    <a:pt x="646150" y="3354575"/>
                    <a:pt x="1658743" y="3354604"/>
                    <a:pt x="2283297" y="2730068"/>
                  </a:cubicBezTo>
                  <a:cubicBezTo>
                    <a:pt x="2907861" y="2105543"/>
                    <a:pt x="2907890" y="1092959"/>
                    <a:pt x="2283364" y="468395"/>
                  </a:cubicBezTo>
                  <a:cubicBezTo>
                    <a:pt x="1983431" y="168444"/>
                    <a:pt x="1576619" y="-61"/>
                    <a:pt x="1152432" y="-45"/>
                  </a:cubicBezTo>
                  <a:close/>
                </a:path>
              </a:pathLst>
            </a:custGeom>
            <a:gradFill>
              <a:gsLst>
                <a:gs pos="37000">
                  <a:srgbClr val="E45785"/>
                </a:gs>
                <a:gs pos="0">
                  <a:srgbClr val="B01C4D"/>
                </a:gs>
              </a:gsLst>
              <a:lin ang="8100000" scaled="1"/>
            </a:gradFill>
            <a:ln w="127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000" kern="1200" dirty="0">
                <a:solidFill>
                  <a:srgbClr val="4D4D4F"/>
                </a:solidFill>
                <a:latin typeface="Calibri" panose="020F0502020204030204" pitchFamily="34" charset="0"/>
                <a:ea typeface="+mn-ea"/>
                <a:cs typeface="Calibri" panose="020F0502020204030204" pitchFamily="34" charset="0"/>
              </a:endParaRPr>
            </a:p>
          </p:txBody>
        </p:sp>
      </p:grpSp>
      <p:pic>
        <p:nvPicPr>
          <p:cNvPr id="4" name="Picture 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356312" y="2480320"/>
            <a:ext cx="1521949" cy="635863"/>
          </a:xfrm>
          <a:prstGeom prst="rect">
            <a:avLst/>
          </a:prstGeom>
        </p:spPr>
      </p:pic>
      <p:pic>
        <p:nvPicPr>
          <p:cNvPr id="5" name="Picture 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384163" y="4403167"/>
            <a:ext cx="1521949" cy="635863"/>
          </a:xfrm>
          <a:prstGeom prst="rect">
            <a:avLst/>
          </a:prstGeom>
        </p:spPr>
      </p:pic>
      <p:pic>
        <p:nvPicPr>
          <p:cNvPr id="6" name="Picture 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692968" y="1166090"/>
            <a:ext cx="1390797" cy="581068"/>
          </a:xfrm>
          <a:prstGeom prst="rect">
            <a:avLst/>
          </a:prstGeom>
        </p:spPr>
      </p:pic>
      <p:pic>
        <p:nvPicPr>
          <p:cNvPr id="7" name="Picture 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385064" y="1134914"/>
            <a:ext cx="1429777" cy="597354"/>
          </a:xfrm>
          <a:prstGeom prst="rect">
            <a:avLst/>
          </a:prstGeom>
        </p:spPr>
      </p:pic>
      <p:sp>
        <p:nvSpPr>
          <p:cNvPr id="78" name="Google Shape;1824;p15"/>
          <p:cNvSpPr txBox="1">
            <a:spLocks noGrp="1"/>
          </p:cNvSpPr>
          <p:nvPr>
            <p:ph type="title"/>
          </p:nvPr>
        </p:nvSpPr>
        <p:spPr>
          <a:xfrm>
            <a:off x="583842" y="460552"/>
            <a:ext cx="11022371" cy="914400"/>
          </a:xfrm>
        </p:spPr>
        <p:txBody>
          <a:bodyPr/>
          <a:lstStyle/>
          <a:p>
            <a:pPr lvl="0"/>
            <a:r>
              <a:rPr lang="en-US" sz="3200" b="1" dirty="0">
                <a:latin typeface="+mj-lt"/>
                <a:sym typeface="Calibri"/>
              </a:rPr>
              <a:t>HARMONY: 360</a:t>
            </a:r>
            <a:r>
              <a:rPr lang="en-US" sz="3200" b="1" dirty="0">
                <a:latin typeface="+mj-lt"/>
              </a:rPr>
              <a:t>°</a:t>
            </a:r>
            <a:r>
              <a:rPr lang="en-US" sz="3200" b="1" dirty="0">
                <a:latin typeface="+mj-lt"/>
                <a:sym typeface="Calibri"/>
              </a:rPr>
              <a:t> DATA PROTECTION</a:t>
            </a:r>
            <a:br>
              <a:rPr lang="en-US" sz="3200" b="1" dirty="0">
                <a:latin typeface="+mj-lt"/>
                <a:sym typeface="Calibri"/>
              </a:rPr>
            </a:br>
            <a:br>
              <a:rPr lang="en-US" sz="3200" b="1" dirty="0">
                <a:latin typeface="+mj-lt"/>
                <a:sym typeface="Calibri"/>
              </a:rPr>
            </a:br>
            <a:endParaRPr lang="en-US" sz="3200" b="1" dirty="0">
              <a:latin typeface="+mj-lt"/>
            </a:endParaRPr>
          </a:p>
        </p:txBody>
      </p:sp>
    </p:spTree>
    <p:extLst>
      <p:ext uri="{BB962C8B-B14F-4D97-AF65-F5344CB8AC3E}">
        <p14:creationId xmlns:p14="http://schemas.microsoft.com/office/powerpoint/2010/main" val="36511852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hidden="1"/>
          <p:cNvSpPr>
            <a:spLocks noGrp="1"/>
          </p:cNvSpPr>
          <p:nvPr>
            <p:ph type="ftr" sz="quarter" idx="11"/>
          </p:nvPr>
        </p:nvSpPr>
        <p:spPr/>
        <p:txBody>
          <a:bodyPr/>
          <a:lstStyle/>
          <a:p>
            <a:pPr defTabSz="914126">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defTabSz="914126" fontAlgn="base">
              <a:spcBef>
                <a:spcPct val="20000"/>
              </a:spcBef>
              <a:spcAft>
                <a:spcPct val="0"/>
              </a:spcAft>
              <a:buClr>
                <a:srgbClr val="FF0000"/>
              </a:buClr>
              <a:buSzPct val="65000"/>
              <a:defRPr/>
            </a:pPr>
            <a:endParaRPr lang="en-US" kern="1200" dirty="0">
              <a:solidFill>
                <a:srgbClr val="4D4D4F">
                  <a:tint val="75000"/>
                </a:srgbClr>
              </a:solidFill>
              <a:latin typeface="Helvetica" pitchFamily="34" charset="0"/>
              <a:ea typeface="+mn-ea"/>
              <a:cs typeface="+mn-cs"/>
            </a:endParaRPr>
          </a:p>
        </p:txBody>
      </p:sp>
      <p:sp>
        <p:nvSpPr>
          <p:cNvPr id="56" name="TextBox 55">
            <a:extLst>
              <a:ext uri="{FF2B5EF4-FFF2-40B4-BE49-F238E27FC236}">
                <a16:creationId xmlns:a16="http://schemas.microsoft.com/office/drawing/2014/main" id="{972886A0-C13A-44E0-94D0-89537620245D}"/>
              </a:ext>
            </a:extLst>
          </p:cNvPr>
          <p:cNvSpPr txBox="1"/>
          <p:nvPr/>
        </p:nvSpPr>
        <p:spPr bwMode="auto">
          <a:xfrm>
            <a:off x="907439" y="4668767"/>
            <a:ext cx="2935250"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700046"/>
                </a:solidFill>
                <a:latin typeface="Calibri" panose="020F0502020204030204" pitchFamily="34" charset="0"/>
                <a:ea typeface="+mn-ea"/>
                <a:cs typeface="Calibri" panose="020F0502020204030204" pitchFamily="34" charset="0"/>
              </a:rPr>
              <a:t>SIMPLE TO USE</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Consolidated security products</a:t>
            </a:r>
          </a:p>
        </p:txBody>
      </p:sp>
      <p:sp>
        <p:nvSpPr>
          <p:cNvPr id="57" name="TextBox 56">
            <a:extLst>
              <a:ext uri="{FF2B5EF4-FFF2-40B4-BE49-F238E27FC236}">
                <a16:creationId xmlns:a16="http://schemas.microsoft.com/office/drawing/2014/main" id="{E2993D28-C1F7-45CC-8FEE-619A551A1F52}"/>
              </a:ext>
            </a:extLst>
          </p:cNvPr>
          <p:cNvSpPr txBox="1"/>
          <p:nvPr/>
        </p:nvSpPr>
        <p:spPr bwMode="auto">
          <a:xfrm>
            <a:off x="8934680" y="4668768"/>
            <a:ext cx="2377574"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D51067"/>
                </a:solidFill>
                <a:latin typeface="Calibri" panose="020F0502020204030204" pitchFamily="34" charset="0"/>
                <a:ea typeface="+mn-ea"/>
                <a:cs typeface="Calibri" panose="020F0502020204030204" pitchFamily="34" charset="0"/>
              </a:rPr>
              <a:t>SIMPLE TO BUY </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Unified commercial package </a:t>
            </a:r>
            <a:endParaRPr lang="en-US" sz="1800" kern="1200" dirty="0">
              <a:solidFill>
                <a:srgbClr val="4D4D4F"/>
              </a:solidFill>
              <a:latin typeface="Calibri" panose="020F0502020204030204" pitchFamily="34" charset="0"/>
              <a:ea typeface="+mn-ea"/>
              <a:cs typeface="Calibri" panose="020F0502020204030204" pitchFamily="34" charset="0"/>
            </a:endParaRPr>
          </a:p>
        </p:txBody>
      </p:sp>
      <p:sp>
        <p:nvSpPr>
          <p:cNvPr id="58" name="TextBox 57">
            <a:extLst>
              <a:ext uri="{FF2B5EF4-FFF2-40B4-BE49-F238E27FC236}">
                <a16:creationId xmlns:a16="http://schemas.microsoft.com/office/drawing/2014/main" id="{5605F5E1-53B0-4837-A8FC-37E26654741C}"/>
              </a:ext>
            </a:extLst>
          </p:cNvPr>
          <p:cNvSpPr txBox="1"/>
          <p:nvPr/>
        </p:nvSpPr>
        <p:spPr bwMode="auto">
          <a:xfrm>
            <a:off x="4969078" y="4668768"/>
            <a:ext cx="2444668" cy="1261835"/>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algn="ctr" defTabSz="913852">
              <a:buClrTx/>
              <a:defRPr/>
            </a:pPr>
            <a:r>
              <a:rPr lang="en-US" sz="1800" b="1" kern="1200" dirty="0">
                <a:solidFill>
                  <a:srgbClr val="7E008E"/>
                </a:solidFill>
                <a:latin typeface="Calibri" panose="020F0502020204030204" pitchFamily="34" charset="0"/>
                <a:ea typeface="+mn-ea"/>
                <a:cs typeface="Calibri" panose="020F0502020204030204" pitchFamily="34" charset="0"/>
              </a:rPr>
              <a:t>SIMPLE TO MANAGE</a:t>
            </a:r>
          </a:p>
          <a:p>
            <a:pPr algn="ctr" defTabSz="913852">
              <a:buClrTx/>
              <a:defRPr/>
            </a:pPr>
            <a:endParaRPr lang="en-US" sz="1800" b="1" kern="1200" dirty="0">
              <a:solidFill>
                <a:srgbClr val="4D4D4F"/>
              </a:solidFill>
              <a:latin typeface="Calibri" panose="020F0502020204030204" pitchFamily="34" charset="0"/>
              <a:ea typeface="+mn-ea"/>
              <a:cs typeface="Calibri" panose="020F0502020204030204" pitchFamily="34" charset="0"/>
            </a:endParaRPr>
          </a:p>
          <a:p>
            <a:pPr algn="ctr" defTabSz="913852">
              <a:buClrTx/>
              <a:defRPr/>
            </a:pPr>
            <a:r>
              <a:rPr lang="en-US" sz="2000" b="1" kern="1200" dirty="0">
                <a:solidFill>
                  <a:srgbClr val="4D4D4F"/>
                </a:solidFill>
                <a:latin typeface="Calibri" panose="020F0502020204030204" pitchFamily="34" charset="0"/>
                <a:ea typeface="+mn-ea"/>
                <a:cs typeface="Calibri" panose="020F0502020204030204" pitchFamily="34" charset="0"/>
              </a:rPr>
              <a:t>User-centric security management </a:t>
            </a:r>
          </a:p>
        </p:txBody>
      </p:sp>
      <p:cxnSp>
        <p:nvCxnSpPr>
          <p:cNvPr id="59" name="Straight Connector 58">
            <a:extLst>
              <a:ext uri="{FF2B5EF4-FFF2-40B4-BE49-F238E27FC236}">
                <a16:creationId xmlns:a16="http://schemas.microsoft.com/office/drawing/2014/main" id="{28D758BB-D2D6-4DFC-BE3D-46FB231AFAA6}"/>
              </a:ext>
            </a:extLst>
          </p:cNvPr>
          <p:cNvCxnSpPr>
            <a:cxnSpLocks/>
          </p:cNvCxnSpPr>
          <p:nvPr/>
        </p:nvCxnSpPr>
        <p:spPr bwMode="auto">
          <a:xfrm>
            <a:off x="1824813" y="5191025"/>
            <a:ext cx="1079719" cy="0"/>
          </a:xfrm>
          <a:prstGeom prst="line">
            <a:avLst/>
          </a:prstGeom>
          <a:solidFill>
            <a:schemeClr val="bg1"/>
          </a:solidFill>
          <a:ln w="19050" cap="rnd" cmpd="sng" algn="ctr">
            <a:solidFill>
              <a:srgbClr val="70004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a:extLst>
              <a:ext uri="{FF2B5EF4-FFF2-40B4-BE49-F238E27FC236}">
                <a16:creationId xmlns:a16="http://schemas.microsoft.com/office/drawing/2014/main" id="{79FEBCF4-45C2-482E-8AED-0811E5B03D68}"/>
              </a:ext>
            </a:extLst>
          </p:cNvPr>
          <p:cNvCxnSpPr>
            <a:cxnSpLocks/>
          </p:cNvCxnSpPr>
          <p:nvPr/>
        </p:nvCxnSpPr>
        <p:spPr bwMode="auto">
          <a:xfrm>
            <a:off x="5625918" y="5191025"/>
            <a:ext cx="1079719" cy="0"/>
          </a:xfrm>
          <a:prstGeom prst="line">
            <a:avLst/>
          </a:prstGeom>
          <a:solidFill>
            <a:schemeClr val="bg1"/>
          </a:solidFill>
          <a:ln w="19050" cap="rnd" cmpd="sng" algn="ctr">
            <a:solidFill>
              <a:srgbClr val="7E008E"/>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a:extLst>
              <a:ext uri="{FF2B5EF4-FFF2-40B4-BE49-F238E27FC236}">
                <a16:creationId xmlns:a16="http://schemas.microsoft.com/office/drawing/2014/main" id="{D05E0AD0-A750-4A60-8983-F15DBCB84C7A}"/>
              </a:ext>
            </a:extLst>
          </p:cNvPr>
          <p:cNvCxnSpPr>
            <a:cxnSpLocks/>
          </p:cNvCxnSpPr>
          <p:nvPr/>
        </p:nvCxnSpPr>
        <p:spPr bwMode="auto">
          <a:xfrm>
            <a:off x="9569860" y="5182316"/>
            <a:ext cx="1079719" cy="0"/>
          </a:xfrm>
          <a:prstGeom prst="line">
            <a:avLst/>
          </a:prstGeom>
          <a:solidFill>
            <a:schemeClr val="bg1"/>
          </a:solidFill>
          <a:ln w="19050" cap="rnd" cmpd="sng" algn="ctr">
            <a:solidFill>
              <a:srgbClr val="E4578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2" name="Group 61">
            <a:extLst>
              <a:ext uri="{FF2B5EF4-FFF2-40B4-BE49-F238E27FC236}">
                <a16:creationId xmlns:a16="http://schemas.microsoft.com/office/drawing/2014/main" id="{966E8D95-66AA-4030-B4F8-B6F63753E6BF}"/>
              </a:ext>
            </a:extLst>
          </p:cNvPr>
          <p:cNvGrpSpPr/>
          <p:nvPr/>
        </p:nvGrpSpPr>
        <p:grpSpPr>
          <a:xfrm>
            <a:off x="4638457" y="1585702"/>
            <a:ext cx="2835772" cy="2769036"/>
            <a:chOff x="6468325" y="1561966"/>
            <a:chExt cx="4376534" cy="4394093"/>
          </a:xfrm>
        </p:grpSpPr>
        <p:grpSp>
          <p:nvGrpSpPr>
            <p:cNvPr id="63" name="Group 62">
              <a:extLst>
                <a:ext uri="{FF2B5EF4-FFF2-40B4-BE49-F238E27FC236}">
                  <a16:creationId xmlns:a16="http://schemas.microsoft.com/office/drawing/2014/main" id="{0837934D-F9BE-4CE0-876D-F9E9E27A3002}"/>
                </a:ext>
              </a:extLst>
            </p:cNvPr>
            <p:cNvGrpSpPr/>
            <p:nvPr/>
          </p:nvGrpSpPr>
          <p:grpSpPr>
            <a:xfrm>
              <a:off x="6468325" y="1561966"/>
              <a:ext cx="4376534" cy="4394093"/>
              <a:chOff x="6468422" y="1561478"/>
              <a:chExt cx="4377674" cy="4395238"/>
            </a:xfrm>
          </p:grpSpPr>
          <p:sp>
            <p:nvSpPr>
              <p:cNvPr id="65" name="Freeform: Shape 35">
                <a:extLst>
                  <a:ext uri="{FF2B5EF4-FFF2-40B4-BE49-F238E27FC236}">
                    <a16:creationId xmlns:a16="http://schemas.microsoft.com/office/drawing/2014/main" id="{32BAFA30-4383-4D85-9363-91C63DA0A0C0}"/>
                  </a:ext>
                </a:extLst>
              </p:cNvPr>
              <p:cNvSpPr/>
              <p:nvPr/>
            </p:nvSpPr>
            <p:spPr>
              <a:xfrm>
                <a:off x="8467149" y="1561478"/>
                <a:ext cx="1968650" cy="3015564"/>
              </a:xfrm>
              <a:custGeom>
                <a:avLst/>
                <a:gdLst>
                  <a:gd name="connsiteX0" fmla="*/ 1349026 w 2194892"/>
                  <a:gd name="connsiteY0" fmla="*/ 1645920 h 3362118"/>
                  <a:gd name="connsiteX1" fmla="*/ 750284 w 2194892"/>
                  <a:gd name="connsiteY1" fmla="*/ 3148870 h 3362118"/>
                  <a:gd name="connsiteX2" fmla="*/ 750284 w 2194892"/>
                  <a:gd name="connsiteY2" fmla="*/ 3148870 h 3362118"/>
                  <a:gd name="connsiteX3" fmla="*/ 0 w 2194892"/>
                  <a:gd name="connsiteY3" fmla="*/ 3320320 h 3362118"/>
                  <a:gd name="connsiteX4" fmla="*/ 0 w 2194892"/>
                  <a:gd name="connsiteY4" fmla="*/ 3320320 h 3362118"/>
                  <a:gd name="connsiteX5" fmla="*/ 1548384 w 2194892"/>
                  <a:gd name="connsiteY5" fmla="*/ 2851499 h 3362118"/>
                  <a:gd name="connsiteX6" fmla="*/ 2183130 w 2194892"/>
                  <a:gd name="connsiteY6" fmla="*/ 1007174 h 3362118"/>
                  <a:gd name="connsiteX7" fmla="*/ 2183130 w 2194892"/>
                  <a:gd name="connsiteY7" fmla="*/ 1007174 h 3362118"/>
                  <a:gd name="connsiteX8" fmla="*/ 303086 w 2194892"/>
                  <a:gd name="connsiteY8" fmla="*/ 0 h 3362118"/>
                  <a:gd name="connsiteX9" fmla="*/ 1349026 w 2194892"/>
                  <a:gd name="connsiteY9" fmla="*/ 1645920 h 336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4892" h="3362118">
                    <a:moveTo>
                      <a:pt x="1349026" y="1645920"/>
                    </a:moveTo>
                    <a:cubicBezTo>
                      <a:pt x="1487901" y="2623280"/>
                      <a:pt x="750284" y="3148870"/>
                      <a:pt x="750284" y="3148870"/>
                    </a:cubicBezTo>
                    <a:lnTo>
                      <a:pt x="750284" y="3148870"/>
                    </a:lnTo>
                    <a:cubicBezTo>
                      <a:pt x="539325" y="3317253"/>
                      <a:pt x="263157" y="3380356"/>
                      <a:pt x="0" y="3320320"/>
                    </a:cubicBezTo>
                    <a:lnTo>
                      <a:pt x="0" y="3320320"/>
                    </a:lnTo>
                    <a:cubicBezTo>
                      <a:pt x="0" y="3320320"/>
                      <a:pt x="870776" y="3569399"/>
                      <a:pt x="1548384" y="2851499"/>
                    </a:cubicBezTo>
                    <a:cubicBezTo>
                      <a:pt x="2334863" y="2018062"/>
                      <a:pt x="2183130" y="1007174"/>
                      <a:pt x="2183130" y="1007174"/>
                    </a:cubicBezTo>
                    <a:lnTo>
                      <a:pt x="2183130" y="1007174"/>
                    </a:lnTo>
                    <a:cubicBezTo>
                      <a:pt x="1742685" y="402477"/>
                      <a:pt x="1050512" y="31664"/>
                      <a:pt x="303086" y="0"/>
                    </a:cubicBezTo>
                    <a:cubicBezTo>
                      <a:pt x="311944" y="5144"/>
                      <a:pt x="1188720" y="517303"/>
                      <a:pt x="1349026" y="1645920"/>
                    </a:cubicBezTo>
                    <a:close/>
                  </a:path>
                </a:pathLst>
              </a:custGeom>
              <a:solidFill>
                <a:srgbClr val="700046"/>
              </a:solidFill>
              <a:ln w="9525" cap="flat">
                <a:noFill/>
                <a:prstDash val="solid"/>
                <a:miter/>
              </a:ln>
              <a:effectLst>
                <a:outerShdw blurRad="50800" dist="38100" dir="8100000" algn="tr"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66" name="Freeform: Shape 36">
                <a:extLst>
                  <a:ext uri="{FF2B5EF4-FFF2-40B4-BE49-F238E27FC236}">
                    <a16:creationId xmlns:a16="http://schemas.microsoft.com/office/drawing/2014/main" id="{726A9806-1649-4493-9862-D7614F6B36E0}"/>
                  </a:ext>
                </a:extLst>
              </p:cNvPr>
              <p:cNvSpPr/>
              <p:nvPr/>
            </p:nvSpPr>
            <p:spPr>
              <a:xfrm>
                <a:off x="7002040" y="1565371"/>
                <a:ext cx="2711333" cy="2826347"/>
              </a:xfrm>
              <a:custGeom>
                <a:avLst/>
                <a:gdLst>
                  <a:gd name="connsiteX0" fmla="*/ 1939385 w 3022925"/>
                  <a:gd name="connsiteY0" fmla="*/ 1052609 h 3151157"/>
                  <a:gd name="connsiteX1" fmla="*/ 2740628 w 3022925"/>
                  <a:gd name="connsiteY1" fmla="*/ 2457928 h 3151157"/>
                  <a:gd name="connsiteX2" fmla="*/ 2406682 w 3022925"/>
                  <a:gd name="connsiteY2" fmla="*/ 3151157 h 3151157"/>
                  <a:gd name="connsiteX3" fmla="*/ 2406682 w 3022925"/>
                  <a:gd name="connsiteY3" fmla="*/ 3151157 h 3151157"/>
                  <a:gd name="connsiteX4" fmla="*/ 3005519 w 3022925"/>
                  <a:gd name="connsiteY4" fmla="*/ 1648303 h 3151157"/>
                  <a:gd name="connsiteX5" fmla="*/ 1959578 w 3022925"/>
                  <a:gd name="connsiteY5" fmla="*/ 2383 h 3151157"/>
                  <a:gd name="connsiteX6" fmla="*/ 1853660 w 3022925"/>
                  <a:gd name="connsiteY6" fmla="*/ 1 h 3151157"/>
                  <a:gd name="connsiteX7" fmla="*/ 0 w 3022925"/>
                  <a:gd name="connsiteY7" fmla="*/ 843917 h 3151157"/>
                  <a:gd name="connsiteX8" fmla="*/ 1939385 w 3022925"/>
                  <a:gd name="connsiteY8" fmla="*/ 1052609 h 315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2925" h="3151157">
                    <a:moveTo>
                      <a:pt x="1939385" y="1052609"/>
                    </a:moveTo>
                    <a:cubicBezTo>
                      <a:pt x="2789777" y="1553529"/>
                      <a:pt x="2740628" y="2457928"/>
                      <a:pt x="2740628" y="2457928"/>
                    </a:cubicBezTo>
                    <a:cubicBezTo>
                      <a:pt x="2740838" y="2727838"/>
                      <a:pt x="2617880" y="2983089"/>
                      <a:pt x="2406682" y="3151157"/>
                    </a:cubicBezTo>
                    <a:lnTo>
                      <a:pt x="2406682" y="3151157"/>
                    </a:lnTo>
                    <a:cubicBezTo>
                      <a:pt x="2406682" y="3151157"/>
                      <a:pt x="3144393" y="2625758"/>
                      <a:pt x="3005519" y="1648303"/>
                    </a:cubicBezTo>
                    <a:cubicBezTo>
                      <a:pt x="2845213" y="519686"/>
                      <a:pt x="1968436" y="7526"/>
                      <a:pt x="1959578" y="2383"/>
                    </a:cubicBezTo>
                    <a:cubicBezTo>
                      <a:pt x="1924431" y="954"/>
                      <a:pt x="1889189" y="1"/>
                      <a:pt x="1853660" y="1"/>
                    </a:cubicBezTo>
                    <a:cubicBezTo>
                      <a:pt x="1142638" y="-779"/>
                      <a:pt x="466287" y="307141"/>
                      <a:pt x="0" y="843917"/>
                    </a:cubicBezTo>
                    <a:cubicBezTo>
                      <a:pt x="2667" y="842869"/>
                      <a:pt x="953167" y="471965"/>
                      <a:pt x="1939385" y="1052609"/>
                    </a:cubicBezTo>
                    <a:close/>
                  </a:path>
                </a:pathLst>
              </a:custGeom>
              <a:solidFill>
                <a:srgbClr val="7D00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67" name="Freeform: Shape 37">
                <a:extLst>
                  <a:ext uri="{FF2B5EF4-FFF2-40B4-BE49-F238E27FC236}">
                    <a16:creationId xmlns:a16="http://schemas.microsoft.com/office/drawing/2014/main" id="{6C4A6A5A-BA3B-4DB0-9759-B8466831D280}"/>
                  </a:ext>
                </a:extLst>
              </p:cNvPr>
              <p:cNvSpPr/>
              <p:nvPr/>
            </p:nvSpPr>
            <p:spPr>
              <a:xfrm>
                <a:off x="7926021" y="2466104"/>
                <a:ext cx="2920075" cy="2475468"/>
              </a:xfrm>
              <a:custGeom>
                <a:avLst/>
                <a:gdLst>
                  <a:gd name="connsiteX0" fmla="*/ 2783872 w 3255658"/>
                  <a:gd name="connsiteY0" fmla="*/ 0 h 2759954"/>
                  <a:gd name="connsiteX1" fmla="*/ 2783872 w 3255658"/>
                  <a:gd name="connsiteY1" fmla="*/ 0 h 2759954"/>
                  <a:gd name="connsiteX2" fmla="*/ 2149126 w 3255658"/>
                  <a:gd name="connsiteY2" fmla="*/ 1844326 h 2759954"/>
                  <a:gd name="connsiteX3" fmla="*/ 600742 w 3255658"/>
                  <a:gd name="connsiteY3" fmla="*/ 2313146 h 2759954"/>
                  <a:gd name="connsiteX4" fmla="*/ 600742 w 3255658"/>
                  <a:gd name="connsiteY4" fmla="*/ 2313146 h 2759954"/>
                  <a:gd name="connsiteX5" fmla="*/ 0 w 3255658"/>
                  <a:gd name="connsiteY5" fmla="*/ 1835848 h 2759954"/>
                  <a:gd name="connsiteX6" fmla="*/ 1330833 w 3255658"/>
                  <a:gd name="connsiteY6" fmla="*/ 2751582 h 2759954"/>
                  <a:gd name="connsiteX7" fmla="*/ 3168587 w 3255658"/>
                  <a:gd name="connsiteY7" fmla="*/ 2097977 h 2759954"/>
                  <a:gd name="connsiteX8" fmla="*/ 3168587 w 3255658"/>
                  <a:gd name="connsiteY8" fmla="*/ 2098643 h 2759954"/>
                  <a:gd name="connsiteX9" fmla="*/ 2783586 w 3255658"/>
                  <a:gd name="connsiteY9" fmla="*/ 0 h 27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5658" h="2759954">
                    <a:moveTo>
                      <a:pt x="2783872" y="0"/>
                    </a:moveTo>
                    <a:lnTo>
                      <a:pt x="2783872" y="0"/>
                    </a:lnTo>
                    <a:cubicBezTo>
                      <a:pt x="2783872" y="0"/>
                      <a:pt x="2935605" y="1010888"/>
                      <a:pt x="2149126" y="1844326"/>
                    </a:cubicBezTo>
                    <a:cubicBezTo>
                      <a:pt x="1471517" y="2562225"/>
                      <a:pt x="600742" y="2313146"/>
                      <a:pt x="600742" y="2313146"/>
                    </a:cubicBezTo>
                    <a:lnTo>
                      <a:pt x="600742" y="2313146"/>
                    </a:lnTo>
                    <a:cubicBezTo>
                      <a:pt x="338595" y="2253129"/>
                      <a:pt x="117719" y="2077641"/>
                      <a:pt x="0" y="1835848"/>
                    </a:cubicBezTo>
                    <a:cubicBezTo>
                      <a:pt x="21812" y="1886045"/>
                      <a:pt x="378524" y="2672048"/>
                      <a:pt x="1330833" y="2751582"/>
                    </a:cubicBezTo>
                    <a:cubicBezTo>
                      <a:pt x="2472785" y="2846832"/>
                      <a:pt x="3168587" y="2097977"/>
                      <a:pt x="3168587" y="2097977"/>
                    </a:cubicBezTo>
                    <a:lnTo>
                      <a:pt x="3168587" y="2098643"/>
                    </a:lnTo>
                    <a:cubicBezTo>
                      <a:pt x="3365773" y="1376934"/>
                      <a:pt x="3224108" y="604723"/>
                      <a:pt x="2783586" y="0"/>
                    </a:cubicBezTo>
                    <a:close/>
                  </a:path>
                </a:pathLst>
              </a:custGeom>
              <a:solidFill>
                <a:schemeClr val="tx2">
                  <a:lumMod val="50000"/>
                </a:schemeClr>
              </a:solidFill>
              <a:ln w="9525" cap="flat">
                <a:noFill/>
                <a:prstDash val="solid"/>
                <a:miter/>
              </a:ln>
              <a:effectLst>
                <a:outerShdw blurRad="50800" dist="38100" dir="18900000" algn="b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68" name="Freeform: Shape 38">
                <a:extLst>
                  <a:ext uri="{FF2B5EF4-FFF2-40B4-BE49-F238E27FC236}">
                    <a16:creationId xmlns:a16="http://schemas.microsoft.com/office/drawing/2014/main" id="{A9C85453-4FA7-4484-A6CB-17922A25ED8C}"/>
                  </a:ext>
                </a:extLst>
              </p:cNvPr>
              <p:cNvSpPr/>
              <p:nvPr/>
            </p:nvSpPr>
            <p:spPr>
              <a:xfrm>
                <a:off x="7787580" y="3409986"/>
                <a:ext cx="2991265" cy="2368772"/>
              </a:xfrm>
              <a:custGeom>
                <a:avLst/>
                <a:gdLst>
                  <a:gd name="connsiteX0" fmla="*/ 1496514 w 3335029"/>
                  <a:gd name="connsiteY0" fmla="*/ 1685068 h 2640996"/>
                  <a:gd name="connsiteX1" fmla="*/ 165681 w 3335029"/>
                  <a:gd name="connsiteY1" fmla="*/ 769334 h 2640996"/>
                  <a:gd name="connsiteX2" fmla="*/ 162919 w 3335029"/>
                  <a:gd name="connsiteY2" fmla="*/ 0 h 2640996"/>
                  <a:gd name="connsiteX3" fmla="*/ 277219 w 3335029"/>
                  <a:gd name="connsiteY3" fmla="*/ 1610963 h 2640996"/>
                  <a:gd name="connsiteX4" fmla="*/ 1933902 w 3335029"/>
                  <a:gd name="connsiteY4" fmla="*/ 2640330 h 2640996"/>
                  <a:gd name="connsiteX5" fmla="*/ 1933902 w 3335029"/>
                  <a:gd name="connsiteY5" fmla="*/ 2640997 h 2640996"/>
                  <a:gd name="connsiteX6" fmla="*/ 3335030 w 3335029"/>
                  <a:gd name="connsiteY6" fmla="*/ 1032129 h 2640996"/>
                  <a:gd name="connsiteX7" fmla="*/ 3335030 w 3335029"/>
                  <a:gd name="connsiteY7" fmla="*/ 1031462 h 2640996"/>
                  <a:gd name="connsiteX8" fmla="*/ 1496514 w 3335029"/>
                  <a:gd name="connsiteY8" fmla="*/ 1685068 h 26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5029" h="2640996">
                    <a:moveTo>
                      <a:pt x="1496514" y="1685068"/>
                    </a:moveTo>
                    <a:cubicBezTo>
                      <a:pt x="544585" y="1605534"/>
                      <a:pt x="187493" y="820007"/>
                      <a:pt x="165681" y="769334"/>
                    </a:cubicBezTo>
                    <a:cubicBezTo>
                      <a:pt x="48038" y="526599"/>
                      <a:pt x="47018" y="243573"/>
                      <a:pt x="162919" y="0"/>
                    </a:cubicBezTo>
                    <a:cubicBezTo>
                      <a:pt x="135296" y="52483"/>
                      <a:pt x="-252943" y="819150"/>
                      <a:pt x="277219" y="1610963"/>
                    </a:cubicBezTo>
                    <a:cubicBezTo>
                      <a:pt x="914632" y="2563463"/>
                      <a:pt x="1933902" y="2640330"/>
                      <a:pt x="1933902" y="2640330"/>
                    </a:cubicBezTo>
                    <a:lnTo>
                      <a:pt x="1933902" y="2640997"/>
                    </a:lnTo>
                    <a:cubicBezTo>
                      <a:pt x="2620969" y="2345217"/>
                      <a:pt x="3136443" y="1753314"/>
                      <a:pt x="3335030" y="1032129"/>
                    </a:cubicBezTo>
                    <a:lnTo>
                      <a:pt x="3335030" y="1031462"/>
                    </a:lnTo>
                    <a:cubicBezTo>
                      <a:pt x="3335030" y="1031462"/>
                      <a:pt x="2638466" y="1780413"/>
                      <a:pt x="1496514" y="1685068"/>
                    </a:cubicBezTo>
                    <a:close/>
                  </a:path>
                </a:pathLst>
              </a:custGeom>
              <a:solidFill>
                <a:srgbClr val="EA7EA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69" name="Freeform: Shape 39">
                <a:extLst>
                  <a:ext uri="{FF2B5EF4-FFF2-40B4-BE49-F238E27FC236}">
                    <a16:creationId xmlns:a16="http://schemas.microsoft.com/office/drawing/2014/main" id="{44953B53-9F22-4B5E-B712-C5E90F931BBA}"/>
                  </a:ext>
                </a:extLst>
              </p:cNvPr>
              <p:cNvSpPr/>
              <p:nvPr/>
            </p:nvSpPr>
            <p:spPr>
              <a:xfrm>
                <a:off x="6468422" y="2213504"/>
                <a:ext cx="3000163" cy="1950439"/>
              </a:xfrm>
              <a:custGeom>
                <a:avLst/>
                <a:gdLst>
                  <a:gd name="connsiteX0" fmla="*/ 1411990 w 3344948"/>
                  <a:gd name="connsiteY0" fmla="*/ 788795 h 2174587"/>
                  <a:gd name="connsiteX1" fmla="*/ 3010475 w 3344948"/>
                  <a:gd name="connsiteY1" fmla="*/ 1038255 h 2174587"/>
                  <a:gd name="connsiteX2" fmla="*/ 3010475 w 3344948"/>
                  <a:gd name="connsiteY2" fmla="*/ 1038255 h 2174587"/>
                  <a:gd name="connsiteX3" fmla="*/ 3344422 w 3344948"/>
                  <a:gd name="connsiteY3" fmla="*/ 1731770 h 2174587"/>
                  <a:gd name="connsiteX4" fmla="*/ 2542988 w 3344948"/>
                  <a:gd name="connsiteY4" fmla="*/ 326452 h 2174587"/>
                  <a:gd name="connsiteX5" fmla="*/ 603793 w 3344948"/>
                  <a:gd name="connsiteY5" fmla="*/ 117759 h 2174587"/>
                  <a:gd name="connsiteX6" fmla="*/ 4 w 3344948"/>
                  <a:gd name="connsiteY6" fmla="*/ 1731770 h 2174587"/>
                  <a:gd name="connsiteX7" fmla="*/ 39818 w 3344948"/>
                  <a:gd name="connsiteY7" fmla="*/ 2174587 h 2174587"/>
                  <a:gd name="connsiteX8" fmla="*/ 39818 w 3344948"/>
                  <a:gd name="connsiteY8" fmla="*/ 2174587 h 2174587"/>
                  <a:gd name="connsiteX9" fmla="*/ 1411990 w 3344948"/>
                  <a:gd name="connsiteY9" fmla="*/ 788795 h 217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4948" h="2174587">
                    <a:moveTo>
                      <a:pt x="1411990" y="788795"/>
                    </a:moveTo>
                    <a:cubicBezTo>
                      <a:pt x="2334010" y="436370"/>
                      <a:pt x="3010475" y="1038255"/>
                      <a:pt x="3010475" y="1038255"/>
                    </a:cubicBezTo>
                    <a:lnTo>
                      <a:pt x="3010475" y="1038255"/>
                    </a:lnTo>
                    <a:cubicBezTo>
                      <a:pt x="3221749" y="1206390"/>
                      <a:pt x="3344717" y="1461765"/>
                      <a:pt x="3344422" y="1731770"/>
                    </a:cubicBezTo>
                    <a:cubicBezTo>
                      <a:pt x="3344422" y="1731770"/>
                      <a:pt x="3393571" y="827371"/>
                      <a:pt x="2542988" y="326452"/>
                    </a:cubicBezTo>
                    <a:cubicBezTo>
                      <a:pt x="1556960" y="-254573"/>
                      <a:pt x="606460" y="116902"/>
                      <a:pt x="603793" y="117759"/>
                    </a:cubicBezTo>
                    <a:cubicBezTo>
                      <a:pt x="213556" y="564796"/>
                      <a:pt x="-1013" y="1138363"/>
                      <a:pt x="4" y="1731770"/>
                    </a:cubicBezTo>
                    <a:cubicBezTo>
                      <a:pt x="-28" y="1880274"/>
                      <a:pt x="13297" y="2028474"/>
                      <a:pt x="39818" y="2174587"/>
                    </a:cubicBezTo>
                    <a:lnTo>
                      <a:pt x="39818" y="2174587"/>
                    </a:lnTo>
                    <a:cubicBezTo>
                      <a:pt x="39818" y="2174587"/>
                      <a:pt x="341761" y="1198370"/>
                      <a:pt x="1411990" y="788795"/>
                    </a:cubicBezTo>
                    <a:close/>
                  </a:path>
                </a:pathLst>
              </a:custGeom>
              <a:solidFill>
                <a:srgbClr val="7300D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70" name="Freeform: Shape 40">
                <a:extLst>
                  <a:ext uri="{FF2B5EF4-FFF2-40B4-BE49-F238E27FC236}">
                    <a16:creationId xmlns:a16="http://schemas.microsoft.com/office/drawing/2014/main" id="{5614339A-1065-4569-BEDD-A45B867B6E0C}"/>
                  </a:ext>
                </a:extLst>
              </p:cNvPr>
              <p:cNvSpPr/>
              <p:nvPr/>
            </p:nvSpPr>
            <p:spPr>
              <a:xfrm>
                <a:off x="7318793" y="2976590"/>
                <a:ext cx="2215877" cy="2980126"/>
              </a:xfrm>
              <a:custGeom>
                <a:avLst/>
                <a:gdLst>
                  <a:gd name="connsiteX0" fmla="*/ 813848 w 2470531"/>
                  <a:gd name="connsiteY0" fmla="*/ 2093786 h 3322608"/>
                  <a:gd name="connsiteX1" fmla="*/ 699548 w 2470531"/>
                  <a:gd name="connsiteY1" fmla="*/ 482822 h 3322608"/>
                  <a:gd name="connsiteX2" fmla="*/ 1302957 w 2470531"/>
                  <a:gd name="connsiteY2" fmla="*/ 0 h 3322608"/>
                  <a:gd name="connsiteX3" fmla="*/ 1302957 w 2470531"/>
                  <a:gd name="connsiteY3" fmla="*/ 0 h 3322608"/>
                  <a:gd name="connsiteX4" fmla="*/ 111284 w 2470531"/>
                  <a:gd name="connsiteY4" fmla="*/ 1094232 h 3322608"/>
                  <a:gd name="connsiteX5" fmla="*/ 339884 w 2470531"/>
                  <a:gd name="connsiteY5" fmla="*/ 3031331 h 3322608"/>
                  <a:gd name="connsiteX6" fmla="*/ 339312 w 2470531"/>
                  <a:gd name="connsiteY6" fmla="*/ 3031331 h 3322608"/>
                  <a:gd name="connsiteX7" fmla="*/ 2470531 w 2470531"/>
                  <a:gd name="connsiteY7" fmla="*/ 3123819 h 3322608"/>
                  <a:gd name="connsiteX8" fmla="*/ 2470531 w 2470531"/>
                  <a:gd name="connsiteY8" fmla="*/ 3123153 h 3322608"/>
                  <a:gd name="connsiteX9" fmla="*/ 813848 w 2470531"/>
                  <a:gd name="connsiteY9" fmla="*/ 2093786 h 332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0531" h="3322608">
                    <a:moveTo>
                      <a:pt x="813848" y="2093786"/>
                    </a:moveTo>
                    <a:cubicBezTo>
                      <a:pt x="283877" y="1301972"/>
                      <a:pt x="672116" y="535305"/>
                      <a:pt x="699548" y="482822"/>
                    </a:cubicBezTo>
                    <a:cubicBezTo>
                      <a:pt x="816486" y="238249"/>
                      <a:pt x="1038685" y="60446"/>
                      <a:pt x="1302957" y="0"/>
                    </a:cubicBezTo>
                    <a:lnTo>
                      <a:pt x="1302957" y="0"/>
                    </a:lnTo>
                    <a:cubicBezTo>
                      <a:pt x="1302957" y="0"/>
                      <a:pt x="410369" y="153448"/>
                      <a:pt x="111284" y="1094232"/>
                    </a:cubicBezTo>
                    <a:cubicBezTo>
                      <a:pt x="-235807" y="2186273"/>
                      <a:pt x="339884" y="3031331"/>
                      <a:pt x="339884" y="3031331"/>
                    </a:cubicBezTo>
                    <a:lnTo>
                      <a:pt x="339312" y="3031331"/>
                    </a:lnTo>
                    <a:cubicBezTo>
                      <a:pt x="998823" y="3384185"/>
                      <a:pt x="1782941" y="3418208"/>
                      <a:pt x="2470531" y="3123819"/>
                    </a:cubicBezTo>
                    <a:lnTo>
                      <a:pt x="2470531" y="3123153"/>
                    </a:lnTo>
                    <a:cubicBezTo>
                      <a:pt x="2470531" y="3123153"/>
                      <a:pt x="1451261" y="3046286"/>
                      <a:pt x="813848" y="2093786"/>
                    </a:cubicBezTo>
                    <a:close/>
                  </a:path>
                </a:pathLst>
              </a:custGeom>
              <a:solidFill>
                <a:srgbClr val="E457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sp>
            <p:nvSpPr>
              <p:cNvPr id="71" name="Freeform: Shape 41">
                <a:extLst>
                  <a:ext uri="{FF2B5EF4-FFF2-40B4-BE49-F238E27FC236}">
                    <a16:creationId xmlns:a16="http://schemas.microsoft.com/office/drawing/2014/main" id="{FF81F4CF-F3A7-44CA-8E0E-C356A81EE221}"/>
                  </a:ext>
                </a:extLst>
              </p:cNvPr>
              <p:cNvSpPr/>
              <p:nvPr/>
            </p:nvSpPr>
            <p:spPr>
              <a:xfrm>
                <a:off x="6501193" y="2806186"/>
                <a:ext cx="2664366" cy="2888775"/>
              </a:xfrm>
              <a:custGeom>
                <a:avLst/>
                <a:gdLst>
                  <a:gd name="connsiteX0" fmla="*/ 1028605 w 2970561"/>
                  <a:gd name="connsiteY0" fmla="*/ 1283088 h 3220759"/>
                  <a:gd name="connsiteX1" fmla="*/ 2220278 w 2970561"/>
                  <a:gd name="connsiteY1" fmla="*/ 188856 h 3220759"/>
                  <a:gd name="connsiteX2" fmla="*/ 2220278 w 2970561"/>
                  <a:gd name="connsiteY2" fmla="*/ 188856 h 3220759"/>
                  <a:gd name="connsiteX3" fmla="*/ 2970562 w 2970561"/>
                  <a:gd name="connsiteY3" fmla="*/ 360306 h 3220759"/>
                  <a:gd name="connsiteX4" fmla="*/ 2970562 w 2970561"/>
                  <a:gd name="connsiteY4" fmla="*/ 360306 h 3220759"/>
                  <a:gd name="connsiteX5" fmla="*/ 1372267 w 2970561"/>
                  <a:gd name="connsiteY5" fmla="*/ 110656 h 3220759"/>
                  <a:gd name="connsiteX6" fmla="*/ 0 w 2970561"/>
                  <a:gd name="connsiteY6" fmla="*/ 1496734 h 3220759"/>
                  <a:gd name="connsiteX7" fmla="*/ 0 w 2970561"/>
                  <a:gd name="connsiteY7" fmla="*/ 1496734 h 3220759"/>
                  <a:gd name="connsiteX8" fmla="*/ 1256633 w 2970561"/>
                  <a:gd name="connsiteY8" fmla="*/ 3220759 h 3220759"/>
                  <a:gd name="connsiteX9" fmla="*/ 1257205 w 2970561"/>
                  <a:gd name="connsiteY9" fmla="*/ 3220759 h 3220759"/>
                  <a:gd name="connsiteX10" fmla="*/ 1028605 w 2970561"/>
                  <a:gd name="connsiteY10" fmla="*/ 1283088 h 322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0561" h="3220759">
                    <a:moveTo>
                      <a:pt x="1028605" y="1283088"/>
                    </a:moveTo>
                    <a:cubicBezTo>
                      <a:pt x="1327690" y="342304"/>
                      <a:pt x="2220278" y="188856"/>
                      <a:pt x="2220278" y="188856"/>
                    </a:cubicBezTo>
                    <a:lnTo>
                      <a:pt x="2220278" y="188856"/>
                    </a:lnTo>
                    <a:cubicBezTo>
                      <a:pt x="2483434" y="128706"/>
                      <a:pt x="2759650" y="191819"/>
                      <a:pt x="2970562" y="360306"/>
                    </a:cubicBezTo>
                    <a:lnTo>
                      <a:pt x="2970562" y="360306"/>
                    </a:lnTo>
                    <a:cubicBezTo>
                      <a:pt x="2970562" y="360306"/>
                      <a:pt x="2293906" y="-241769"/>
                      <a:pt x="1372267" y="110656"/>
                    </a:cubicBezTo>
                    <a:cubicBezTo>
                      <a:pt x="302038" y="520231"/>
                      <a:pt x="0" y="1496734"/>
                      <a:pt x="0" y="1496734"/>
                    </a:cubicBezTo>
                    <a:lnTo>
                      <a:pt x="0" y="1496734"/>
                    </a:lnTo>
                    <a:cubicBezTo>
                      <a:pt x="135093" y="2232521"/>
                      <a:pt x="597513" y="2866934"/>
                      <a:pt x="1256633" y="3220759"/>
                    </a:cubicBezTo>
                    <a:lnTo>
                      <a:pt x="1257205" y="3220759"/>
                    </a:lnTo>
                    <a:cubicBezTo>
                      <a:pt x="1257205" y="3220759"/>
                      <a:pt x="681514" y="2375130"/>
                      <a:pt x="1028605" y="1283088"/>
                    </a:cubicBezTo>
                    <a:close/>
                  </a:path>
                </a:pathLst>
              </a:custGeom>
              <a:solidFill>
                <a:schemeClr val="bg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852">
                  <a:buClrTx/>
                  <a:defRPr/>
                </a:pPr>
                <a:endParaRPr lang="en-US" sz="1798" b="1" kern="1200" dirty="0">
                  <a:solidFill>
                    <a:srgbClr val="4D4D4F"/>
                  </a:solidFill>
                  <a:latin typeface="Arial Narrow" panose="020B0606020202030204" pitchFamily="34" charset="0"/>
                  <a:ea typeface="+mn-ea"/>
                  <a:cs typeface="Calibri" panose="020F0502020204030204" pitchFamily="34" charset="0"/>
                </a:endParaRPr>
              </a:p>
            </p:txBody>
          </p:sp>
        </p:grpSp>
        <p:sp>
          <p:nvSpPr>
            <p:cNvPr id="64" name="Oval 63">
              <a:extLst>
                <a:ext uri="{FF2B5EF4-FFF2-40B4-BE49-F238E27FC236}">
                  <a16:creationId xmlns:a16="http://schemas.microsoft.com/office/drawing/2014/main" id="{951D5E97-56FC-4861-B50F-AB6D6AB8979D}"/>
                </a:ext>
              </a:extLst>
            </p:cNvPr>
            <p:cNvSpPr/>
            <p:nvPr/>
          </p:nvSpPr>
          <p:spPr bwMode="auto">
            <a:xfrm>
              <a:off x="7206407" y="2314697"/>
              <a:ext cx="2889898" cy="2889900"/>
            </a:xfrm>
            <a:prstGeom prst="ellipse">
              <a:avLst/>
            </a:prstGeom>
            <a:solidFill>
              <a:schemeClr val="bg1"/>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endParaRPr lang="en-US" sz="2398" b="1" kern="1200" dirty="0" err="1">
                <a:solidFill>
                  <a:srgbClr val="4D4D4F"/>
                </a:solidFill>
                <a:latin typeface="Arial Narrow" panose="020B0606020202030204" pitchFamily="34" charset="0"/>
                <a:ea typeface="+mn-ea"/>
                <a:cs typeface="Calibri" panose="020F0502020204030204" pitchFamily="34" charset="0"/>
              </a:endParaRPr>
            </a:p>
          </p:txBody>
        </p:sp>
      </p:grpSp>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2647" y="2500683"/>
            <a:ext cx="1112431" cy="1092205"/>
          </a:xfrm>
          <a:prstGeom prst="rect">
            <a:avLst/>
          </a:prstGeom>
        </p:spPr>
      </p:pic>
      <p:sp>
        <p:nvSpPr>
          <p:cNvPr id="74" name="Title 1">
            <a:extLst>
              <a:ext uri="{FF2B5EF4-FFF2-40B4-BE49-F238E27FC236}">
                <a16:creationId xmlns:a16="http://schemas.microsoft.com/office/drawing/2014/main" id="{D1436F6B-6078-47C2-96EF-122E14779BCF}"/>
              </a:ext>
            </a:extLst>
          </p:cNvPr>
          <p:cNvSpPr txBox="1">
            <a:spLocks/>
          </p:cNvSpPr>
          <p:nvPr/>
        </p:nvSpPr>
        <p:spPr bwMode="auto">
          <a:xfrm>
            <a:off x="513263" y="253308"/>
            <a:ext cx="11209619" cy="711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algn="l" rtl="0" eaLnBrk="1" fontAlgn="base" hangingPunct="1">
              <a:lnSpc>
                <a:spcPct val="85000"/>
              </a:lnSpc>
              <a:spcBef>
                <a:spcPct val="0"/>
              </a:spcBef>
              <a:spcAft>
                <a:spcPct val="0"/>
              </a:spcAft>
              <a:defRPr sz="3399" b="0">
                <a:solidFill>
                  <a:schemeClr val="bg2"/>
                </a:solidFill>
                <a:latin typeface="Calibri" panose="020F0502020204030204" pitchFamily="34" charset="0"/>
                <a:ea typeface="+mj-ea"/>
                <a:cs typeface="Calibri" panose="020F0502020204030204" pitchFamily="34" charset="0"/>
              </a:defRPr>
            </a:lvl1pPr>
            <a:lvl2pPr algn="l" rtl="0" eaLnBrk="1" fontAlgn="base" hangingPunct="1">
              <a:lnSpc>
                <a:spcPct val="85000"/>
              </a:lnSpc>
              <a:spcBef>
                <a:spcPct val="0"/>
              </a:spcBef>
              <a:spcAft>
                <a:spcPct val="0"/>
              </a:spcAft>
              <a:defRPr sz="3699" b="1">
                <a:solidFill>
                  <a:srgbClr val="4E4E4E"/>
                </a:solidFill>
                <a:latin typeface="Helvetica" pitchFamily="34" charset="0"/>
              </a:defRPr>
            </a:lvl2pPr>
            <a:lvl3pPr algn="l" rtl="0" eaLnBrk="1" fontAlgn="base" hangingPunct="1">
              <a:lnSpc>
                <a:spcPct val="85000"/>
              </a:lnSpc>
              <a:spcBef>
                <a:spcPct val="0"/>
              </a:spcBef>
              <a:spcAft>
                <a:spcPct val="0"/>
              </a:spcAft>
              <a:defRPr sz="3699" b="1">
                <a:solidFill>
                  <a:srgbClr val="4E4E4E"/>
                </a:solidFill>
                <a:latin typeface="Helvetica" pitchFamily="34" charset="0"/>
              </a:defRPr>
            </a:lvl3pPr>
            <a:lvl4pPr algn="l" rtl="0" eaLnBrk="1" fontAlgn="base" hangingPunct="1">
              <a:lnSpc>
                <a:spcPct val="85000"/>
              </a:lnSpc>
              <a:spcBef>
                <a:spcPct val="0"/>
              </a:spcBef>
              <a:spcAft>
                <a:spcPct val="0"/>
              </a:spcAft>
              <a:defRPr sz="3699" b="1">
                <a:solidFill>
                  <a:srgbClr val="4E4E4E"/>
                </a:solidFill>
                <a:latin typeface="Helvetica" pitchFamily="34" charset="0"/>
              </a:defRPr>
            </a:lvl4pPr>
            <a:lvl5pPr algn="l" rtl="0" eaLnBrk="1" fontAlgn="base" hangingPunct="1">
              <a:lnSpc>
                <a:spcPct val="85000"/>
              </a:lnSpc>
              <a:spcBef>
                <a:spcPct val="0"/>
              </a:spcBef>
              <a:spcAft>
                <a:spcPct val="0"/>
              </a:spcAft>
              <a:defRPr sz="3699" b="1">
                <a:solidFill>
                  <a:srgbClr val="4E4E4E"/>
                </a:solidFill>
                <a:latin typeface="Helvetica" pitchFamily="34" charset="0"/>
              </a:defRPr>
            </a:lvl5pPr>
            <a:lvl6pPr marL="609310" algn="l" rtl="0" eaLnBrk="1" fontAlgn="base" hangingPunct="1">
              <a:lnSpc>
                <a:spcPct val="85000"/>
              </a:lnSpc>
              <a:spcBef>
                <a:spcPct val="0"/>
              </a:spcBef>
              <a:spcAft>
                <a:spcPct val="0"/>
              </a:spcAft>
              <a:defRPr sz="3699" b="1">
                <a:solidFill>
                  <a:srgbClr val="4E4E4E"/>
                </a:solidFill>
                <a:latin typeface="Helvetica" pitchFamily="34" charset="0"/>
              </a:defRPr>
            </a:lvl6pPr>
            <a:lvl7pPr marL="1218621" algn="l" rtl="0" eaLnBrk="1" fontAlgn="base" hangingPunct="1">
              <a:lnSpc>
                <a:spcPct val="85000"/>
              </a:lnSpc>
              <a:spcBef>
                <a:spcPct val="0"/>
              </a:spcBef>
              <a:spcAft>
                <a:spcPct val="0"/>
              </a:spcAft>
              <a:defRPr sz="3699" b="1">
                <a:solidFill>
                  <a:srgbClr val="4E4E4E"/>
                </a:solidFill>
                <a:latin typeface="Helvetica" pitchFamily="34" charset="0"/>
              </a:defRPr>
            </a:lvl7pPr>
            <a:lvl8pPr marL="1827931" algn="l" rtl="0" eaLnBrk="1" fontAlgn="base" hangingPunct="1">
              <a:lnSpc>
                <a:spcPct val="85000"/>
              </a:lnSpc>
              <a:spcBef>
                <a:spcPct val="0"/>
              </a:spcBef>
              <a:spcAft>
                <a:spcPct val="0"/>
              </a:spcAft>
              <a:defRPr sz="3699" b="1">
                <a:solidFill>
                  <a:srgbClr val="4E4E4E"/>
                </a:solidFill>
                <a:latin typeface="Helvetica" pitchFamily="34" charset="0"/>
              </a:defRPr>
            </a:lvl8pPr>
            <a:lvl9pPr marL="2437242" algn="l" rtl="0" eaLnBrk="1" fontAlgn="base" hangingPunct="1">
              <a:lnSpc>
                <a:spcPct val="85000"/>
              </a:lnSpc>
              <a:spcBef>
                <a:spcPct val="0"/>
              </a:spcBef>
              <a:spcAft>
                <a:spcPct val="0"/>
              </a:spcAft>
              <a:defRPr sz="3699" b="1">
                <a:solidFill>
                  <a:srgbClr val="4E4E4E"/>
                </a:solidFill>
                <a:latin typeface="Helvetica" pitchFamily="34" charset="0"/>
              </a:defRPr>
            </a:lvl9pPr>
          </a:lstStyle>
          <a:p>
            <a:pPr algn="ctr">
              <a:buClrTx/>
              <a:buFontTx/>
            </a:pPr>
            <a:r>
              <a:rPr lang="en-US" sz="3200" b="1" dirty="0">
                <a:solidFill>
                  <a:srgbClr val="B1527C"/>
                </a:solidFill>
              </a:rPr>
              <a:t>HARMONIZE SECURITY FOR USERS &amp; ACCESS</a:t>
            </a:r>
            <a:br>
              <a:rPr lang="en-GB" sz="3200" b="1" dirty="0">
                <a:solidFill>
                  <a:srgbClr val="B1527C"/>
                </a:solidFill>
              </a:rPr>
            </a:br>
            <a:r>
              <a:rPr lang="en-GB" sz="3200" dirty="0">
                <a:solidFill>
                  <a:srgbClr val="B1527C"/>
                </a:solidFill>
              </a:rPr>
              <a:t>HIGHEST LEVEL OF SECURITY</a:t>
            </a:r>
          </a:p>
          <a:p>
            <a:pPr algn="ctr">
              <a:buClrTx/>
              <a:buFontTx/>
            </a:pPr>
            <a:endParaRPr lang="en-GB" sz="3200" b="1" dirty="0">
              <a:solidFill>
                <a:srgbClr val="700046"/>
              </a:solidFill>
            </a:endParaRPr>
          </a:p>
        </p:txBody>
      </p:sp>
    </p:spTree>
    <p:extLst>
      <p:ext uri="{BB962C8B-B14F-4D97-AF65-F5344CB8AC3E}">
        <p14:creationId xmlns:p14="http://schemas.microsoft.com/office/powerpoint/2010/main" val="3222049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hidden="1"/>
          <p:cNvSpPr>
            <a:spLocks noGrp="1"/>
          </p:cNvSpPr>
          <p:nvPr>
            <p:ph type="ftr" sz="quarter" idx="11"/>
          </p:nvPr>
        </p:nvSpPr>
        <p:spPr>
          <a:xfrm>
            <a:off x="5827531" y="6532023"/>
            <a:ext cx="3097481" cy="302408"/>
          </a:xfrm>
        </p:spPr>
        <p:txBody>
          <a:bodyPr/>
          <a:lstStyle/>
          <a:p>
            <a:pPr>
              <a:defRPr/>
            </a:pPr>
            <a:r>
              <a:rPr lang="en-US" dirty="0">
                <a:solidFill>
                  <a:srgbClr val="FFFFFF">
                    <a:lumMod val="75000"/>
                  </a:srgbClr>
                </a:solidFill>
              </a:rPr>
              <a:t> [Internal Use] for Check Point employees​</a:t>
            </a:r>
          </a:p>
        </p:txBody>
      </p:sp>
      <p:sp>
        <p:nvSpPr>
          <p:cNvPr id="4" name="Title 3"/>
          <p:cNvSpPr>
            <a:spLocks noGrp="1"/>
          </p:cNvSpPr>
          <p:nvPr>
            <p:ph type="title"/>
          </p:nvPr>
        </p:nvSpPr>
        <p:spPr/>
        <p:txBody>
          <a:bodyPr/>
          <a:lstStyle/>
          <a:p>
            <a:r>
              <a:rPr lang="en-US" sz="3600" b="1" dirty="0">
                <a:latin typeface="+mj-lt"/>
              </a:rPr>
              <a:t>REGISTER FOR OUR UPCOMING WEBINARS </a:t>
            </a:r>
            <a:br>
              <a:rPr lang="en-US" sz="4000" b="1" dirty="0">
                <a:latin typeface="+mj-lt"/>
              </a:rPr>
            </a:br>
            <a:endParaRPr lang="en-US" sz="4000" b="1" dirty="0">
              <a:latin typeface="+mj-lt"/>
            </a:endParaRPr>
          </a:p>
        </p:txBody>
      </p:sp>
      <p:sp>
        <p:nvSpPr>
          <p:cNvPr id="3" name="Date Placeholder 2" hidden="1"/>
          <p:cNvSpPr>
            <a:spLocks noGrp="1"/>
          </p:cNvSpPr>
          <p:nvPr>
            <p:ph type="dt" sz="half" idx="12"/>
          </p:nvPr>
        </p:nvSpPr>
        <p:spPr/>
        <p:txBody>
          <a:bodyPr/>
          <a:lstStyle/>
          <a:p>
            <a:endParaRPr lang="en-US" dirty="0">
              <a:solidFill>
                <a:srgbClr val="4D4D4F">
                  <a:tint val="75000"/>
                </a:srgbClr>
              </a:solidFill>
            </a:endParaRPr>
          </a:p>
        </p:txBody>
      </p:sp>
      <p:sp>
        <p:nvSpPr>
          <p:cNvPr id="9" name="Text Placeholder 7"/>
          <p:cNvSpPr txBox="1">
            <a:spLocks/>
          </p:cNvSpPr>
          <p:nvPr/>
        </p:nvSpPr>
        <p:spPr bwMode="auto">
          <a:xfrm>
            <a:off x="6524263" y="5448735"/>
            <a:ext cx="6285179" cy="1073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anchor="t" anchorCtr="0" compatLnSpc="1">
            <a:prstTxWarp prst="textNoShape">
              <a:avLst/>
            </a:prstTxWarp>
            <a:noAutofit/>
          </a:bodyPr>
          <a:lstStyle>
            <a:lvl1pPr marL="228531" indent="-228531"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9" dirty="0" smtClean="0">
                <a:solidFill>
                  <a:schemeClr val="tx1"/>
                </a:solidFill>
                <a:latin typeface="Arial" panose="020B0604020202020204" pitchFamily="34" charset="0"/>
                <a:ea typeface="+mn-ea"/>
                <a:cs typeface="Arial" pitchFamily="34" charset="0"/>
              </a:defRPr>
            </a:lvl1pPr>
            <a:lvl2pPr marL="575899"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9" dirty="0" smtClean="0">
                <a:solidFill>
                  <a:schemeClr val="tx1"/>
                </a:solidFill>
                <a:latin typeface="Arial" panose="020B0604020202020204" pitchFamily="34" charset="0"/>
              </a:defRPr>
            </a:lvl2pPr>
            <a:lvl3pPr marL="886702"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9" dirty="0" smtClean="0">
                <a:solidFill>
                  <a:schemeClr val="tx1"/>
                </a:solidFill>
                <a:latin typeface="Arial" panose="020B0604020202020204" pitchFamily="34" charset="0"/>
              </a:defRPr>
            </a:lvl3pPr>
            <a:lvl4pPr marL="1170081" indent="-228531"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9" dirty="0" smtClean="0">
                <a:solidFill>
                  <a:schemeClr val="tx1"/>
                </a:solidFill>
                <a:latin typeface="+mn-lt"/>
              </a:defRPr>
            </a:lvl4pPr>
            <a:lvl5pPr marL="1462601" indent="-228531"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1207" indent="-304656" algn="l" rtl="0" eaLnBrk="1" fontAlgn="base" hangingPunct="1">
              <a:spcBef>
                <a:spcPct val="20000"/>
              </a:spcBef>
              <a:spcAft>
                <a:spcPct val="0"/>
              </a:spcAft>
              <a:buClr>
                <a:schemeClr val="accent2"/>
              </a:buClr>
              <a:buChar char="»"/>
              <a:defRPr sz="2099">
                <a:solidFill>
                  <a:schemeClr val="tx1"/>
                </a:solidFill>
                <a:latin typeface="+mn-lt"/>
              </a:defRPr>
            </a:lvl6pPr>
            <a:lvl7pPr marL="3960518" indent="-304656" algn="l" rtl="0" eaLnBrk="1" fontAlgn="base" hangingPunct="1">
              <a:spcBef>
                <a:spcPct val="20000"/>
              </a:spcBef>
              <a:spcAft>
                <a:spcPct val="0"/>
              </a:spcAft>
              <a:buClr>
                <a:schemeClr val="accent2"/>
              </a:buClr>
              <a:buChar char="»"/>
              <a:defRPr sz="2099">
                <a:solidFill>
                  <a:schemeClr val="tx1"/>
                </a:solidFill>
                <a:latin typeface="+mn-lt"/>
              </a:defRPr>
            </a:lvl7pPr>
            <a:lvl8pPr marL="4569829" indent="-304656" algn="l" rtl="0" eaLnBrk="1" fontAlgn="base" hangingPunct="1">
              <a:spcBef>
                <a:spcPct val="20000"/>
              </a:spcBef>
              <a:spcAft>
                <a:spcPct val="0"/>
              </a:spcAft>
              <a:buClr>
                <a:schemeClr val="accent2"/>
              </a:buClr>
              <a:buChar char="»"/>
              <a:defRPr sz="2099">
                <a:solidFill>
                  <a:schemeClr val="tx1"/>
                </a:solidFill>
                <a:latin typeface="+mn-lt"/>
              </a:defRPr>
            </a:lvl8pPr>
            <a:lvl9pPr marL="5179139" indent="-304656" algn="l" rtl="0" eaLnBrk="1" fontAlgn="base" hangingPunct="1">
              <a:spcBef>
                <a:spcPct val="20000"/>
              </a:spcBef>
              <a:spcAft>
                <a:spcPct val="0"/>
              </a:spcAft>
              <a:buClr>
                <a:schemeClr val="accent2"/>
              </a:buClr>
              <a:buChar char="»"/>
              <a:defRPr sz="2099">
                <a:solidFill>
                  <a:schemeClr val="tx1"/>
                </a:solidFill>
                <a:latin typeface="+mn-lt"/>
              </a:defRPr>
            </a:lvl9pPr>
          </a:lstStyle>
          <a:p>
            <a:pPr marL="0" indent="0" algn="ctr">
              <a:buNone/>
            </a:pPr>
            <a:r>
              <a:rPr lang="en-US" sz="1800" b="1" dirty="0">
                <a:solidFill>
                  <a:schemeClr val="bg2"/>
                </a:solidFill>
                <a:latin typeface="+mj-lt"/>
                <a:cs typeface="Calibri" panose="020F0502020204030204" pitchFamily="34" charset="0"/>
              </a:rPr>
              <a:t>Trouble scanning? </a:t>
            </a:r>
          </a:p>
          <a:p>
            <a:pPr marL="0" indent="0" algn="ctr">
              <a:buNone/>
            </a:pPr>
            <a:r>
              <a:rPr lang="en-US" sz="1800" dirty="0">
                <a:solidFill>
                  <a:schemeClr val="bg2"/>
                </a:solidFill>
                <a:latin typeface="+mj-lt"/>
                <a:cs typeface="Calibri" panose="020F0502020204030204" pitchFamily="34" charset="0"/>
              </a:rPr>
              <a:t>www.checkpoint.com/harmony/webin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52234" y="2644568"/>
            <a:ext cx="2629240" cy="2629240"/>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3321762924"/>
              </p:ext>
            </p:extLst>
          </p:nvPr>
        </p:nvGraphicFramePr>
        <p:xfrm>
          <a:off x="722810" y="1401830"/>
          <a:ext cx="6210649" cy="4451427"/>
        </p:xfrm>
        <a:graphic>
          <a:graphicData uri="http://schemas.openxmlformats.org/drawingml/2006/table">
            <a:tbl>
              <a:tblPr/>
              <a:tblGrid>
                <a:gridCol w="1129254">
                  <a:extLst>
                    <a:ext uri="{9D8B030D-6E8A-4147-A177-3AD203B41FA5}">
                      <a16:colId xmlns:a16="http://schemas.microsoft.com/office/drawing/2014/main" val="20000"/>
                    </a:ext>
                  </a:extLst>
                </a:gridCol>
                <a:gridCol w="5081395">
                  <a:extLst>
                    <a:ext uri="{9D8B030D-6E8A-4147-A177-3AD203B41FA5}">
                      <a16:colId xmlns:a16="http://schemas.microsoft.com/office/drawing/2014/main" val="20001"/>
                    </a:ext>
                  </a:extLst>
                </a:gridCol>
              </a:tblGrid>
              <a:tr h="797969">
                <a:tc gridSpan="2">
                  <a:txBody>
                    <a:bodyPr/>
                    <a:lstStyle/>
                    <a:p>
                      <a:pPr algn="l" fontAlgn="t"/>
                      <a:r>
                        <a:rPr lang="en-US" sz="2800" b="1" dirty="0">
                          <a:solidFill>
                            <a:schemeClr val="tx1"/>
                          </a:solidFill>
                          <a:latin typeface="+mj-lt"/>
                          <a:ea typeface="Calibri"/>
                          <a:cs typeface="Calibri" panose="020F0502020204030204" pitchFamily="34" charset="0"/>
                        </a:rPr>
                        <a:t>COMING UP NEXT:</a:t>
                      </a:r>
                    </a:p>
                  </a:txBody>
                  <a:tcPr marL="43495" marR="43495" marT="30446" marB="3044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l" fontAlgn="t"/>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769821">
                <a:tc>
                  <a:txBody>
                    <a:bodyPr/>
                    <a:lstStyle/>
                    <a:p>
                      <a:pPr algn="ctr" fontAlgn="t"/>
                      <a:r>
                        <a:rPr lang="en-US" sz="1400" b="1" dirty="0">
                          <a:solidFill>
                            <a:schemeClr val="tx1"/>
                          </a:solidFill>
                          <a:effectLst/>
                          <a:latin typeface="Calibri" panose="020F0502020204030204" pitchFamily="34" charset="0"/>
                          <a:cs typeface="Calibri" panose="020F0502020204030204" pitchFamily="34" charset="0"/>
                        </a:rPr>
                        <a:t>March 17</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9525" cap="flat" cmpd="sng" algn="ctr">
                      <a:noFill/>
                      <a:prstDash val="solid"/>
                      <a:round/>
                      <a:headEnd type="none" w="med" len="med"/>
                      <a:tailEnd type="none" w="med" len="med"/>
                    </a:lnL>
                    <a:lnR w="12700" cap="flat" cmpd="sng" algn="ctr">
                      <a:solidFill>
                        <a:schemeClr val="tx1"/>
                      </a:solidFill>
                      <a:prstDash val="dot"/>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4625" indent="0" algn="l" fontAlgn="t"/>
                      <a:r>
                        <a:rPr lang="en-US" sz="1400" b="0" dirty="0">
                          <a:solidFill>
                            <a:schemeClr val="tx1"/>
                          </a:solidFill>
                          <a:effectLst/>
                          <a:latin typeface="Calibri" panose="020F0502020204030204" pitchFamily="34" charset="0"/>
                          <a:cs typeface="Calibri" panose="020F0502020204030204" pitchFamily="34" charset="0"/>
                        </a:rPr>
                        <a:t>Tips for Adopting a SASE Approach to Network Security (Joint webinar with ESG analyst)</a:t>
                      </a:r>
                    </a:p>
                    <a:p>
                      <a:pPr marL="174625" indent="0" algn="l" fontAlgn="t"/>
                      <a:r>
                        <a:rPr lang="en-US" sz="1400" b="1" dirty="0">
                          <a:solidFill>
                            <a:schemeClr val="tx1"/>
                          </a:solidFill>
                          <a:effectLst/>
                          <a:latin typeface="Calibri" panose="020F0502020204030204" pitchFamily="34" charset="0"/>
                          <a:cs typeface="Calibri" panose="020F0502020204030204" pitchFamily="34" charset="0"/>
                        </a:rPr>
                        <a:t>Harmony Connect</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12700" cap="flat" cmpd="sng" algn="ctr">
                      <a:solidFill>
                        <a:schemeClr val="tx1"/>
                      </a:solidFill>
                      <a:prstDash val="dot"/>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41967">
                <a:tc>
                  <a:txBody>
                    <a:bodyPr/>
                    <a:lstStyle/>
                    <a:p>
                      <a:pPr algn="ctr" fontAlgn="t"/>
                      <a:r>
                        <a:rPr lang="en-US" sz="1400" b="1" dirty="0">
                          <a:solidFill>
                            <a:schemeClr val="tx1"/>
                          </a:solidFill>
                          <a:effectLst/>
                          <a:latin typeface="Calibri" panose="020F0502020204030204" pitchFamily="34" charset="0"/>
                          <a:cs typeface="Calibri" panose="020F0502020204030204" pitchFamily="34" charset="0"/>
                        </a:rPr>
                        <a:t>March 24</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9525" cap="flat" cmpd="sng" algn="ctr">
                      <a:noFill/>
                      <a:prstDash val="solid"/>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4625" indent="0" algn="l" fontAlgn="t"/>
                      <a:r>
                        <a:rPr lang="en-US" sz="1400" b="0" dirty="0">
                          <a:solidFill>
                            <a:schemeClr val="tx1"/>
                          </a:solidFill>
                          <a:effectLst/>
                          <a:latin typeface="Calibri" panose="020F0502020204030204" pitchFamily="34" charset="0"/>
                          <a:cs typeface="Calibri" panose="020F0502020204030204" pitchFamily="34" charset="0"/>
                        </a:rPr>
                        <a:t>New Web Security Requirements: Keep Remote Workers Safe and Productive with </a:t>
                      </a:r>
                      <a:r>
                        <a:rPr lang="en-US" sz="1400" b="1" dirty="0">
                          <a:solidFill>
                            <a:schemeClr val="tx1"/>
                          </a:solidFill>
                          <a:effectLst/>
                          <a:latin typeface="Calibri" panose="020F0502020204030204" pitchFamily="34" charset="0"/>
                          <a:cs typeface="Calibri" panose="020F0502020204030204" pitchFamily="34" charset="0"/>
                        </a:rPr>
                        <a:t>Harmony Browse</a:t>
                      </a:r>
                    </a:p>
                  </a:txBody>
                  <a:tcPr marL="43495" marR="43495" marT="30446" marB="30446" anchor="ctr">
                    <a:lnL w="12700" cap="flat" cmpd="sng" algn="ctr">
                      <a:solidFill>
                        <a:schemeClr val="tx1"/>
                      </a:solidFill>
                      <a:prstDash val="dot"/>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7108">
                <a:tc>
                  <a:txBody>
                    <a:bodyPr/>
                    <a:lstStyle/>
                    <a:p>
                      <a:pPr algn="ctr" fontAlgn="t"/>
                      <a:r>
                        <a:rPr lang="en-US" sz="1400" b="1" dirty="0">
                          <a:solidFill>
                            <a:schemeClr val="tx1"/>
                          </a:solidFill>
                          <a:effectLst/>
                          <a:latin typeface="Calibri" panose="020F0502020204030204" pitchFamily="34" charset="0"/>
                          <a:cs typeface="Calibri" panose="020F0502020204030204" pitchFamily="34" charset="0"/>
                        </a:rPr>
                        <a:t>March 31</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9525" cap="flat" cmpd="sng" algn="ctr">
                      <a:noFill/>
                      <a:prstDash val="solid"/>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4625" marR="0" lvl="0" indent="0" algn="l" defTabSz="1218621" rtl="0" eaLnBrk="1" fontAlgn="t" latinLnBrk="0" hangingPunct="1">
                        <a:lnSpc>
                          <a:spcPct val="100000"/>
                        </a:lnSpc>
                        <a:spcBef>
                          <a:spcPts val="0"/>
                        </a:spcBef>
                        <a:spcAft>
                          <a:spcPts val="0"/>
                        </a:spcAft>
                        <a:buClrTx/>
                        <a:buSzTx/>
                        <a:buFontTx/>
                        <a:buNone/>
                        <a:tabLst/>
                        <a:defRPr/>
                      </a:pPr>
                      <a:r>
                        <a:rPr lang="en-US" sz="1400" b="1" dirty="0">
                          <a:solidFill>
                            <a:schemeClr val="tx1"/>
                          </a:solidFill>
                          <a:effectLst/>
                          <a:latin typeface="Calibri" panose="020F0502020204030204" pitchFamily="34" charset="0"/>
                          <a:cs typeface="Calibri" panose="020F0502020204030204" pitchFamily="34" charset="0"/>
                        </a:rPr>
                        <a:t>Harmony</a:t>
                      </a:r>
                      <a:r>
                        <a:rPr lang="en-US" sz="1400" b="1" baseline="0" dirty="0">
                          <a:solidFill>
                            <a:schemeClr val="tx1"/>
                          </a:solidFill>
                          <a:effectLst/>
                          <a:latin typeface="Calibri" panose="020F0502020204030204" pitchFamily="34" charset="0"/>
                          <a:cs typeface="Calibri" panose="020F0502020204030204" pitchFamily="34" charset="0"/>
                        </a:rPr>
                        <a:t> Endpoint</a:t>
                      </a:r>
                      <a:r>
                        <a:rPr lang="en-US" sz="1400" b="0" baseline="0" dirty="0">
                          <a:solidFill>
                            <a:schemeClr val="tx1"/>
                          </a:solidFill>
                          <a:effectLst/>
                          <a:latin typeface="Calibri" panose="020F0502020204030204" pitchFamily="34" charset="0"/>
                          <a:cs typeface="Calibri" panose="020F0502020204030204" pitchFamily="34" charset="0"/>
                        </a:rPr>
                        <a:t> - </a:t>
                      </a:r>
                      <a:r>
                        <a:rPr lang="en-US" sz="1400" b="0" dirty="0">
                          <a:solidFill>
                            <a:schemeClr val="tx1"/>
                          </a:solidFill>
                          <a:effectLst/>
                          <a:latin typeface="Calibri" panose="020F0502020204030204" pitchFamily="34" charset="0"/>
                          <a:cs typeface="Calibri" panose="020F0502020204030204" pitchFamily="34" charset="0"/>
                        </a:rPr>
                        <a:t>Modern Endpoint Protection: Best Practices to Secure Endpoints in 2021</a:t>
                      </a:r>
                    </a:p>
                  </a:txBody>
                  <a:tcPr marL="43495" marR="43495" marT="30446" marB="30446" anchor="ctr">
                    <a:lnL w="12700" cap="flat" cmpd="sng" algn="ctr">
                      <a:solidFill>
                        <a:schemeClr val="tx1"/>
                      </a:solidFill>
                      <a:prstDash val="dot"/>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6730">
                <a:tc>
                  <a:txBody>
                    <a:bodyPr/>
                    <a:lstStyle/>
                    <a:p>
                      <a:pPr algn="ctr" fontAlgn="t"/>
                      <a:r>
                        <a:rPr lang="en-US" sz="1400" b="1" dirty="0">
                          <a:solidFill>
                            <a:schemeClr val="tx1"/>
                          </a:solidFill>
                          <a:effectLst/>
                          <a:latin typeface="Calibri" panose="020F0502020204030204" pitchFamily="34" charset="0"/>
                          <a:cs typeface="Calibri" panose="020F0502020204030204" pitchFamily="34" charset="0"/>
                        </a:rPr>
                        <a:t>April 7 </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9525" cap="flat" cmpd="sng" algn="ctr">
                      <a:noFill/>
                      <a:prstDash val="solid"/>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4625" indent="0" algn="l" fontAlgn="t"/>
                      <a:r>
                        <a:rPr lang="en-US" sz="1400" b="1" dirty="0">
                          <a:solidFill>
                            <a:schemeClr val="tx1"/>
                          </a:solidFill>
                          <a:effectLst/>
                          <a:latin typeface="Calibri" panose="020F0502020204030204" pitchFamily="34" charset="0"/>
                          <a:cs typeface="Calibri" panose="020F0502020204030204" pitchFamily="34" charset="0"/>
                        </a:rPr>
                        <a:t>Harmony Mobile</a:t>
                      </a:r>
                      <a:r>
                        <a:rPr lang="en-US" sz="1400" dirty="0">
                          <a:solidFill>
                            <a:schemeClr val="tx1"/>
                          </a:solidFill>
                          <a:effectLst/>
                          <a:latin typeface="Calibri" panose="020F0502020204030204" pitchFamily="34" charset="0"/>
                          <a:cs typeface="Calibri" panose="020F0502020204030204" pitchFamily="34" charset="0"/>
                        </a:rPr>
                        <a:t> - Defending Against the Dangerous Wave of Mobile Threats</a:t>
                      </a:r>
                    </a:p>
                  </a:txBody>
                  <a:tcPr marL="43495" marR="43495" marT="30446" marB="30446" anchor="ctr">
                    <a:lnL w="12700" cap="flat" cmpd="sng" algn="ctr">
                      <a:solidFill>
                        <a:schemeClr val="tx1"/>
                      </a:solidFill>
                      <a:prstDash val="dot"/>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87832">
                <a:tc>
                  <a:txBody>
                    <a:bodyPr/>
                    <a:lstStyle/>
                    <a:p>
                      <a:pPr algn="ctr" fontAlgn="t"/>
                      <a:r>
                        <a:rPr lang="en-US" sz="1400" b="1" dirty="0">
                          <a:solidFill>
                            <a:schemeClr val="tx1"/>
                          </a:solidFill>
                          <a:effectLst/>
                          <a:latin typeface="Calibri" panose="020F0502020204030204" pitchFamily="34" charset="0"/>
                          <a:cs typeface="Calibri" panose="020F0502020204030204" pitchFamily="34" charset="0"/>
                        </a:rPr>
                        <a:t>April 14</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9525" cap="flat" cmpd="sng" algn="ctr">
                      <a:noFill/>
                      <a:prstDash val="solid"/>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12713" indent="0" algn="l" fontAlgn="t"/>
                      <a:r>
                        <a:rPr lang="en-US" sz="1400" dirty="0">
                          <a:solidFill>
                            <a:schemeClr val="tx1"/>
                          </a:solidFill>
                          <a:effectLst/>
                          <a:latin typeface="Calibri" panose="020F0502020204030204" pitchFamily="34" charset="0"/>
                          <a:cs typeface="Calibri" panose="020F0502020204030204" pitchFamily="34" charset="0"/>
                        </a:rPr>
                        <a:t>Securing Mailboxes and Productivity Apps with </a:t>
                      </a:r>
                      <a:r>
                        <a:rPr lang="en-US" sz="1400" b="1" dirty="0">
                          <a:solidFill>
                            <a:schemeClr val="tx1"/>
                          </a:solidFill>
                          <a:effectLst/>
                          <a:latin typeface="Calibri" panose="020F0502020204030204" pitchFamily="34" charset="0"/>
                          <a:cs typeface="Calibri" panose="020F0502020204030204" pitchFamily="34" charset="0"/>
                        </a:rPr>
                        <a:t>Harmony Email &amp; Office</a:t>
                      </a:r>
                      <a:endParaRPr lang="en-US" sz="1400" dirty="0">
                        <a:solidFill>
                          <a:schemeClr val="tx1"/>
                        </a:solidFill>
                        <a:effectLst/>
                        <a:latin typeface="Calibri" panose="020F0502020204030204" pitchFamily="34" charset="0"/>
                        <a:cs typeface="Calibri" panose="020F0502020204030204" pitchFamily="34" charset="0"/>
                      </a:endParaRPr>
                    </a:p>
                  </a:txBody>
                  <a:tcPr marL="43495" marR="43495" marT="30446" marB="30446" anchor="ctr">
                    <a:lnL w="12700" cap="flat" cmpd="sng" algn="ctr">
                      <a:solidFill>
                        <a:schemeClr val="tx1"/>
                      </a:solidFill>
                      <a:prstDash val="dot"/>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8768" y="1235504"/>
            <a:ext cx="1476171" cy="1449332"/>
          </a:xfrm>
          <a:prstGeom prst="rect">
            <a:avLst/>
          </a:prstGeom>
        </p:spPr>
      </p:pic>
    </p:spTree>
    <p:extLst>
      <p:ext uri="{BB962C8B-B14F-4D97-AF65-F5344CB8AC3E}">
        <p14:creationId xmlns:p14="http://schemas.microsoft.com/office/powerpoint/2010/main" val="28584219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hidden="1">
            <a:extLst>
              <a:ext uri="{FF2B5EF4-FFF2-40B4-BE49-F238E27FC236}">
                <a16:creationId xmlns:a16="http://schemas.microsoft.com/office/drawing/2014/main" id="{90A06A68-764A-4886-ADF6-55D334578D97}"/>
              </a:ext>
            </a:extLst>
          </p:cNvPr>
          <p:cNvSpPr>
            <a:spLocks noGrp="1"/>
          </p:cNvSpPr>
          <p:nvPr>
            <p:ph type="ftr" sz="quarter" idx="11"/>
          </p:nvPr>
        </p:nvSpPr>
        <p:spPr/>
        <p:txBody>
          <a:bodyPr/>
          <a:lstStyle/>
          <a:p>
            <a:pPr defTabSz="914126" fontAlgn="base">
              <a:spcBef>
                <a:spcPct val="20000"/>
              </a:spcBef>
              <a:spcAft>
                <a:spcPct val="0"/>
              </a:spcAft>
              <a:buClr>
                <a:srgbClr val="FF0000"/>
              </a:buClr>
              <a:buSzPct val="65000"/>
              <a:defRPr/>
            </a:pPr>
            <a:r>
              <a:rPr lang="en-US" kern="1200" dirty="0">
                <a:solidFill>
                  <a:srgbClr val="FFFFFF">
                    <a:lumMod val="75000"/>
                  </a:srgbClr>
                </a:solidFill>
                <a:latin typeface="Calibri"/>
                <a:ea typeface="+mn-ea"/>
                <a:cs typeface="+mn-cs"/>
              </a:rPr>
              <a:t> [Internal Use] for Check Point employees​</a:t>
            </a:r>
          </a:p>
        </p:txBody>
      </p:sp>
      <p:sp>
        <p:nvSpPr>
          <p:cNvPr id="8" name="Rectangle 7">
            <a:extLst>
              <a:ext uri="{FF2B5EF4-FFF2-40B4-BE49-F238E27FC236}">
                <a16:creationId xmlns:a16="http://schemas.microsoft.com/office/drawing/2014/main" id="{7444FF13-D5C2-45D8-BCAE-6F7CA46AF2F1}"/>
              </a:ext>
            </a:extLst>
          </p:cNvPr>
          <p:cNvSpPr/>
          <p:nvPr/>
        </p:nvSpPr>
        <p:spPr bwMode="auto">
          <a:xfrm>
            <a:off x="7965588" y="-200712"/>
            <a:ext cx="3729288" cy="6701136"/>
          </a:xfrm>
          <a:prstGeom prst="rect">
            <a:avLst/>
          </a:prstGeom>
          <a:solidFill>
            <a:schemeClr val="accent6"/>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cxnSp>
        <p:nvCxnSpPr>
          <p:cNvPr id="9" name="Straight Connector 8">
            <a:extLst>
              <a:ext uri="{FF2B5EF4-FFF2-40B4-BE49-F238E27FC236}">
                <a16:creationId xmlns:a16="http://schemas.microsoft.com/office/drawing/2014/main" id="{68611FE6-FEFB-4F02-A882-032F7AF99E8F}"/>
              </a:ext>
            </a:extLst>
          </p:cNvPr>
          <p:cNvCxnSpPr>
            <a:cxnSpLocks/>
          </p:cNvCxnSpPr>
          <p:nvPr/>
        </p:nvCxnSpPr>
        <p:spPr bwMode="auto">
          <a:xfrm>
            <a:off x="-388691" y="712088"/>
            <a:ext cx="4826270" cy="0"/>
          </a:xfrm>
          <a:prstGeom prst="line">
            <a:avLst/>
          </a:prstGeom>
          <a:solidFill>
            <a:schemeClr val="bg1"/>
          </a:solidFill>
          <a:ln w="12700" cap="rnd"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a:extLst>
              <a:ext uri="{FF2B5EF4-FFF2-40B4-BE49-F238E27FC236}">
                <a16:creationId xmlns:a16="http://schemas.microsoft.com/office/drawing/2014/main" id="{E913B16A-3822-4184-8D13-20301CB9F222}"/>
              </a:ext>
            </a:extLst>
          </p:cNvPr>
          <p:cNvSpPr/>
          <p:nvPr/>
        </p:nvSpPr>
        <p:spPr bwMode="auto">
          <a:xfrm>
            <a:off x="446732" y="877324"/>
            <a:ext cx="5681011" cy="1728561"/>
          </a:xfrm>
          <a:prstGeom prst="rect">
            <a:avLst/>
          </a:prstGeom>
          <a:noFill/>
          <a:ln w="12700" algn="ctr">
            <a:noFill/>
            <a:miter lim="800000"/>
            <a:headEnd/>
            <a:tailEnd/>
          </a:ln>
          <a:effectLst/>
        </p:spPr>
        <p:txBody>
          <a:bodyPr rot="0" spcFirstLastPara="0" vertOverflow="overflow" horzOverflow="overflow" vert="horz" wrap="square" lIns="143963" tIns="71981" rIns="0" bIns="0" numCol="1" spcCol="0" rtlCol="0" fromWordArt="0" anchor="t" anchorCtr="0" forceAA="0" compatLnSpc="1">
            <a:prstTxWarp prst="textNoShape">
              <a:avLst/>
            </a:prstTxWarp>
            <a:noAutofit/>
          </a:bodyPr>
          <a:lstStyle/>
          <a:p>
            <a:pPr defTabSz="914126" fontAlgn="base">
              <a:buClr>
                <a:srgbClr val="FF0000"/>
              </a:buClr>
              <a:buSzPct val="115000"/>
              <a:defRPr/>
            </a:pPr>
            <a:r>
              <a:rPr lang="en-GB" sz="2400" kern="1200" cap="all" dirty="0">
                <a:solidFill>
                  <a:srgbClr val="FFFFFF"/>
                </a:solidFill>
                <a:latin typeface="+mj-lt"/>
                <a:ea typeface="+mn-ea"/>
                <a:cs typeface="Calibri" panose="020F0502020204030204" pitchFamily="34" charset="0"/>
              </a:rPr>
              <a:t>Remote Employees are more prone to </a:t>
            </a:r>
            <a:endParaRPr lang="he-IL" sz="2400" kern="1200" cap="all" dirty="0">
              <a:solidFill>
                <a:srgbClr val="FFFFFF"/>
              </a:solidFill>
              <a:latin typeface="+mj-lt"/>
              <a:ea typeface="+mn-ea"/>
              <a:cs typeface="Calibri" panose="020F0502020204030204" pitchFamily="34" charset="0"/>
            </a:endParaRPr>
          </a:p>
          <a:p>
            <a:pPr defTabSz="914126" fontAlgn="base">
              <a:buClr>
                <a:srgbClr val="FF0000"/>
              </a:buClr>
              <a:buSzPct val="115000"/>
              <a:defRPr/>
            </a:pPr>
            <a:r>
              <a:rPr lang="en-GB" sz="3200" b="1" kern="1200" cap="all" dirty="0">
                <a:solidFill>
                  <a:srgbClr val="FFFFFF"/>
                </a:solidFill>
                <a:latin typeface="+mj-lt"/>
                <a:ea typeface="+mn-ea"/>
                <a:cs typeface="Calibri" panose="020F0502020204030204" pitchFamily="34" charset="0"/>
              </a:rPr>
              <a:t>Unintentional errors</a:t>
            </a:r>
          </a:p>
        </p:txBody>
      </p:sp>
      <p:grpSp>
        <p:nvGrpSpPr>
          <p:cNvPr id="33" name="Group 32">
            <a:extLst>
              <a:ext uri="{FF2B5EF4-FFF2-40B4-BE49-F238E27FC236}">
                <a16:creationId xmlns:a16="http://schemas.microsoft.com/office/drawing/2014/main" id="{ABEAFC3A-4473-460D-B6DF-18422F0E8333}"/>
              </a:ext>
            </a:extLst>
          </p:cNvPr>
          <p:cNvGrpSpPr/>
          <p:nvPr/>
        </p:nvGrpSpPr>
        <p:grpSpPr>
          <a:xfrm>
            <a:off x="1665871" y="3519645"/>
            <a:ext cx="2431700" cy="1982236"/>
            <a:chOff x="5604663" y="2320025"/>
            <a:chExt cx="2223881" cy="1812829"/>
          </a:xfrm>
        </p:grpSpPr>
        <p:sp>
          <p:nvSpPr>
            <p:cNvPr id="34" name="Freeform: Shape 33">
              <a:extLst>
                <a:ext uri="{FF2B5EF4-FFF2-40B4-BE49-F238E27FC236}">
                  <a16:creationId xmlns:a16="http://schemas.microsoft.com/office/drawing/2014/main" id="{672F0900-D6A9-4A53-902C-4B161D9C1AA6}"/>
                </a:ext>
              </a:extLst>
            </p:cNvPr>
            <p:cNvSpPr/>
            <p:nvPr/>
          </p:nvSpPr>
          <p:spPr bwMode="auto">
            <a:xfrm>
              <a:off x="5604664" y="232002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sp>
          <p:nvSpPr>
            <p:cNvPr id="35" name="Freeform: Shape 34">
              <a:extLst>
                <a:ext uri="{FF2B5EF4-FFF2-40B4-BE49-F238E27FC236}">
                  <a16:creationId xmlns:a16="http://schemas.microsoft.com/office/drawing/2014/main" id="{BB926939-8C99-43D9-86E4-BFD86D561D8A}"/>
                </a:ext>
              </a:extLst>
            </p:cNvPr>
            <p:cNvSpPr/>
            <p:nvPr/>
          </p:nvSpPr>
          <p:spPr bwMode="auto">
            <a:xfrm rot="5400000">
              <a:off x="7308514" y="2318117"/>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sp>
          <p:nvSpPr>
            <p:cNvPr id="36" name="Freeform: Shape 35">
              <a:extLst>
                <a:ext uri="{FF2B5EF4-FFF2-40B4-BE49-F238E27FC236}">
                  <a16:creationId xmlns:a16="http://schemas.microsoft.com/office/drawing/2014/main" id="{368DB73F-37D7-44B1-BD0D-3806C86F1E31}"/>
                </a:ext>
              </a:extLst>
            </p:cNvPr>
            <p:cNvSpPr/>
            <p:nvPr/>
          </p:nvSpPr>
          <p:spPr bwMode="auto">
            <a:xfrm rot="16200000" flipV="1">
              <a:off x="7308514" y="3612823"/>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sp>
          <p:nvSpPr>
            <p:cNvPr id="37" name="Freeform: Shape 36">
              <a:extLst>
                <a:ext uri="{FF2B5EF4-FFF2-40B4-BE49-F238E27FC236}">
                  <a16:creationId xmlns:a16="http://schemas.microsoft.com/office/drawing/2014/main" id="{8F733F45-4560-4771-BBB6-058DE7A973CE}"/>
                </a:ext>
              </a:extLst>
            </p:cNvPr>
            <p:cNvSpPr/>
            <p:nvPr/>
          </p:nvSpPr>
          <p:spPr bwMode="auto">
            <a:xfrm flipV="1">
              <a:off x="5604663" y="3610915"/>
              <a:ext cx="518122" cy="521939"/>
            </a:xfrm>
            <a:custGeom>
              <a:avLst/>
              <a:gdLst>
                <a:gd name="connsiteX0" fmla="*/ 0 w 518122"/>
                <a:gd name="connsiteY0" fmla="*/ 0 h 521939"/>
                <a:gd name="connsiteX1" fmla="*/ 518122 w 518122"/>
                <a:gd name="connsiteY1" fmla="*/ 0 h 521939"/>
                <a:gd name="connsiteX2" fmla="*/ 518122 w 518122"/>
                <a:gd name="connsiteY2" fmla="*/ 67327 h 521939"/>
                <a:gd name="connsiteX3" fmla="*/ 67328 w 518122"/>
                <a:gd name="connsiteY3" fmla="*/ 67327 h 521939"/>
                <a:gd name="connsiteX4" fmla="*/ 67328 w 518122"/>
                <a:gd name="connsiteY4" fmla="*/ 521939 h 521939"/>
                <a:gd name="connsiteX5" fmla="*/ 1 w 518122"/>
                <a:gd name="connsiteY5" fmla="*/ 521939 h 521939"/>
                <a:gd name="connsiteX6" fmla="*/ 1 w 518122"/>
                <a:gd name="connsiteY6" fmla="*/ 67327 h 521939"/>
                <a:gd name="connsiteX7" fmla="*/ 0 w 518122"/>
                <a:gd name="connsiteY7" fmla="*/ 67327 h 5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122" h="521939">
                  <a:moveTo>
                    <a:pt x="0" y="0"/>
                  </a:moveTo>
                  <a:lnTo>
                    <a:pt x="518122" y="0"/>
                  </a:lnTo>
                  <a:lnTo>
                    <a:pt x="518122" y="67327"/>
                  </a:lnTo>
                  <a:lnTo>
                    <a:pt x="67328" y="67327"/>
                  </a:lnTo>
                  <a:lnTo>
                    <a:pt x="67328" y="521939"/>
                  </a:lnTo>
                  <a:lnTo>
                    <a:pt x="1" y="521939"/>
                  </a:lnTo>
                  <a:lnTo>
                    <a:pt x="1" y="67327"/>
                  </a:lnTo>
                  <a:lnTo>
                    <a:pt x="0" y="67327"/>
                  </a:lnTo>
                  <a:close/>
                </a:path>
              </a:pathLst>
            </a:custGeom>
            <a:solidFill>
              <a:schemeClr val="bg1"/>
            </a:solidFill>
            <a:ln w="12700" algn="ctr">
              <a:noFill/>
              <a:miter lim="800000"/>
              <a:headEnd/>
              <a:tailEn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9" kern="1200" dirty="0" err="1">
                <a:solidFill>
                  <a:srgbClr val="4D4D4F"/>
                </a:solidFill>
                <a:latin typeface="Calibri"/>
                <a:ea typeface="+mn-ea"/>
                <a:cs typeface="Calibri" panose="020F0502020204030204" pitchFamily="34" charset="0"/>
              </a:endParaRPr>
            </a:p>
          </p:txBody>
        </p:sp>
      </p:grpSp>
      <p:sp>
        <p:nvSpPr>
          <p:cNvPr id="3" name="Date Placeholder 2" hidden="1"/>
          <p:cNvSpPr>
            <a:spLocks noGrp="1"/>
          </p:cNvSpPr>
          <p:nvPr>
            <p:ph type="dt" sz="half" idx="12"/>
          </p:nvPr>
        </p:nvSpPr>
        <p:spPr/>
        <p:txBody>
          <a:bodyPr/>
          <a:lstStyle/>
          <a:p>
            <a:pPr defTabSz="914126" fontAlgn="base">
              <a:spcBef>
                <a:spcPct val="20000"/>
              </a:spcBef>
              <a:spcAft>
                <a:spcPct val="0"/>
              </a:spcAft>
              <a:buClr>
                <a:srgbClr val="FF0000"/>
              </a:buClr>
              <a:buSzPct val="65000"/>
              <a:defRPr/>
            </a:pPr>
            <a:endParaRPr lang="en-US" kern="1200" dirty="0">
              <a:solidFill>
                <a:srgbClr val="4D4D4F">
                  <a:tint val="75000"/>
                </a:srgbClr>
              </a:solidFill>
              <a:latin typeface="Helvetica" pitchFamily="34" charset="0"/>
              <a:ea typeface="+mn-ea"/>
              <a:cs typeface="+mn-cs"/>
            </a:endParaRPr>
          </a:p>
        </p:txBody>
      </p:sp>
      <p:sp>
        <p:nvSpPr>
          <p:cNvPr id="14" name="Line Callout 1 4484">
            <a:extLst>
              <a:ext uri="{FF2B5EF4-FFF2-40B4-BE49-F238E27FC236}">
                <a16:creationId xmlns:a16="http://schemas.microsoft.com/office/drawing/2014/main" id="{635F72C7-3E2A-4057-A3E0-CE8747C60238}"/>
              </a:ext>
            </a:extLst>
          </p:cNvPr>
          <p:cNvSpPr/>
          <p:nvPr/>
        </p:nvSpPr>
        <p:spPr bwMode="auto">
          <a:xfrm>
            <a:off x="8225814" y="1815535"/>
            <a:ext cx="3342731" cy="3026216"/>
          </a:xfrm>
          <a:prstGeom prst="borderCallout1">
            <a:avLst>
              <a:gd name="adj1" fmla="val 98693"/>
              <a:gd name="adj2" fmla="val 92533"/>
              <a:gd name="adj3" fmla="val 83320"/>
              <a:gd name="adj4" fmla="val 72741"/>
            </a:avLst>
          </a:prstGeom>
          <a:no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30000"/>
              </a:spcBef>
              <a:spcAft>
                <a:spcPct val="0"/>
              </a:spcAft>
              <a:buClrTx/>
              <a:buFont typeface="Wingdings" pitchFamily="2" charset="2"/>
              <a:buNone/>
              <a:defRPr/>
            </a:pPr>
            <a:r>
              <a:rPr lang="en-US" sz="3200" kern="1200" dirty="0">
                <a:solidFill>
                  <a:schemeClr val="bg1"/>
                </a:solidFill>
                <a:latin typeface="Arial Black" panose="020B0A04020102020204" pitchFamily="34" charset="0"/>
                <a:ea typeface="+mn-ea"/>
                <a:cs typeface="Calibri" panose="020F0502020204030204" pitchFamily="34" charset="0"/>
              </a:rPr>
              <a:t>67</a:t>
            </a:r>
            <a:r>
              <a:rPr lang="en-US" sz="2400" kern="1200" dirty="0">
                <a:solidFill>
                  <a:schemeClr val="bg1"/>
                </a:solidFill>
                <a:latin typeface="Arial Black" panose="020B0A04020102020204" pitchFamily="34" charset="0"/>
                <a:ea typeface="+mn-ea"/>
                <a:cs typeface="Calibri" panose="020F0502020204030204" pitchFamily="34" charset="0"/>
              </a:rPr>
              <a:t>%</a:t>
            </a:r>
            <a:r>
              <a:rPr lang="en-US" sz="3200" kern="1200" dirty="0">
                <a:solidFill>
                  <a:schemeClr val="bg1"/>
                </a:solidFill>
                <a:latin typeface="Helvetica" pitchFamily="34" charset="0"/>
                <a:ea typeface="+mn-ea"/>
                <a:cs typeface="Calibri" panose="020F0502020204030204" pitchFamily="34" charset="0"/>
              </a:rPr>
              <a:t>  </a:t>
            </a:r>
          </a:p>
          <a:p>
            <a:pPr fontAlgn="base">
              <a:spcAft>
                <a:spcPct val="0"/>
              </a:spcAft>
              <a:buClrTx/>
              <a:buFont typeface="Wingdings" pitchFamily="2" charset="2"/>
              <a:buNone/>
              <a:defRPr/>
            </a:pPr>
            <a:r>
              <a:rPr lang="en-US" sz="1800" kern="1200" dirty="0">
                <a:solidFill>
                  <a:srgbClr val="FFFFFF"/>
                </a:solidFill>
                <a:latin typeface="Calibri" panose="020F0502020204030204" pitchFamily="34" charset="0"/>
                <a:ea typeface="+mn-ea"/>
                <a:cs typeface="Calibri" panose="020F0502020204030204" pitchFamily="34" charset="0"/>
              </a:rPr>
              <a:t>admit to finding workarounds to corporate security policies in order to be more productive</a:t>
            </a:r>
            <a:endParaRPr lang="en-GB" sz="1800" kern="1200" dirty="0">
              <a:solidFill>
                <a:srgbClr val="FFFFFF"/>
              </a:solidFill>
              <a:latin typeface="Calibri" panose="020F0502020204030204" pitchFamily="34" charset="0"/>
              <a:ea typeface="+mn-ea"/>
              <a:cs typeface="Calibri" panose="020F0502020204030204" pitchFamily="34" charset="0"/>
            </a:endParaRPr>
          </a:p>
        </p:txBody>
      </p:sp>
      <p:sp>
        <p:nvSpPr>
          <p:cNvPr id="15" name="Line Callout 1 4484">
            <a:extLst>
              <a:ext uri="{FF2B5EF4-FFF2-40B4-BE49-F238E27FC236}">
                <a16:creationId xmlns:a16="http://schemas.microsoft.com/office/drawing/2014/main" id="{635F72C7-3E2A-4057-A3E0-CE8747C60238}"/>
              </a:ext>
            </a:extLst>
          </p:cNvPr>
          <p:cNvSpPr/>
          <p:nvPr/>
        </p:nvSpPr>
        <p:spPr bwMode="auto">
          <a:xfrm>
            <a:off x="8305595" y="6160436"/>
            <a:ext cx="3539887" cy="382770"/>
          </a:xfrm>
          <a:prstGeom prst="borderCallout1">
            <a:avLst>
              <a:gd name="adj1" fmla="val 98693"/>
              <a:gd name="adj2" fmla="val 92533"/>
              <a:gd name="adj3" fmla="val 83320"/>
              <a:gd name="adj4" fmla="val 72741"/>
            </a:avLst>
          </a:prstGeom>
          <a:no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chemeClr val="bg1"/>
                </a:solidFill>
                <a:latin typeface="Calibri" panose="020F0502020204030204" pitchFamily="34" charset="0"/>
                <a:cs typeface="Calibri" panose="020F0502020204030204" pitchFamily="34" charset="0"/>
              </a:rPr>
              <a:t>*CyberArk State of Remote Work Study, Dec 2020</a:t>
            </a:r>
          </a:p>
        </p:txBody>
      </p:sp>
      <p:cxnSp>
        <p:nvCxnSpPr>
          <p:cNvPr id="18" name="Straight Connector 17">
            <a:extLst>
              <a:ext uri="{FF2B5EF4-FFF2-40B4-BE49-F238E27FC236}">
                <a16:creationId xmlns:a16="http://schemas.microsoft.com/office/drawing/2014/main" id="{54A1C47C-2B40-4EDD-BB7E-9BA885D2C6D4}"/>
              </a:ext>
            </a:extLst>
          </p:cNvPr>
          <p:cNvCxnSpPr>
            <a:cxnSpLocks/>
          </p:cNvCxnSpPr>
          <p:nvPr/>
        </p:nvCxnSpPr>
        <p:spPr bwMode="auto">
          <a:xfrm>
            <a:off x="8305595" y="2300866"/>
            <a:ext cx="1079719" cy="0"/>
          </a:xfrm>
          <a:prstGeom prst="line">
            <a:avLst/>
          </a:prstGeom>
          <a:solidFill>
            <a:schemeClr val="bg1"/>
          </a:solidFill>
          <a:ln w="12700" cap="rnd" cmpd="sng" algn="ctr">
            <a:solidFill>
              <a:schemeClr val="bg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0008917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hidden="1"/>
          <p:cNvSpPr>
            <a:spLocks noGrp="1"/>
          </p:cNvSpPr>
          <p:nvPr>
            <p:ph type="dt" idx="10"/>
          </p:nvPr>
        </p:nvSpPr>
        <p:spPr/>
        <p:txBody>
          <a:bodyPr/>
          <a:lstStyle/>
          <a:p>
            <a:endParaRPr lang="en-US" dirty="0"/>
          </a:p>
        </p:txBody>
      </p:sp>
      <p:sp>
        <p:nvSpPr>
          <p:cNvPr id="2" name="Footer Placeholder 1" hidden="1"/>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FFFFFF">
                    <a:lumMod val="75000"/>
                  </a:srgbClr>
                </a:solidFill>
                <a:effectLst/>
                <a:uLnTx/>
                <a:uFillTx/>
                <a:latin typeface="Calibri"/>
                <a:sym typeface="Arial"/>
              </a:rPr>
              <a:t> [Internal Use] for Check Point employees​</a:t>
            </a:r>
          </a:p>
        </p:txBody>
      </p:sp>
      <p:sp>
        <p:nvSpPr>
          <p:cNvPr id="8" name="Text Placeholder 7"/>
          <p:cNvSpPr>
            <a:spLocks noGrp="1"/>
          </p:cNvSpPr>
          <p:nvPr>
            <p:ph type="body" sz="quarter" idx="4294967295"/>
          </p:nvPr>
        </p:nvSpPr>
        <p:spPr>
          <a:xfrm>
            <a:off x="877824" y="2377441"/>
            <a:ext cx="6454775" cy="3027363"/>
          </a:xfrm>
        </p:spPr>
        <p:txBody>
          <a:bodyPr/>
          <a:lstStyle/>
          <a:p>
            <a:pPr marL="0" indent="0">
              <a:buNone/>
            </a:pPr>
            <a:r>
              <a:rPr lang="en-US" sz="5400" b="1" dirty="0">
                <a:solidFill>
                  <a:schemeClr val="bg1"/>
                </a:solidFill>
              </a:rPr>
              <a:t>Thank you</a:t>
            </a:r>
          </a:p>
        </p:txBody>
      </p:sp>
      <p:pic>
        <p:nvPicPr>
          <p:cNvPr id="6" name="Google Shape;186;p1" descr="Misfortune Cookie by Check Point"/>
          <p:cNvPicPr preferRelativeResize="0">
            <a:picLocks noChangeAspect="1"/>
          </p:cNvPicPr>
          <p:nvPr/>
        </p:nvPicPr>
        <p:blipFill rotWithShape="1">
          <a:blip r:embed="rId3">
            <a:alphaModFix/>
          </a:blip>
          <a:srcRect/>
          <a:stretch/>
        </p:blipFill>
        <p:spPr>
          <a:xfrm>
            <a:off x="325546" y="6029780"/>
            <a:ext cx="2757712" cy="457200"/>
          </a:xfrm>
          <a:prstGeom prst="rect">
            <a:avLst/>
          </a:prstGeom>
          <a:noFill/>
          <a:ln>
            <a:noFill/>
          </a:ln>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546" y="5017273"/>
            <a:ext cx="931335" cy="914400"/>
          </a:xfrm>
          <a:prstGeom prst="rect">
            <a:avLst/>
          </a:prstGeom>
        </p:spPr>
      </p:pic>
    </p:spTree>
    <p:extLst>
      <p:ext uri="{BB962C8B-B14F-4D97-AF65-F5344CB8AC3E}">
        <p14:creationId xmlns:p14="http://schemas.microsoft.com/office/powerpoint/2010/main" val="1801415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Shape 4871"/>
        <p:cNvGrpSpPr/>
        <p:nvPr/>
      </p:nvGrpSpPr>
      <p:grpSpPr>
        <a:xfrm>
          <a:off x="0" y="0"/>
          <a:ext cx="0" cy="0"/>
          <a:chOff x="0" y="0"/>
          <a:chExt cx="0" cy="0"/>
        </a:xfrm>
      </p:grpSpPr>
      <p:sp>
        <p:nvSpPr>
          <p:cNvPr id="3" name="Date Placeholder 2" hidden="1"/>
          <p:cNvSpPr>
            <a:spLocks noGrp="1"/>
          </p:cNvSpPr>
          <p:nvPr>
            <p:ph type="dt" idx="10"/>
          </p:nvPr>
        </p:nvSpPr>
        <p:spPr/>
        <p:txBody>
          <a:bodyPr/>
          <a:lstStyle/>
          <a:p>
            <a:endParaRPr lang="en-US" dirty="0">
              <a:solidFill>
                <a:srgbClr val="4D4D4F">
                  <a:tint val="75000"/>
                </a:srgbClr>
              </a:solidFill>
            </a:endParaRPr>
          </a:p>
        </p:txBody>
      </p:sp>
      <p:sp>
        <p:nvSpPr>
          <p:cNvPr id="2" name="Footer Placeholder 1" hidden="1"/>
          <p:cNvSpPr>
            <a:spLocks noGrp="1"/>
          </p:cNvSpPr>
          <p:nvPr>
            <p:ph type="ftr" sz="quarter" idx="11"/>
          </p:nvPr>
        </p:nvSpPr>
        <p:spPr/>
        <p:txBody>
          <a:bodyPr/>
          <a:lstStyle/>
          <a:p>
            <a:r>
              <a:rPr lang="en-US" dirty="0">
                <a:solidFill>
                  <a:srgbClr val="FFFFFF">
                    <a:lumMod val="75000"/>
                  </a:srgbClr>
                </a:solidFill>
              </a:rPr>
              <a:t> [Internal Use] for Check Point employees​</a:t>
            </a:r>
          </a:p>
        </p:txBody>
      </p:sp>
      <p:sp>
        <p:nvSpPr>
          <p:cNvPr id="75" name="Rectangle 74">
            <a:extLst>
              <a:ext uri="{FF2B5EF4-FFF2-40B4-BE49-F238E27FC236}">
                <a16:creationId xmlns:a16="http://schemas.microsoft.com/office/drawing/2014/main" id="{04C10767-B588-4939-94AD-2B7105FCA0F7}"/>
              </a:ext>
            </a:extLst>
          </p:cNvPr>
          <p:cNvSpPr/>
          <p:nvPr/>
        </p:nvSpPr>
        <p:spPr bwMode="auto">
          <a:xfrm>
            <a:off x="8007948" y="893"/>
            <a:ext cx="3916533" cy="6486517"/>
          </a:xfrm>
          <a:prstGeom prst="rect">
            <a:avLst/>
          </a:prstGeom>
          <a:solidFill>
            <a:schemeClr val="accent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sz="2398" kern="1200" dirty="0" err="1">
              <a:solidFill>
                <a:srgbClr val="4D4D4F"/>
              </a:solidFill>
              <a:latin typeface="Calibri"/>
              <a:ea typeface="+mn-ea"/>
              <a:cs typeface="Calibri" panose="020F0502020204030204" pitchFamily="34" charset="0"/>
            </a:endParaRPr>
          </a:p>
        </p:txBody>
      </p:sp>
      <p:pic>
        <p:nvPicPr>
          <p:cNvPr id="80" name="Google Shape;6184;p40"/>
          <p:cNvPicPr preferRelativeResize="0"/>
          <p:nvPr/>
        </p:nvPicPr>
        <p:blipFill rotWithShape="1">
          <a:blip r:embed="rId3">
            <a:alphaModFix/>
          </a:blip>
          <a:srcRect/>
          <a:stretch/>
        </p:blipFill>
        <p:spPr>
          <a:xfrm>
            <a:off x="380202" y="5401836"/>
            <a:ext cx="877245" cy="862241"/>
          </a:xfrm>
          <a:prstGeom prst="rect">
            <a:avLst/>
          </a:prstGeom>
          <a:noFill/>
          <a:ln>
            <a:noFill/>
          </a:ln>
        </p:spPr>
      </p:pic>
      <p:sp>
        <p:nvSpPr>
          <p:cNvPr id="81" name="Line Callout 1 4484">
            <a:extLst>
              <a:ext uri="{FF2B5EF4-FFF2-40B4-BE49-F238E27FC236}">
                <a16:creationId xmlns:a16="http://schemas.microsoft.com/office/drawing/2014/main" id="{635F72C7-3E2A-4057-A3E0-CE8747C60238}"/>
              </a:ext>
            </a:extLst>
          </p:cNvPr>
          <p:cNvSpPr/>
          <p:nvPr/>
        </p:nvSpPr>
        <p:spPr bwMode="auto">
          <a:xfrm>
            <a:off x="8219336" y="767462"/>
            <a:ext cx="3658254" cy="2614530"/>
          </a:xfrm>
          <a:prstGeom prst="borderCallout1">
            <a:avLst>
              <a:gd name="adj1" fmla="val 98693"/>
              <a:gd name="adj2" fmla="val 92533"/>
              <a:gd name="adj3" fmla="val 83320"/>
              <a:gd name="adj4" fmla="val 72741"/>
            </a:avLst>
          </a:prstGeom>
          <a:no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defTabSz="913852" fontAlgn="base">
              <a:spcBef>
                <a:spcPct val="30000"/>
              </a:spcBef>
              <a:spcAft>
                <a:spcPct val="0"/>
              </a:spcAft>
              <a:buClrTx/>
              <a:defRPr/>
            </a:pPr>
            <a:r>
              <a:rPr lang="en-US" sz="3199" b="1" kern="1200" dirty="0">
                <a:solidFill>
                  <a:srgbClr val="D51067">
                    <a:lumMod val="40000"/>
                    <a:lumOff val="60000"/>
                  </a:srgbClr>
                </a:solidFill>
                <a:effectLst>
                  <a:outerShdw blurRad="38100" dist="38100" dir="2700000" algn="tl">
                    <a:srgbClr val="000000">
                      <a:alpha val="43137"/>
                    </a:srgbClr>
                  </a:outerShdw>
                </a:effectLst>
                <a:latin typeface="Calibri"/>
                <a:ea typeface="+mn-ea"/>
                <a:cs typeface="Calibri" panose="020F0502020204030204" pitchFamily="34" charset="0"/>
              </a:rPr>
              <a:t>For a more personal understanding:</a:t>
            </a:r>
          </a:p>
          <a:p>
            <a:pPr defTabSz="913852" fontAlgn="base">
              <a:spcBef>
                <a:spcPct val="30000"/>
              </a:spcBef>
              <a:spcAft>
                <a:spcPct val="0"/>
              </a:spcAft>
              <a:buClrTx/>
              <a:defRPr/>
            </a:pPr>
            <a:r>
              <a:rPr lang="en-US" sz="3199" b="1" kern="1200" dirty="0">
                <a:solidFill>
                  <a:srgbClr val="FFFFFF"/>
                </a:solidFill>
                <a:effectLst>
                  <a:outerShdw blurRad="38100" dist="38100" dir="2700000" algn="tl">
                    <a:srgbClr val="000000">
                      <a:alpha val="43137"/>
                    </a:srgbClr>
                  </a:outerShdw>
                </a:effectLst>
                <a:latin typeface="Calibri"/>
                <a:ea typeface="+mn-ea"/>
                <a:cs typeface="Calibri" panose="020F0502020204030204" pitchFamily="34" charset="0"/>
              </a:rPr>
              <a:t>Register for a Demo </a:t>
            </a:r>
          </a:p>
          <a:p>
            <a:pPr defTabSz="913852" fontAlgn="base">
              <a:spcBef>
                <a:spcPct val="30000"/>
              </a:spcBef>
              <a:spcAft>
                <a:spcPct val="0"/>
              </a:spcAft>
              <a:buClrTx/>
              <a:defRPr/>
            </a:pPr>
            <a:endParaRPr lang="en-US" sz="3198" kern="1200" dirty="0">
              <a:solidFill>
                <a:srgbClr val="FFFFFF"/>
              </a:solidFill>
              <a:latin typeface="Helvetica" pitchFamily="34" charset="0"/>
              <a:ea typeface="+mn-ea"/>
              <a:cs typeface="Calibri" panose="020F0502020204030204" pitchFamily="34" charset="0"/>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3793" y="3244151"/>
            <a:ext cx="2015274" cy="2015274"/>
          </a:xfrm>
          <a:prstGeom prst="rect">
            <a:avLst/>
          </a:prstGeom>
        </p:spPr>
      </p:pic>
      <p:sp>
        <p:nvSpPr>
          <p:cNvPr id="82" name="Text Placeholder 7"/>
          <p:cNvSpPr txBox="1">
            <a:spLocks/>
          </p:cNvSpPr>
          <p:nvPr/>
        </p:nvSpPr>
        <p:spPr bwMode="auto">
          <a:xfrm>
            <a:off x="8219336" y="5343820"/>
            <a:ext cx="3371230" cy="696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anchor="t" anchorCtr="0" compatLnSpc="1">
            <a:prstTxWarp prst="textNoShape">
              <a:avLst/>
            </a:prstTxWarp>
            <a:noAutofit/>
          </a:bodyPr>
          <a:lstStyle>
            <a:lvl1pPr marL="228531" indent="-228531" algn="l" rtl="0" eaLnBrk="1" fontAlgn="base" hangingPunct="1">
              <a:lnSpc>
                <a:spcPct val="95000"/>
              </a:lnSpc>
              <a:spcBef>
                <a:spcPts val="1000"/>
              </a:spcBef>
              <a:spcAft>
                <a:spcPct val="0"/>
              </a:spcAft>
              <a:buClr>
                <a:schemeClr val="tx2"/>
              </a:buClr>
              <a:buSzPct val="85000"/>
              <a:buFont typeface="Arial" panose="020B0604020202020204" pitchFamily="34" charset="0"/>
              <a:buChar char="•"/>
              <a:defRPr lang="en-US" sz="2799" dirty="0" smtClean="0">
                <a:solidFill>
                  <a:schemeClr val="tx1"/>
                </a:solidFill>
                <a:latin typeface="Arial" panose="020B0604020202020204" pitchFamily="34" charset="0"/>
                <a:ea typeface="+mn-ea"/>
                <a:cs typeface="Arial" pitchFamily="34" charset="0"/>
              </a:defRPr>
            </a:lvl1pPr>
            <a:lvl2pPr marL="575899"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2399" dirty="0" smtClean="0">
                <a:solidFill>
                  <a:schemeClr val="tx1"/>
                </a:solidFill>
                <a:latin typeface="Arial" panose="020B0604020202020204" pitchFamily="34" charset="0"/>
              </a:defRPr>
            </a:lvl2pPr>
            <a:lvl3pPr marL="886702" indent="-228531" algn="l" rtl="0" eaLnBrk="1" fontAlgn="base" hangingPunct="1">
              <a:lnSpc>
                <a:spcPct val="95000"/>
              </a:lnSpc>
              <a:spcBef>
                <a:spcPts val="800"/>
              </a:spcBef>
              <a:spcAft>
                <a:spcPct val="0"/>
              </a:spcAft>
              <a:buClr>
                <a:schemeClr val="tx2"/>
              </a:buClr>
              <a:buSzPct val="100000"/>
              <a:buFont typeface="Arial" panose="020B0604020202020204" pitchFamily="34" charset="0"/>
              <a:buChar char="•"/>
              <a:defRPr lang="en-US" sz="1999" dirty="0" smtClean="0">
                <a:solidFill>
                  <a:schemeClr val="tx1"/>
                </a:solidFill>
                <a:latin typeface="Arial" panose="020B0604020202020204" pitchFamily="34" charset="0"/>
              </a:defRPr>
            </a:lvl3pPr>
            <a:lvl4pPr marL="1170081" indent="-228531" algn="l" rtl="0" eaLnBrk="1" fontAlgn="base" hangingPunct="1">
              <a:lnSpc>
                <a:spcPct val="90000"/>
              </a:lnSpc>
              <a:spcBef>
                <a:spcPts val="800"/>
              </a:spcBef>
              <a:spcAft>
                <a:spcPct val="0"/>
              </a:spcAft>
              <a:buClr>
                <a:schemeClr val="accent2"/>
              </a:buClr>
              <a:buSzPct val="100000"/>
              <a:buFont typeface="Arial" panose="020B0604020202020204" pitchFamily="34" charset="0"/>
              <a:buChar char="̶"/>
              <a:defRPr lang="en-US" sz="1799" dirty="0" smtClean="0">
                <a:solidFill>
                  <a:schemeClr val="tx1"/>
                </a:solidFill>
                <a:latin typeface="+mn-lt"/>
              </a:defRPr>
            </a:lvl4pPr>
            <a:lvl5pPr marL="1462601" indent="-228531" algn="l" rtl="0" eaLnBrk="1" fontAlgn="base" hangingPunct="1">
              <a:lnSpc>
                <a:spcPct val="90000"/>
              </a:lnSpc>
              <a:spcBef>
                <a:spcPts val="800"/>
              </a:spcBef>
              <a:spcAft>
                <a:spcPct val="0"/>
              </a:spcAft>
              <a:buClr>
                <a:schemeClr val="accent2"/>
              </a:buClr>
              <a:buFont typeface="Arial" panose="020B0604020202020204" pitchFamily="34" charset="0"/>
              <a:buChar char="̶"/>
              <a:defRPr lang="en-US" sz="1600" baseline="0" dirty="0" smtClean="0">
                <a:solidFill>
                  <a:schemeClr val="tx1"/>
                </a:solidFill>
                <a:latin typeface="+mn-lt"/>
              </a:defRPr>
            </a:lvl5pPr>
            <a:lvl6pPr marL="3351207" indent="-304656" algn="l" rtl="0" eaLnBrk="1" fontAlgn="base" hangingPunct="1">
              <a:spcBef>
                <a:spcPct val="20000"/>
              </a:spcBef>
              <a:spcAft>
                <a:spcPct val="0"/>
              </a:spcAft>
              <a:buClr>
                <a:schemeClr val="accent2"/>
              </a:buClr>
              <a:buChar char="»"/>
              <a:defRPr sz="2099">
                <a:solidFill>
                  <a:schemeClr val="tx1"/>
                </a:solidFill>
                <a:latin typeface="+mn-lt"/>
              </a:defRPr>
            </a:lvl6pPr>
            <a:lvl7pPr marL="3960518" indent="-304656" algn="l" rtl="0" eaLnBrk="1" fontAlgn="base" hangingPunct="1">
              <a:spcBef>
                <a:spcPct val="20000"/>
              </a:spcBef>
              <a:spcAft>
                <a:spcPct val="0"/>
              </a:spcAft>
              <a:buClr>
                <a:schemeClr val="accent2"/>
              </a:buClr>
              <a:buChar char="»"/>
              <a:defRPr sz="2099">
                <a:solidFill>
                  <a:schemeClr val="tx1"/>
                </a:solidFill>
                <a:latin typeface="+mn-lt"/>
              </a:defRPr>
            </a:lvl7pPr>
            <a:lvl8pPr marL="4569829" indent="-304656" algn="l" rtl="0" eaLnBrk="1" fontAlgn="base" hangingPunct="1">
              <a:spcBef>
                <a:spcPct val="20000"/>
              </a:spcBef>
              <a:spcAft>
                <a:spcPct val="0"/>
              </a:spcAft>
              <a:buClr>
                <a:schemeClr val="accent2"/>
              </a:buClr>
              <a:buChar char="»"/>
              <a:defRPr sz="2099">
                <a:solidFill>
                  <a:schemeClr val="tx1"/>
                </a:solidFill>
                <a:latin typeface="+mn-lt"/>
              </a:defRPr>
            </a:lvl8pPr>
            <a:lvl9pPr marL="5179139" indent="-304656" algn="l" rtl="0" eaLnBrk="1" fontAlgn="base" hangingPunct="1">
              <a:spcBef>
                <a:spcPct val="20000"/>
              </a:spcBef>
              <a:spcAft>
                <a:spcPct val="0"/>
              </a:spcAft>
              <a:buClr>
                <a:schemeClr val="accent2"/>
              </a:buClr>
              <a:buChar char="»"/>
              <a:defRPr sz="2099">
                <a:solidFill>
                  <a:schemeClr val="tx1"/>
                </a:solidFill>
                <a:latin typeface="+mn-lt"/>
              </a:defRPr>
            </a:lvl9pPr>
          </a:lstStyle>
          <a:p>
            <a:pPr marL="0" indent="0">
              <a:buClr>
                <a:srgbClr val="920053"/>
              </a:buClr>
              <a:buNone/>
            </a:pPr>
            <a:r>
              <a:rPr sz="1800" b="1" dirty="0">
                <a:solidFill>
                  <a:srgbClr val="D51067">
                    <a:lumMod val="60000"/>
                    <a:lumOff val="40000"/>
                  </a:srgbClr>
                </a:solidFill>
                <a:effectLst>
                  <a:outerShdw blurRad="38100" dist="38100" dir="2700000" algn="tl">
                    <a:srgbClr val="000000">
                      <a:alpha val="43137"/>
                    </a:srgbClr>
                  </a:outerShdw>
                </a:effectLst>
                <a:latin typeface="+mj-lt"/>
                <a:cs typeface="Calibri" panose="020F0502020204030204" pitchFamily="34" charset="0"/>
              </a:rPr>
              <a:t>pages.checkpoint.com/harmony-demo.html</a:t>
            </a:r>
          </a:p>
        </p:txBody>
      </p:sp>
    </p:spTree>
    <p:extLst>
      <p:ext uri="{BB962C8B-B14F-4D97-AF65-F5344CB8AC3E}">
        <p14:creationId xmlns:p14="http://schemas.microsoft.com/office/powerpoint/2010/main" val="965908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tanding in front of a computer screen&#10;&#10;Description automatically generated">
            <a:extLst>
              <a:ext uri="{FF2B5EF4-FFF2-40B4-BE49-F238E27FC236}">
                <a16:creationId xmlns:a16="http://schemas.microsoft.com/office/drawing/2014/main" id="{A8C365EF-573E-452E-8AA1-8F3500D3D3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4177"/>
            <a:ext cx="12188825" cy="6512968"/>
          </a:xfrm>
          <a:prstGeom prst="rect">
            <a:avLst/>
          </a:prstGeom>
        </p:spPr>
      </p:pic>
      <p:sp>
        <p:nvSpPr>
          <p:cNvPr id="2" name="Footer Placeholder 1" hidden="1">
            <a:extLst>
              <a:ext uri="{FF2B5EF4-FFF2-40B4-BE49-F238E27FC236}">
                <a16:creationId xmlns:a16="http://schemas.microsoft.com/office/drawing/2014/main" id="{7FE306CA-3C2E-4599-A740-AB0E05502522}"/>
              </a:ext>
            </a:extLst>
          </p:cNvPr>
          <p:cNvSpPr>
            <a:spLocks noGrp="1"/>
          </p:cNvSpPr>
          <p:nvPr>
            <p:ph type="ftr" sz="quarter" idx="11"/>
          </p:nvPr>
        </p:nvSpPr>
        <p:spPr/>
        <p:txBody>
          <a:bodyPr/>
          <a:lstStyle/>
          <a:p>
            <a:pPr>
              <a:buClr>
                <a:srgbClr val="FF0000"/>
              </a:buClr>
            </a:pPr>
            <a:r>
              <a:rPr lang="en-US" dirty="0">
                <a:solidFill>
                  <a:srgbClr val="FFFFFF">
                    <a:lumMod val="75000"/>
                  </a:srgbClr>
                </a:solidFill>
              </a:rPr>
              <a:t> [Internal Use] for Check Point employees​</a:t>
            </a:r>
          </a:p>
        </p:txBody>
      </p:sp>
      <p:sp>
        <p:nvSpPr>
          <p:cNvPr id="16" name="Rectangle 15">
            <a:extLst>
              <a:ext uri="{FF2B5EF4-FFF2-40B4-BE49-F238E27FC236}">
                <a16:creationId xmlns:a16="http://schemas.microsoft.com/office/drawing/2014/main" id="{80B4BF5D-FD22-4705-909B-ED2E23825680}"/>
              </a:ext>
            </a:extLst>
          </p:cNvPr>
          <p:cNvSpPr/>
          <p:nvPr/>
        </p:nvSpPr>
        <p:spPr bwMode="auto">
          <a:xfrm>
            <a:off x="0" y="-31560"/>
            <a:ext cx="12193911" cy="6540352"/>
          </a:xfrm>
          <a:prstGeom prst="rect">
            <a:avLst/>
          </a:prstGeom>
          <a:solidFill>
            <a:schemeClr val="accent6">
              <a:alpha val="65000"/>
            </a:schemeClr>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cxnSp>
        <p:nvCxnSpPr>
          <p:cNvPr id="7" name="Straight Connector 6">
            <a:extLst>
              <a:ext uri="{FF2B5EF4-FFF2-40B4-BE49-F238E27FC236}">
                <a16:creationId xmlns:a16="http://schemas.microsoft.com/office/drawing/2014/main" id="{B83358EF-B1A3-48F3-A656-96D9E94C3BDC}"/>
              </a:ext>
            </a:extLst>
          </p:cNvPr>
          <p:cNvCxnSpPr>
            <a:cxnSpLocks/>
          </p:cNvCxnSpPr>
          <p:nvPr/>
        </p:nvCxnSpPr>
        <p:spPr bwMode="auto">
          <a:xfrm>
            <a:off x="-588500" y="4561385"/>
            <a:ext cx="4827527" cy="0"/>
          </a:xfrm>
          <a:prstGeom prst="line">
            <a:avLst/>
          </a:prstGeom>
          <a:solidFill>
            <a:schemeClr val="bg1"/>
          </a:solidFill>
          <a:ln w="12700" cap="rnd"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a:extLst>
              <a:ext uri="{FF2B5EF4-FFF2-40B4-BE49-F238E27FC236}">
                <a16:creationId xmlns:a16="http://schemas.microsoft.com/office/drawing/2014/main" id="{803134B5-6789-4BF6-89F0-478B73CBE19E}"/>
              </a:ext>
            </a:extLst>
          </p:cNvPr>
          <p:cNvSpPr/>
          <p:nvPr/>
        </p:nvSpPr>
        <p:spPr bwMode="auto">
          <a:xfrm>
            <a:off x="445259" y="4671867"/>
            <a:ext cx="7037581" cy="1729011"/>
          </a:xfrm>
          <a:prstGeom prst="rect">
            <a:avLst/>
          </a:prstGeom>
          <a:noFill/>
          <a:ln w="12700" algn="ctr">
            <a:noFill/>
            <a:miter lim="800000"/>
            <a:headEnd/>
            <a:tailEnd/>
          </a:ln>
          <a:effectLst/>
        </p:spPr>
        <p:txBody>
          <a:bodyPr rot="0" spcFirstLastPara="0" vertOverflow="overflow" horzOverflow="overflow" vert="horz" wrap="square" lIns="144000" tIns="72000" rIns="0" bIns="0" numCol="1" spcCol="0" rtlCol="0" fromWordArt="0" anchor="t" anchorCtr="0" forceAA="0" compatLnSpc="1">
            <a:prstTxWarp prst="textNoShape">
              <a:avLst/>
            </a:prstTxWarp>
            <a:noAutofit/>
          </a:bodyPr>
          <a:lstStyle/>
          <a:p>
            <a:pPr fontAlgn="base">
              <a:buClr>
                <a:srgbClr val="FF0000"/>
              </a:buClr>
              <a:buSzPct val="115000"/>
              <a:buFont typeface="Wingdings" pitchFamily="2" charset="2"/>
              <a:buNone/>
            </a:pPr>
            <a:r>
              <a:rPr lang="en-GB" sz="2400" kern="1200" cap="all" dirty="0">
                <a:solidFill>
                  <a:srgbClr val="FFFFFF"/>
                </a:solidFill>
                <a:latin typeface="+mj-lt"/>
                <a:ea typeface="+mn-ea"/>
                <a:cs typeface="Calibri" panose="020F0502020204030204" pitchFamily="34" charset="0"/>
              </a:rPr>
              <a:t>Hackers take advantage OF THE SITUATION</a:t>
            </a:r>
          </a:p>
          <a:p>
            <a:pPr fontAlgn="base">
              <a:buClr>
                <a:srgbClr val="FF0000"/>
              </a:buClr>
              <a:buSzPct val="115000"/>
              <a:buFont typeface="Wingdings" pitchFamily="2" charset="2"/>
              <a:buNone/>
            </a:pPr>
            <a:r>
              <a:rPr lang="en-GB" sz="3200" b="1" kern="1200" cap="all" dirty="0">
                <a:solidFill>
                  <a:srgbClr val="FFFFFF"/>
                </a:solidFill>
                <a:latin typeface="+mj-lt"/>
                <a:ea typeface="+mn-ea"/>
                <a:cs typeface="Calibri" panose="020F0502020204030204" pitchFamily="34" charset="0"/>
              </a:rPr>
              <a:t>Global surge in ransomware and social engineering attacks</a:t>
            </a:r>
          </a:p>
        </p:txBody>
      </p:sp>
      <p:sp>
        <p:nvSpPr>
          <p:cNvPr id="9" name="Rectangle 8">
            <a:extLst>
              <a:ext uri="{FF2B5EF4-FFF2-40B4-BE49-F238E27FC236}">
                <a16:creationId xmlns:a16="http://schemas.microsoft.com/office/drawing/2014/main" id="{DE187716-8353-45FA-B115-220441917EA3}"/>
              </a:ext>
            </a:extLst>
          </p:cNvPr>
          <p:cNvSpPr/>
          <p:nvPr/>
        </p:nvSpPr>
        <p:spPr bwMode="auto">
          <a:xfrm>
            <a:off x="8037501" y="104152"/>
            <a:ext cx="3704409" cy="6404639"/>
          </a:xfrm>
          <a:prstGeom prst="rect">
            <a:avLst/>
          </a:prstGeom>
          <a:solidFill>
            <a:schemeClr val="accent6"/>
          </a:solid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80000"/>
              </a:lnSpc>
              <a:spcBef>
                <a:spcPts val="1200"/>
              </a:spcBef>
              <a:buClr>
                <a:srgbClr val="FF0000"/>
              </a:buClr>
              <a:buSzPct val="115000"/>
              <a:buFont typeface="Wingdings" pitchFamily="2" charset="2"/>
              <a:buNone/>
            </a:pPr>
            <a:endParaRPr lang="en-US" sz="2400" kern="1200" dirty="0" err="1">
              <a:solidFill>
                <a:srgbClr val="4D4D4F"/>
              </a:solidFill>
              <a:latin typeface="Calibri"/>
              <a:ea typeface="+mn-ea"/>
              <a:cs typeface="Calibri" panose="020F0502020204030204" pitchFamily="34" charset="0"/>
            </a:endParaRPr>
          </a:p>
        </p:txBody>
      </p:sp>
      <p:sp>
        <p:nvSpPr>
          <p:cNvPr id="10" name="Line Callout 1 4484">
            <a:extLst>
              <a:ext uri="{FF2B5EF4-FFF2-40B4-BE49-F238E27FC236}">
                <a16:creationId xmlns:a16="http://schemas.microsoft.com/office/drawing/2014/main" id="{1BDE6842-3973-469D-8251-B9379C7C2EAB}"/>
              </a:ext>
            </a:extLst>
          </p:cNvPr>
          <p:cNvSpPr/>
          <p:nvPr/>
        </p:nvSpPr>
        <p:spPr bwMode="auto">
          <a:xfrm>
            <a:off x="8239675" y="895020"/>
            <a:ext cx="3502235" cy="1522840"/>
          </a:xfrm>
          <a:prstGeom prst="borderCallout1">
            <a:avLst>
              <a:gd name="adj1" fmla="val 98693"/>
              <a:gd name="adj2" fmla="val 92533"/>
              <a:gd name="adj3" fmla="val 83320"/>
              <a:gd name="adj4" fmla="val 72741"/>
            </a:avLst>
          </a:prstGeom>
          <a:noFill/>
          <a:ln w="12700"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30000"/>
              </a:spcBef>
              <a:spcAft>
                <a:spcPct val="0"/>
              </a:spcAft>
              <a:buClrTx/>
              <a:buFont typeface="Wingdings" pitchFamily="2" charset="2"/>
              <a:buNone/>
              <a:defRPr/>
            </a:pPr>
            <a:r>
              <a:rPr lang="en-GB" sz="3200" kern="1200" dirty="0">
                <a:solidFill>
                  <a:srgbClr val="FFFFFF"/>
                </a:solidFill>
                <a:latin typeface="Arial Black" panose="020B0A04020102020204" pitchFamily="34" charset="0"/>
                <a:ea typeface="+mn-ea"/>
                <a:cs typeface="Calibri" panose="020F0502020204030204" pitchFamily="34" charset="0"/>
              </a:rPr>
              <a:t>50</a:t>
            </a:r>
            <a:r>
              <a:rPr lang="en-US" sz="2400" kern="1200" dirty="0">
                <a:solidFill>
                  <a:srgbClr val="FFFFFF"/>
                </a:solidFill>
                <a:latin typeface="Arial Black" panose="020B0A04020102020204" pitchFamily="34" charset="0"/>
                <a:ea typeface="+mn-ea"/>
                <a:cs typeface="Calibri" panose="020F0502020204030204" pitchFamily="34" charset="0"/>
              </a:rPr>
              <a:t>%</a:t>
            </a:r>
            <a:r>
              <a:rPr lang="en-US" sz="3200" kern="1200" dirty="0">
                <a:solidFill>
                  <a:srgbClr val="FFFFFF"/>
                </a:solidFill>
                <a:latin typeface="Helvetica" pitchFamily="34" charset="0"/>
                <a:ea typeface="+mn-ea"/>
                <a:cs typeface="Calibri" panose="020F0502020204030204" pitchFamily="34" charset="0"/>
              </a:rPr>
              <a:t>  </a:t>
            </a:r>
          </a:p>
          <a:p>
            <a:pPr fontAlgn="base">
              <a:spcAft>
                <a:spcPct val="0"/>
              </a:spcAft>
              <a:buClrTx/>
              <a:defRPr/>
            </a:pPr>
            <a:r>
              <a:rPr lang="en-GB" sz="1800" kern="1200" dirty="0">
                <a:solidFill>
                  <a:srgbClr val="FFFFFF"/>
                </a:solidFill>
                <a:latin typeface="Calibri" panose="020F0502020204030204" pitchFamily="34" charset="0"/>
                <a:ea typeface="+mn-ea"/>
                <a:cs typeface="Calibri" panose="020F0502020204030204" pitchFamily="34" charset="0"/>
              </a:rPr>
              <a:t>increase in the daily average of ransomware attacks worldwide in Q3 2020</a:t>
            </a:r>
          </a:p>
        </p:txBody>
      </p:sp>
      <p:cxnSp>
        <p:nvCxnSpPr>
          <p:cNvPr id="11" name="Straight Connector 10">
            <a:extLst>
              <a:ext uri="{FF2B5EF4-FFF2-40B4-BE49-F238E27FC236}">
                <a16:creationId xmlns:a16="http://schemas.microsoft.com/office/drawing/2014/main" id="{B3A8A175-EA25-496E-96FB-D2D957440549}"/>
              </a:ext>
            </a:extLst>
          </p:cNvPr>
          <p:cNvCxnSpPr>
            <a:cxnSpLocks/>
          </p:cNvCxnSpPr>
          <p:nvPr/>
        </p:nvCxnSpPr>
        <p:spPr bwMode="auto">
          <a:xfrm>
            <a:off x="8299395" y="3264363"/>
            <a:ext cx="1080000" cy="0"/>
          </a:xfrm>
          <a:prstGeom prst="line">
            <a:avLst/>
          </a:prstGeom>
          <a:solidFill>
            <a:schemeClr val="bg1"/>
          </a:solidFill>
          <a:ln w="12700" cap="rnd" cmpd="sng" algn="ctr">
            <a:solidFill>
              <a:schemeClr val="bg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67323BC9-63FE-4399-B56D-7313C558CFF7}"/>
              </a:ext>
            </a:extLst>
          </p:cNvPr>
          <p:cNvSpPr txBox="1"/>
          <p:nvPr/>
        </p:nvSpPr>
        <p:spPr bwMode="auto">
          <a:xfrm>
            <a:off x="8201672" y="2257752"/>
            <a:ext cx="2378815" cy="320216"/>
          </a:xfrm>
          <a:prstGeom prst="rect">
            <a:avLst/>
          </a:prstGeom>
          <a:noFill/>
          <a:ln>
            <a:noFill/>
          </a:ln>
          <a:effectLst/>
        </p:spPr>
        <p:txBody>
          <a:bodyPr wrap="square">
            <a:spAutoFit/>
          </a:bodyPr>
          <a:lstStyle/>
          <a:p>
            <a:pPr marL="11113" lvl="1" fontAlgn="base">
              <a:lnSpc>
                <a:spcPts val="2000"/>
              </a:lnSpc>
              <a:buClr>
                <a:srgbClr val="72183E"/>
              </a:buClr>
              <a:buSzPct val="65000"/>
              <a:buFont typeface="Arial" panose="020B0604020202020204" pitchFamily="34" charset="0"/>
              <a:buNone/>
              <a:defRPr/>
            </a:pPr>
            <a:r>
              <a:rPr lang="en-GB" sz="1050" dirty="0">
                <a:solidFill>
                  <a:srgbClr val="FFFFFF"/>
                </a:solidFill>
                <a:latin typeface="Calibri"/>
                <a:ea typeface="+mn-ea"/>
                <a:cs typeface="Calibri" panose="020F0502020204030204" pitchFamily="34" charset="0"/>
              </a:rPr>
              <a:t>Compared to the first half of the year</a:t>
            </a:r>
          </a:p>
        </p:txBody>
      </p:sp>
      <p:sp>
        <p:nvSpPr>
          <p:cNvPr id="3" name="Date Placeholder 2" hidden="1"/>
          <p:cNvSpPr>
            <a:spLocks noGrp="1"/>
          </p:cNvSpPr>
          <p:nvPr>
            <p:ph type="dt" sz="half" idx="12"/>
          </p:nvPr>
        </p:nvSpPr>
        <p:spPr/>
        <p:txBody>
          <a:bodyPr/>
          <a:lstStyle/>
          <a:p>
            <a:pPr>
              <a:buClr>
                <a:srgbClr val="FF0000"/>
              </a:buClr>
            </a:pPr>
            <a:endParaRPr lang="en-US" dirty="0">
              <a:solidFill>
                <a:srgbClr val="4D4D4F">
                  <a:tint val="75000"/>
                </a:srgbClr>
              </a:solidFill>
            </a:endParaRPr>
          </a:p>
        </p:txBody>
      </p:sp>
      <p:sp>
        <p:nvSpPr>
          <p:cNvPr id="5" name="Rectangle 4"/>
          <p:cNvSpPr/>
          <p:nvPr/>
        </p:nvSpPr>
        <p:spPr>
          <a:xfrm>
            <a:off x="8239675" y="3666216"/>
            <a:ext cx="3307891" cy="1477328"/>
          </a:xfrm>
          <a:prstGeom prst="rect">
            <a:avLst/>
          </a:prstGeom>
        </p:spPr>
        <p:txBody>
          <a:bodyPr wrap="square">
            <a:spAutoFit/>
          </a:bodyPr>
          <a:lstStyle/>
          <a:p>
            <a:pPr fontAlgn="base">
              <a:spcAft>
                <a:spcPct val="0"/>
              </a:spcAft>
              <a:buClrTx/>
              <a:defRPr/>
            </a:pPr>
            <a:r>
              <a:rPr lang="en-US" sz="3200" kern="1200" dirty="0">
                <a:solidFill>
                  <a:srgbClr val="FFFFFF"/>
                </a:solidFill>
                <a:latin typeface="Arial Black" panose="020B0A04020102020204" pitchFamily="34" charset="0"/>
                <a:ea typeface="+mn-ea"/>
                <a:cs typeface="Calibri" panose="020F0502020204030204" pitchFamily="34" charset="0"/>
              </a:rPr>
              <a:t>3,900%</a:t>
            </a:r>
            <a:r>
              <a:rPr lang="en-US" sz="3600" b="1" kern="1200" dirty="0">
                <a:solidFill>
                  <a:srgbClr val="FFFFFF"/>
                </a:solidFill>
                <a:latin typeface="Calibri" panose="020F0502020204030204" pitchFamily="34" charset="0"/>
                <a:ea typeface="+mn-ea"/>
                <a:cs typeface="Calibri" panose="020F0502020204030204" pitchFamily="34" charset="0"/>
              </a:rPr>
              <a:t> </a:t>
            </a:r>
          </a:p>
          <a:p>
            <a:pPr fontAlgn="base">
              <a:spcAft>
                <a:spcPct val="0"/>
              </a:spcAft>
              <a:buClrTx/>
              <a:defRPr/>
            </a:pPr>
            <a:r>
              <a:rPr lang="en-US" sz="1800" kern="1200" dirty="0">
                <a:solidFill>
                  <a:srgbClr val="FFFFFF"/>
                </a:solidFill>
                <a:latin typeface="Calibri" panose="020F0502020204030204" pitchFamily="34" charset="0"/>
                <a:cs typeface="Calibri" panose="020F0502020204030204" pitchFamily="34" charset="0"/>
              </a:rPr>
              <a:t>global </a:t>
            </a:r>
            <a:r>
              <a:rPr lang="en-US" sz="1800" kern="1200" dirty="0">
                <a:solidFill>
                  <a:srgbClr val="FFFFFF"/>
                </a:solidFill>
                <a:latin typeface="Calibri" panose="020F0502020204030204" pitchFamily="34" charset="0"/>
                <a:ea typeface="+mn-ea"/>
                <a:cs typeface="Calibri" panose="020F0502020204030204" pitchFamily="34" charset="0"/>
              </a:rPr>
              <a:t>increase in phishing and malware attacks during the first half of 2020</a:t>
            </a:r>
          </a:p>
        </p:txBody>
      </p:sp>
    </p:spTree>
    <p:extLst>
      <p:ext uri="{BB962C8B-B14F-4D97-AF65-F5344CB8AC3E}">
        <p14:creationId xmlns:p14="http://schemas.microsoft.com/office/powerpoint/2010/main" val="79201810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B6DEDE30-C8C4-44F6-A032-BDCC4E0C51A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flipH="1">
            <a:off x="4434792" y="998583"/>
            <a:ext cx="3598126" cy="5167252"/>
          </a:xfrm>
          <a:prstGeom prst="rect">
            <a:avLst/>
          </a:prstGeom>
        </p:spPr>
      </p:pic>
      <p:pic>
        <p:nvPicPr>
          <p:cNvPr id="27" name="Picture 26">
            <a:extLst>
              <a:ext uri="{FF2B5EF4-FFF2-40B4-BE49-F238E27FC236}">
                <a16:creationId xmlns:a16="http://schemas.microsoft.com/office/drawing/2014/main" id="{051440DA-DAB4-40A7-87E7-BF96896B863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289764" y="998585"/>
            <a:ext cx="3598126" cy="5167250"/>
          </a:xfrm>
          <a:prstGeom prst="rect">
            <a:avLst/>
          </a:prstGeom>
        </p:spPr>
      </p:pic>
      <p:pic>
        <p:nvPicPr>
          <p:cNvPr id="29" name="Picture 28">
            <a:extLst>
              <a:ext uri="{FF2B5EF4-FFF2-40B4-BE49-F238E27FC236}">
                <a16:creationId xmlns:a16="http://schemas.microsoft.com/office/drawing/2014/main" id="{F32E492D-3C66-463B-B487-403D4A31EB5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68588" y="998585"/>
            <a:ext cx="3598126" cy="5167251"/>
          </a:xfrm>
          <a:prstGeom prst="rect">
            <a:avLst/>
          </a:prstGeom>
        </p:spPr>
      </p:pic>
      <p:sp>
        <p:nvSpPr>
          <p:cNvPr id="37" name="Rectangle 36">
            <a:extLst>
              <a:ext uri="{FF2B5EF4-FFF2-40B4-BE49-F238E27FC236}">
                <a16:creationId xmlns:a16="http://schemas.microsoft.com/office/drawing/2014/main" id="{FD3AC606-BEA0-4545-A83D-6BF2CC3F72CD}"/>
              </a:ext>
            </a:extLst>
          </p:cNvPr>
          <p:cNvSpPr/>
          <p:nvPr/>
        </p:nvSpPr>
        <p:spPr bwMode="auto">
          <a:xfrm>
            <a:off x="8289764" y="1005787"/>
            <a:ext cx="3598126" cy="5147393"/>
          </a:xfrm>
          <a:prstGeom prst="rect">
            <a:avLst/>
          </a:prstGeom>
          <a:solidFill>
            <a:srgbClr val="700046">
              <a:alpha val="28000"/>
            </a:srgb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sz="2398" kern="1200" dirty="0" err="1">
              <a:solidFill>
                <a:srgbClr val="4D4D4F"/>
              </a:solidFill>
              <a:latin typeface="Calibri"/>
              <a:ea typeface="+mn-ea"/>
              <a:cs typeface="Calibri" panose="020F0502020204030204" pitchFamily="34" charset="0"/>
            </a:endParaRPr>
          </a:p>
        </p:txBody>
      </p:sp>
      <p:sp>
        <p:nvSpPr>
          <p:cNvPr id="2" name="Title 1"/>
          <p:cNvSpPr>
            <a:spLocks noGrp="1"/>
          </p:cNvSpPr>
          <p:nvPr>
            <p:ph type="title"/>
          </p:nvPr>
        </p:nvSpPr>
        <p:spPr>
          <a:xfrm>
            <a:off x="430741" y="328990"/>
            <a:ext cx="11019501" cy="913924"/>
          </a:xfrm>
        </p:spPr>
        <p:txBody>
          <a:bodyPr/>
          <a:lstStyle/>
          <a:p>
            <a:r>
              <a:rPr lang="en-US" sz="3200" b="1" cap="all" dirty="0"/>
              <a:t>THE NEW WORLD of the “everywhere employee”</a:t>
            </a:r>
          </a:p>
        </p:txBody>
      </p:sp>
      <p:sp>
        <p:nvSpPr>
          <p:cNvPr id="3" name="Footer Placeholder 2" hidden="1"/>
          <p:cNvSpPr>
            <a:spLocks noGrp="1"/>
          </p:cNvSpPr>
          <p:nvPr>
            <p:ph type="ftr" sz="quarter" idx="11"/>
          </p:nvPr>
        </p:nvSpPr>
        <p:spPr/>
        <p:txBody>
          <a:bodyPr/>
          <a:lstStyle/>
          <a:p>
            <a:pPr defTabSz="913578">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4294967295"/>
          </p:nvPr>
        </p:nvSpPr>
        <p:spPr/>
        <p:txBody>
          <a:bodyPr/>
          <a:lstStyle/>
          <a:p>
            <a:pPr defTabSz="913578">
              <a:buClrTx/>
              <a:defRPr/>
            </a:pPr>
            <a:endParaRPr lang="en-US" kern="1200" dirty="0">
              <a:solidFill>
                <a:srgbClr val="4D4D4F">
                  <a:tint val="75000"/>
                </a:srgbClr>
              </a:solidFill>
              <a:latin typeface="Calibri"/>
              <a:ea typeface="+mn-ea"/>
              <a:cs typeface="+mn-cs"/>
            </a:endParaRPr>
          </a:p>
        </p:txBody>
      </p:sp>
      <p:sp>
        <p:nvSpPr>
          <p:cNvPr id="28" name="Rectangle 27">
            <a:extLst>
              <a:ext uri="{FF2B5EF4-FFF2-40B4-BE49-F238E27FC236}">
                <a16:creationId xmlns:a16="http://schemas.microsoft.com/office/drawing/2014/main" id="{E6723694-95BB-49F5-A888-6D57E536E1DE}"/>
              </a:ext>
            </a:extLst>
          </p:cNvPr>
          <p:cNvSpPr/>
          <p:nvPr/>
        </p:nvSpPr>
        <p:spPr bwMode="auto">
          <a:xfrm>
            <a:off x="591052" y="1020909"/>
            <a:ext cx="3586894" cy="5147394"/>
          </a:xfrm>
          <a:prstGeom prst="rect">
            <a:avLst/>
          </a:prstGeom>
          <a:solidFill>
            <a:srgbClr val="700046">
              <a:alpha val="28000"/>
            </a:srgb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sz="2398" kern="1200" dirty="0" err="1">
              <a:solidFill>
                <a:srgbClr val="4D4D4F"/>
              </a:solidFill>
              <a:latin typeface="Calibri"/>
              <a:ea typeface="+mn-ea"/>
              <a:cs typeface="Calibri" panose="020F0502020204030204" pitchFamily="34" charset="0"/>
            </a:endParaRPr>
          </a:p>
        </p:txBody>
      </p:sp>
      <p:sp>
        <p:nvSpPr>
          <p:cNvPr id="31" name="Rectangle 30">
            <a:extLst>
              <a:ext uri="{FF2B5EF4-FFF2-40B4-BE49-F238E27FC236}">
                <a16:creationId xmlns:a16="http://schemas.microsoft.com/office/drawing/2014/main" id="{932FF560-6CAE-4F80-894A-18A01E1D2C0A}"/>
              </a:ext>
            </a:extLst>
          </p:cNvPr>
          <p:cNvSpPr/>
          <p:nvPr/>
        </p:nvSpPr>
        <p:spPr bwMode="auto">
          <a:xfrm>
            <a:off x="4434792" y="1005788"/>
            <a:ext cx="3598126" cy="5154596"/>
          </a:xfrm>
          <a:prstGeom prst="rect">
            <a:avLst/>
          </a:prstGeom>
          <a:solidFill>
            <a:srgbClr val="700046">
              <a:alpha val="28000"/>
            </a:srgbClr>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sz="2398" kern="1200" dirty="0" err="1">
              <a:solidFill>
                <a:srgbClr val="4D4D4F"/>
              </a:solidFill>
              <a:latin typeface="Calibri"/>
              <a:ea typeface="+mn-ea"/>
              <a:cs typeface="Calibri" panose="020F0502020204030204" pitchFamily="34" charset="0"/>
            </a:endParaRPr>
          </a:p>
        </p:txBody>
      </p:sp>
      <p:sp>
        <p:nvSpPr>
          <p:cNvPr id="32" name="TextBox 31">
            <a:extLst>
              <a:ext uri="{FF2B5EF4-FFF2-40B4-BE49-F238E27FC236}">
                <a16:creationId xmlns:a16="http://schemas.microsoft.com/office/drawing/2014/main" id="{5B88AF70-D89A-4B3B-927B-FAE188967F7B}"/>
              </a:ext>
            </a:extLst>
          </p:cNvPr>
          <p:cNvSpPr txBox="1"/>
          <p:nvPr/>
        </p:nvSpPr>
        <p:spPr bwMode="auto">
          <a:xfrm>
            <a:off x="4434792" y="5416590"/>
            <a:ext cx="3598126" cy="539718"/>
          </a:xfrm>
          <a:prstGeom prst="rect">
            <a:avLst/>
          </a:prstGeom>
          <a:solidFill>
            <a:srgbClr val="7D0085"/>
          </a:solidFill>
          <a:ln>
            <a:noFill/>
          </a:ln>
          <a:effectLst/>
        </p:spPr>
        <p:txBody>
          <a:bodyPr vert="horz" wrap="square" lIns="91368" tIns="45684" rIns="91368" bIns="45684" numCol="1" rtlCol="0" anchor="ctr" anchorCtr="0" compatLnSpc="1">
            <a:prstTxWarp prst="textNoShape">
              <a:avLst/>
            </a:prstTxWarp>
            <a:noAutofit/>
          </a:bodyPr>
          <a:lstStyle/>
          <a:p>
            <a:pPr algn="ctr" defTabSz="913578">
              <a:buClrTx/>
              <a:defRPr/>
            </a:pPr>
            <a:r>
              <a:rPr lang="en-US" sz="2397" b="1" kern="1200">
                <a:solidFill>
                  <a:srgbClr val="FFFFFF"/>
                </a:solidFill>
                <a:latin typeface="Calibri" panose="020F0502020204030204" pitchFamily="34" charset="0"/>
                <a:ea typeface="+mn-ea"/>
                <a:cs typeface="Calibri" panose="020F0502020204030204" pitchFamily="34" charset="0"/>
              </a:rPr>
              <a:t>Use every device</a:t>
            </a:r>
            <a:endParaRPr lang="en-US" sz="2397" b="1" kern="1200" dirty="0">
              <a:solidFill>
                <a:srgbClr val="FFFFFF"/>
              </a:solidFill>
              <a:latin typeface="Calibri" panose="020F0502020204030204" pitchFamily="34" charset="0"/>
              <a:ea typeface="+mn-ea"/>
              <a:cs typeface="Calibri" panose="020F0502020204030204" pitchFamily="34" charset="0"/>
            </a:endParaRPr>
          </a:p>
        </p:txBody>
      </p:sp>
      <p:sp>
        <p:nvSpPr>
          <p:cNvPr id="33" name="TextBox 32">
            <a:extLst>
              <a:ext uri="{FF2B5EF4-FFF2-40B4-BE49-F238E27FC236}">
                <a16:creationId xmlns:a16="http://schemas.microsoft.com/office/drawing/2014/main" id="{56C811A1-9FDC-4080-A351-A48BD28FAADB}"/>
              </a:ext>
            </a:extLst>
          </p:cNvPr>
          <p:cNvSpPr txBox="1"/>
          <p:nvPr/>
        </p:nvSpPr>
        <p:spPr bwMode="auto">
          <a:xfrm>
            <a:off x="8289764" y="5416590"/>
            <a:ext cx="3598126" cy="539718"/>
          </a:xfrm>
          <a:prstGeom prst="rect">
            <a:avLst/>
          </a:prstGeom>
          <a:solidFill>
            <a:srgbClr val="E45785"/>
          </a:solidFill>
          <a:ln>
            <a:noFill/>
          </a:ln>
          <a:effectLst/>
        </p:spPr>
        <p:txBody>
          <a:bodyPr vert="horz" wrap="square" lIns="91368" tIns="45684" rIns="91368" bIns="45684" numCol="1" rtlCol="0" anchor="ctr" anchorCtr="0" compatLnSpc="1">
            <a:prstTxWarp prst="textNoShape">
              <a:avLst/>
            </a:prstTxWarp>
            <a:noAutofit/>
          </a:bodyPr>
          <a:lstStyle/>
          <a:p>
            <a:pPr algn="ctr" defTabSz="913578">
              <a:buClrTx/>
              <a:defRPr/>
            </a:pPr>
            <a:r>
              <a:rPr lang="en-US" sz="2397" b="1" kern="1200">
                <a:solidFill>
                  <a:srgbClr val="FFFFFF"/>
                </a:solidFill>
                <a:latin typeface="Calibri" panose="020F0502020204030204" pitchFamily="34" charset="0"/>
                <a:ea typeface="+mn-ea"/>
                <a:cs typeface="Calibri" panose="020F0502020204030204" pitchFamily="34" charset="0"/>
              </a:rPr>
              <a:t>Access any application</a:t>
            </a:r>
            <a:endParaRPr lang="en-US" sz="2397" b="1" kern="1200" dirty="0">
              <a:solidFill>
                <a:srgbClr val="FFFFFF"/>
              </a:solidFill>
              <a:latin typeface="Calibri" panose="020F0502020204030204" pitchFamily="34" charset="0"/>
              <a:ea typeface="+mn-ea"/>
              <a:cs typeface="Calibri" panose="020F0502020204030204" pitchFamily="34" charset="0"/>
            </a:endParaRPr>
          </a:p>
        </p:txBody>
      </p:sp>
      <p:sp>
        <p:nvSpPr>
          <p:cNvPr id="5" name="TextBox 4"/>
          <p:cNvSpPr txBox="1"/>
          <p:nvPr/>
        </p:nvSpPr>
        <p:spPr bwMode="auto">
          <a:xfrm>
            <a:off x="568588" y="5403935"/>
            <a:ext cx="3598126" cy="539718"/>
          </a:xfrm>
          <a:prstGeom prst="rect">
            <a:avLst/>
          </a:prstGeom>
          <a:solidFill>
            <a:srgbClr val="700046"/>
          </a:solidFill>
          <a:ln>
            <a:noFill/>
          </a:ln>
          <a:effectLst/>
        </p:spPr>
        <p:txBody>
          <a:bodyPr vert="horz" wrap="square" lIns="91368" tIns="45684" rIns="91368" bIns="45684" numCol="1" rtlCol="0" anchor="ctr" anchorCtr="0" compatLnSpc="1">
            <a:prstTxWarp prst="textNoShape">
              <a:avLst/>
            </a:prstTxWarp>
            <a:noAutofit/>
          </a:bodyPr>
          <a:lstStyle/>
          <a:p>
            <a:pPr algn="ctr" defTabSz="913578">
              <a:buClrTx/>
              <a:defRPr/>
            </a:pPr>
            <a:r>
              <a:rPr lang="en-US" sz="2397" b="1" kern="1200">
                <a:solidFill>
                  <a:srgbClr val="FFFFFF"/>
                </a:solidFill>
                <a:latin typeface="Calibri" panose="020F0502020204030204" pitchFamily="34" charset="0"/>
                <a:ea typeface="+mn-ea"/>
                <a:cs typeface="Calibri" panose="020F0502020204030204" pitchFamily="34" charset="0"/>
              </a:rPr>
              <a:t>Work anywhere</a:t>
            </a:r>
            <a:endParaRPr lang="en-US" sz="2397" b="1" kern="1200" dirty="0">
              <a:solidFill>
                <a:srgbClr val="FFFFFF"/>
              </a:solidFill>
              <a:latin typeface="Calibri" panose="020F0502020204030204" pitchFamily="34" charset="0"/>
              <a:ea typeface="+mn-ea"/>
              <a:cs typeface="Calibri" panose="020F0502020204030204" pitchFamily="34" charset="0"/>
            </a:endParaRPr>
          </a:p>
        </p:txBody>
      </p:sp>
      <p:grpSp>
        <p:nvGrpSpPr>
          <p:cNvPr id="9" name="Group 8">
            <a:extLst>
              <a:ext uri="{FF2B5EF4-FFF2-40B4-BE49-F238E27FC236}">
                <a16:creationId xmlns:a16="http://schemas.microsoft.com/office/drawing/2014/main" id="{1F1B4BF3-23F0-4B57-8903-FC8D067D29DD}"/>
              </a:ext>
            </a:extLst>
          </p:cNvPr>
          <p:cNvGrpSpPr/>
          <p:nvPr/>
        </p:nvGrpSpPr>
        <p:grpSpPr>
          <a:xfrm>
            <a:off x="9683018" y="1117567"/>
            <a:ext cx="1631334" cy="1631334"/>
            <a:chOff x="9686474" y="1438748"/>
            <a:chExt cx="1632184" cy="1632184"/>
          </a:xfrm>
        </p:grpSpPr>
        <p:pic>
          <p:nvPicPr>
            <p:cNvPr id="56" name="Picture 8" descr="Salesforce - Wikipedia">
              <a:extLst>
                <a:ext uri="{FF2B5EF4-FFF2-40B4-BE49-F238E27FC236}">
                  <a16:creationId xmlns:a16="http://schemas.microsoft.com/office/drawing/2014/main" id="{C9A3D637-6194-40B4-9211-E53F379A823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119906" y="1941883"/>
              <a:ext cx="476610" cy="3276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Office 365 icon | Nansen Environmental and Remote Sensing Cente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931816" y="2294059"/>
              <a:ext cx="376180" cy="376180"/>
            </a:xfrm>
            <a:prstGeom prst="rect">
              <a:avLst/>
            </a:prstGeom>
            <a:noFill/>
            <a:extLst>
              <a:ext uri="{909E8E84-426E-40DD-AFC4-6F175D3DCCD1}">
                <a14:hiddenFill xmlns:a14="http://schemas.microsoft.com/office/drawing/2010/main">
                  <a:solidFill>
                    <a:srgbClr val="FFFFFF"/>
                  </a:solidFill>
                </a14:hiddenFill>
              </a:ext>
            </a:extLst>
          </p:spPr>
        </p:pic>
        <p:pic>
          <p:nvPicPr>
            <p:cNvPr id="67" name="Google Shape;436;p8"/>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10502566" y="2287485"/>
              <a:ext cx="498891" cy="421408"/>
            </a:xfrm>
            <a:prstGeom prst="rect">
              <a:avLst/>
            </a:prstGeom>
            <a:noFill/>
            <a:ln>
              <a:noFill/>
            </a:ln>
          </p:spPr>
        </p:pic>
        <p:pic>
          <p:nvPicPr>
            <p:cNvPr id="40" name="Graphic 39">
              <a:extLst>
                <a:ext uri="{FF2B5EF4-FFF2-40B4-BE49-F238E27FC236}">
                  <a16:creationId xmlns:a16="http://schemas.microsoft.com/office/drawing/2014/main" id="{129DFFE5-D903-48CF-B629-0FA29667BF8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686474" y="1438748"/>
              <a:ext cx="1632184" cy="1632184"/>
            </a:xfrm>
            <a:prstGeom prst="rect">
              <a:avLst/>
            </a:prstGeom>
          </p:spPr>
        </p:pic>
      </p:grpSp>
    </p:spTree>
    <p:extLst>
      <p:ext uri="{BB962C8B-B14F-4D97-AF65-F5344CB8AC3E}">
        <p14:creationId xmlns:p14="http://schemas.microsoft.com/office/powerpoint/2010/main" val="35850593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 name="Picture 162">
            <a:extLst>
              <a:ext uri="{FF2B5EF4-FFF2-40B4-BE49-F238E27FC236}">
                <a16:creationId xmlns:a16="http://schemas.microsoft.com/office/drawing/2014/main" id="{39A06D36-55A2-4EC2-A041-0ACA0E11DC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7722" y="4663839"/>
            <a:ext cx="1547194" cy="1547194"/>
          </a:xfrm>
          <a:prstGeom prst="ellipse">
            <a:avLst/>
          </a:prstGeom>
          <a:effectLst>
            <a:outerShdw blurRad="50800" dist="38100" dir="2700000" algn="tl" rotWithShape="0">
              <a:prstClr val="black">
                <a:alpha val="40000"/>
              </a:prstClr>
            </a:outerShdw>
          </a:effectLst>
        </p:spPr>
      </p:pic>
      <p:cxnSp>
        <p:nvCxnSpPr>
          <p:cNvPr id="529" name="Straight Connector 528">
            <a:extLst>
              <a:ext uri="{FF2B5EF4-FFF2-40B4-BE49-F238E27FC236}">
                <a16:creationId xmlns:a16="http://schemas.microsoft.com/office/drawing/2014/main" id="{4DC92645-E5C2-4304-A620-52FD8D0371D5}"/>
              </a:ext>
            </a:extLst>
          </p:cNvPr>
          <p:cNvCxnSpPr>
            <a:cxnSpLocks/>
            <a:stCxn id="188" idx="2"/>
            <a:endCxn id="192" idx="1"/>
          </p:cNvCxnSpPr>
          <p:nvPr/>
        </p:nvCxnSpPr>
        <p:spPr bwMode="auto">
          <a:xfrm>
            <a:off x="2545346" y="1854463"/>
            <a:ext cx="6938378" cy="147874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id="{8EC96505-7679-4AFD-87E4-C9E4A210692C}"/>
              </a:ext>
            </a:extLst>
          </p:cNvPr>
          <p:cNvCxnSpPr>
            <a:cxnSpLocks/>
            <a:stCxn id="173" idx="0"/>
            <a:endCxn id="418" idx="1"/>
          </p:cNvCxnSpPr>
          <p:nvPr/>
        </p:nvCxnSpPr>
        <p:spPr bwMode="auto">
          <a:xfrm>
            <a:off x="2736070" y="5546454"/>
            <a:ext cx="6747653" cy="26512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itle 1">
            <a:extLst>
              <a:ext uri="{FF2B5EF4-FFF2-40B4-BE49-F238E27FC236}">
                <a16:creationId xmlns:a16="http://schemas.microsoft.com/office/drawing/2014/main" id="{D1436F6B-6078-47C2-96EF-122E14779BCF}"/>
              </a:ext>
            </a:extLst>
          </p:cNvPr>
          <p:cNvSpPr>
            <a:spLocks noGrp="1"/>
          </p:cNvSpPr>
          <p:nvPr>
            <p:ph type="title"/>
          </p:nvPr>
        </p:nvSpPr>
        <p:spPr>
          <a:xfrm>
            <a:off x="513263" y="253308"/>
            <a:ext cx="11209619" cy="711127"/>
          </a:xfrm>
        </p:spPr>
        <p:txBody>
          <a:bodyPr/>
          <a:lstStyle/>
          <a:p>
            <a:r>
              <a:rPr lang="en-GB" sz="3200" b="1" cap="all" dirty="0"/>
              <a:t>IN THE NEW WORLD </a:t>
            </a:r>
            <a:br>
              <a:rPr lang="en-GB" sz="3200" b="1" cap="all" dirty="0"/>
            </a:br>
            <a:r>
              <a:rPr lang="en-GB" sz="3200" b="1" cap="all" dirty="0">
                <a:solidFill>
                  <a:schemeClr val="tx1"/>
                </a:solidFill>
              </a:rPr>
              <a:t>WE WANT TO USE ANY DEVICE TO ACCESS ANY APPLICATION</a:t>
            </a:r>
          </a:p>
        </p:txBody>
      </p:sp>
      <p:sp>
        <p:nvSpPr>
          <p:cNvPr id="3" name="Footer Placeholder 2" hidden="1"/>
          <p:cNvSpPr>
            <a:spLocks noGrp="1"/>
          </p:cNvSpPr>
          <p:nvPr>
            <p:ph type="ftr" sz="quarter" idx="11"/>
          </p:nvPr>
        </p:nvSpPr>
        <p:spPr/>
        <p:txBody>
          <a:bodyPr/>
          <a:lstStyle/>
          <a:p>
            <a:pPr defTabSz="913852">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defTabSz="913852" fontAlgn="base">
              <a:spcBef>
                <a:spcPct val="20000"/>
              </a:spcBef>
              <a:spcAft>
                <a:spcPct val="0"/>
              </a:spcAft>
              <a:buClr>
                <a:srgbClr val="FF0000"/>
              </a:buClr>
              <a:buSzPct val="65000"/>
              <a:defRPr/>
            </a:pPr>
            <a:endParaRPr lang="en-US" kern="1200" dirty="0">
              <a:solidFill>
                <a:srgbClr val="4D4D4F">
                  <a:tint val="75000"/>
                </a:srgbClr>
              </a:solidFill>
              <a:latin typeface="Helvetica" pitchFamily="34" charset="0"/>
              <a:ea typeface="+mn-ea"/>
              <a:cs typeface="+mn-cs"/>
            </a:endParaRPr>
          </a:p>
        </p:txBody>
      </p:sp>
      <p:cxnSp>
        <p:nvCxnSpPr>
          <p:cNvPr id="146" name="Straight Connector 145">
            <a:extLst>
              <a:ext uri="{FF2B5EF4-FFF2-40B4-BE49-F238E27FC236}">
                <a16:creationId xmlns:a16="http://schemas.microsoft.com/office/drawing/2014/main" id="{2E1F98DC-9CE4-4E9C-BE85-ECFCD25FD9FB}"/>
              </a:ext>
            </a:extLst>
          </p:cNvPr>
          <p:cNvCxnSpPr>
            <a:cxnSpLocks/>
            <a:endCxn id="193" idx="1"/>
          </p:cNvCxnSpPr>
          <p:nvPr/>
        </p:nvCxnSpPr>
        <p:spPr bwMode="auto">
          <a:xfrm>
            <a:off x="2553688" y="1991040"/>
            <a:ext cx="6930036" cy="516044"/>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Straight Connector 155">
            <a:extLst>
              <a:ext uri="{FF2B5EF4-FFF2-40B4-BE49-F238E27FC236}">
                <a16:creationId xmlns:a16="http://schemas.microsoft.com/office/drawing/2014/main" id="{C1DBE8D5-76C8-4860-9DF4-42CE15235B5E}"/>
              </a:ext>
            </a:extLst>
          </p:cNvPr>
          <p:cNvCxnSpPr>
            <a:cxnSpLocks/>
            <a:stCxn id="183" idx="0"/>
            <a:endCxn id="418" idx="1"/>
          </p:cNvCxnSpPr>
          <p:nvPr/>
        </p:nvCxnSpPr>
        <p:spPr bwMode="auto">
          <a:xfrm>
            <a:off x="2559143" y="3992252"/>
            <a:ext cx="6924580" cy="181932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Connector 158">
            <a:extLst>
              <a:ext uri="{FF2B5EF4-FFF2-40B4-BE49-F238E27FC236}">
                <a16:creationId xmlns:a16="http://schemas.microsoft.com/office/drawing/2014/main" id="{49C77106-0681-4493-B740-947CE0C5906F}"/>
              </a:ext>
            </a:extLst>
          </p:cNvPr>
          <p:cNvCxnSpPr>
            <a:cxnSpLocks/>
            <a:stCxn id="173" idx="2"/>
            <a:endCxn id="194" idx="1"/>
          </p:cNvCxnSpPr>
          <p:nvPr/>
        </p:nvCxnSpPr>
        <p:spPr bwMode="auto">
          <a:xfrm flipV="1">
            <a:off x="2736070" y="1680962"/>
            <a:ext cx="6747653" cy="358624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Straight Connector 321">
            <a:extLst>
              <a:ext uri="{FF2B5EF4-FFF2-40B4-BE49-F238E27FC236}">
                <a16:creationId xmlns:a16="http://schemas.microsoft.com/office/drawing/2014/main" id="{250FF296-2BB6-4D2C-8EA9-60752BD6ACC4}"/>
              </a:ext>
            </a:extLst>
          </p:cNvPr>
          <p:cNvCxnSpPr>
            <a:cxnSpLocks/>
            <a:stCxn id="188" idx="0"/>
            <a:endCxn id="195" idx="1"/>
          </p:cNvCxnSpPr>
          <p:nvPr/>
        </p:nvCxnSpPr>
        <p:spPr bwMode="auto">
          <a:xfrm>
            <a:off x="2545346" y="2155225"/>
            <a:ext cx="6938378" cy="200410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3" name="Straight Connector 322">
            <a:extLst>
              <a:ext uri="{FF2B5EF4-FFF2-40B4-BE49-F238E27FC236}">
                <a16:creationId xmlns:a16="http://schemas.microsoft.com/office/drawing/2014/main" id="{1BC946E2-7360-44AF-940E-57046AC4CDE2}"/>
              </a:ext>
            </a:extLst>
          </p:cNvPr>
          <p:cNvCxnSpPr>
            <a:cxnSpLocks/>
            <a:stCxn id="186" idx="0"/>
            <a:endCxn id="196" idx="1"/>
          </p:cNvCxnSpPr>
          <p:nvPr/>
        </p:nvCxnSpPr>
        <p:spPr bwMode="auto">
          <a:xfrm>
            <a:off x="2533443" y="2239728"/>
            <a:ext cx="6950281" cy="274572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Straight Connector 323">
            <a:extLst>
              <a:ext uri="{FF2B5EF4-FFF2-40B4-BE49-F238E27FC236}">
                <a16:creationId xmlns:a16="http://schemas.microsoft.com/office/drawing/2014/main" id="{2F22357C-5FB6-4357-9B73-9B840D23772A}"/>
              </a:ext>
            </a:extLst>
          </p:cNvPr>
          <p:cNvCxnSpPr/>
          <p:nvPr/>
        </p:nvCxnSpPr>
        <p:spPr bwMode="auto">
          <a:xfrm>
            <a:off x="2559141" y="3800460"/>
            <a:ext cx="7022683" cy="240137"/>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8" name="Straight Connector 377">
            <a:extLst>
              <a:ext uri="{FF2B5EF4-FFF2-40B4-BE49-F238E27FC236}">
                <a16:creationId xmlns:a16="http://schemas.microsoft.com/office/drawing/2014/main" id="{5692E782-4640-4B82-BBEB-32C72358EA96}"/>
              </a:ext>
            </a:extLst>
          </p:cNvPr>
          <p:cNvCxnSpPr>
            <a:cxnSpLocks/>
            <a:stCxn id="173" idx="2"/>
            <a:endCxn id="193" idx="1"/>
          </p:cNvCxnSpPr>
          <p:nvPr/>
        </p:nvCxnSpPr>
        <p:spPr bwMode="auto">
          <a:xfrm flipV="1">
            <a:off x="2736070" y="2507084"/>
            <a:ext cx="6747653" cy="276012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1" name="Straight Connector 380">
            <a:extLst>
              <a:ext uri="{FF2B5EF4-FFF2-40B4-BE49-F238E27FC236}">
                <a16:creationId xmlns:a16="http://schemas.microsoft.com/office/drawing/2014/main" id="{F0773E6B-A8A6-4F27-90CD-2E57D60085C0}"/>
              </a:ext>
            </a:extLst>
          </p:cNvPr>
          <p:cNvCxnSpPr>
            <a:cxnSpLocks/>
            <a:stCxn id="173" idx="0"/>
            <a:endCxn id="195" idx="1"/>
          </p:cNvCxnSpPr>
          <p:nvPr/>
        </p:nvCxnSpPr>
        <p:spPr bwMode="auto">
          <a:xfrm flipV="1">
            <a:off x="2736070" y="4159328"/>
            <a:ext cx="6747653" cy="1387126"/>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4" name="Straight Connector 383">
            <a:extLst>
              <a:ext uri="{FF2B5EF4-FFF2-40B4-BE49-F238E27FC236}">
                <a16:creationId xmlns:a16="http://schemas.microsoft.com/office/drawing/2014/main" id="{9C1E3CE3-E9A6-4D63-A2C0-BB15062AC84D}"/>
              </a:ext>
            </a:extLst>
          </p:cNvPr>
          <p:cNvCxnSpPr>
            <a:cxnSpLocks/>
            <a:stCxn id="179" idx="10"/>
            <a:endCxn id="194" idx="1"/>
          </p:cNvCxnSpPr>
          <p:nvPr/>
        </p:nvCxnSpPr>
        <p:spPr bwMode="auto">
          <a:xfrm flipV="1">
            <a:off x="2559143" y="1680962"/>
            <a:ext cx="6924580" cy="2003408"/>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1" name="Picture 160">
            <a:extLst>
              <a:ext uri="{FF2B5EF4-FFF2-40B4-BE49-F238E27FC236}">
                <a16:creationId xmlns:a16="http://schemas.microsoft.com/office/drawing/2014/main" id="{606CF04E-120A-4D2C-A9F6-765E4B84C44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25596" y="1169979"/>
            <a:ext cx="1547194" cy="1547194"/>
          </a:xfrm>
          <a:prstGeom prst="ellipse">
            <a:avLst/>
          </a:prstGeom>
          <a:effectLst>
            <a:outerShdw blurRad="50800" dist="38100" dir="2700000" algn="tl" rotWithShape="0">
              <a:prstClr val="black">
                <a:alpha val="40000"/>
              </a:prstClr>
            </a:outerShdw>
          </a:effectLst>
        </p:spPr>
      </p:pic>
      <p:pic>
        <p:nvPicPr>
          <p:cNvPr id="162" name="Picture 161">
            <a:extLst>
              <a:ext uri="{FF2B5EF4-FFF2-40B4-BE49-F238E27FC236}">
                <a16:creationId xmlns:a16="http://schemas.microsoft.com/office/drawing/2014/main" id="{31822D67-4F46-44DC-AAB1-F7E2E1877A3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736587" y="2936418"/>
            <a:ext cx="1547194" cy="1547194"/>
          </a:xfrm>
          <a:prstGeom prst="ellipse">
            <a:avLst/>
          </a:prstGeom>
          <a:effectLst>
            <a:outerShdw blurRad="50800" dist="38100" dir="2700000" algn="tl" rotWithShape="0">
              <a:prstClr val="black">
                <a:alpha val="40000"/>
              </a:prstClr>
            </a:outerShdw>
          </a:effectLst>
        </p:spPr>
      </p:pic>
      <p:sp>
        <p:nvSpPr>
          <p:cNvPr id="165" name="Freeform: Shape 164">
            <a:extLst>
              <a:ext uri="{FF2B5EF4-FFF2-40B4-BE49-F238E27FC236}">
                <a16:creationId xmlns:a16="http://schemas.microsoft.com/office/drawing/2014/main" id="{58CDD83C-B671-45C6-BA3D-85BCB8BED05D}"/>
              </a:ext>
            </a:extLst>
          </p:cNvPr>
          <p:cNvSpPr/>
          <p:nvPr/>
        </p:nvSpPr>
        <p:spPr bwMode="auto">
          <a:xfrm>
            <a:off x="749579" y="3882551"/>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n the go</a:t>
            </a:r>
            <a:endParaRPr lang="en-US" sz="1798" kern="1200" cap="all" dirty="0" err="1">
              <a:solidFill>
                <a:srgbClr val="FFFFFF"/>
              </a:solidFill>
              <a:latin typeface="+mj-lt"/>
              <a:ea typeface="+mn-ea"/>
              <a:cs typeface="Calibri" panose="020F0502020204030204" pitchFamily="34" charset="0"/>
            </a:endParaRPr>
          </a:p>
        </p:txBody>
      </p:sp>
      <p:sp>
        <p:nvSpPr>
          <p:cNvPr id="167" name="Freeform: Shape 166">
            <a:extLst>
              <a:ext uri="{FF2B5EF4-FFF2-40B4-BE49-F238E27FC236}">
                <a16:creationId xmlns:a16="http://schemas.microsoft.com/office/drawing/2014/main" id="{4A0BF7A1-EC1A-4D73-9702-AE42941CD3B6}"/>
              </a:ext>
            </a:extLst>
          </p:cNvPr>
          <p:cNvSpPr/>
          <p:nvPr/>
        </p:nvSpPr>
        <p:spPr bwMode="auto">
          <a:xfrm>
            <a:off x="756891" y="5624912"/>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ffice</a:t>
            </a:r>
            <a:endParaRPr lang="en-US" sz="1798" kern="1200" cap="all" dirty="0" err="1">
              <a:solidFill>
                <a:srgbClr val="FFFFFF"/>
              </a:solidFill>
              <a:latin typeface="+mj-lt"/>
              <a:ea typeface="+mn-ea"/>
              <a:cs typeface="Calibri" panose="020F0502020204030204" pitchFamily="34" charset="0"/>
            </a:endParaRPr>
          </a:p>
        </p:txBody>
      </p:sp>
      <p:sp>
        <p:nvSpPr>
          <p:cNvPr id="168" name="Freeform: Shape 167">
            <a:extLst>
              <a:ext uri="{FF2B5EF4-FFF2-40B4-BE49-F238E27FC236}">
                <a16:creationId xmlns:a16="http://schemas.microsoft.com/office/drawing/2014/main" id="{9438409D-7FAE-4E3D-85E1-1C8AD80A490C}"/>
              </a:ext>
            </a:extLst>
          </p:cNvPr>
          <p:cNvSpPr/>
          <p:nvPr/>
        </p:nvSpPr>
        <p:spPr bwMode="auto">
          <a:xfrm>
            <a:off x="747870" y="2116739"/>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Home</a:t>
            </a:r>
            <a:endParaRPr lang="en-US" sz="1798" kern="1200" cap="all" dirty="0" err="1">
              <a:solidFill>
                <a:srgbClr val="FFFFFF"/>
              </a:solidFill>
              <a:latin typeface="+mj-lt"/>
              <a:ea typeface="+mn-ea"/>
              <a:cs typeface="Calibri" panose="020F0502020204030204" pitchFamily="34" charset="0"/>
            </a:endParaRPr>
          </a:p>
        </p:txBody>
      </p:sp>
      <p:grpSp>
        <p:nvGrpSpPr>
          <p:cNvPr id="170" name="Group 169">
            <a:extLst>
              <a:ext uri="{FF2B5EF4-FFF2-40B4-BE49-F238E27FC236}">
                <a16:creationId xmlns:a16="http://schemas.microsoft.com/office/drawing/2014/main" id="{D7C06901-C66D-46A3-B9BE-6651CFFC7AEF}"/>
              </a:ext>
            </a:extLst>
          </p:cNvPr>
          <p:cNvGrpSpPr/>
          <p:nvPr/>
        </p:nvGrpSpPr>
        <p:grpSpPr>
          <a:xfrm>
            <a:off x="2233323" y="5184896"/>
            <a:ext cx="536264" cy="440015"/>
            <a:chOff x="2576513" y="1664174"/>
            <a:chExt cx="584200" cy="482127"/>
          </a:xfrm>
        </p:grpSpPr>
        <p:sp>
          <p:nvSpPr>
            <p:cNvPr id="171" name="Freeform 335">
              <a:extLst>
                <a:ext uri="{FF2B5EF4-FFF2-40B4-BE49-F238E27FC236}">
                  <a16:creationId xmlns:a16="http://schemas.microsoft.com/office/drawing/2014/main" id="{7B68A190-E010-4054-A4BE-6135728F6A29}"/>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1"/>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2" name="Freeform 336">
              <a:extLst>
                <a:ext uri="{FF2B5EF4-FFF2-40B4-BE49-F238E27FC236}">
                  <a16:creationId xmlns:a16="http://schemas.microsoft.com/office/drawing/2014/main" id="{C1B8187D-5C81-4A97-B725-0C10EA14454E}"/>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3" name="Freeform 337">
              <a:extLst>
                <a:ext uri="{FF2B5EF4-FFF2-40B4-BE49-F238E27FC236}">
                  <a16:creationId xmlns:a16="http://schemas.microsoft.com/office/drawing/2014/main" id="{1ACF60CE-7D05-4407-8203-D4B02902ED8E}"/>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4" name="Freeform 338">
              <a:extLst>
                <a:ext uri="{FF2B5EF4-FFF2-40B4-BE49-F238E27FC236}">
                  <a16:creationId xmlns:a16="http://schemas.microsoft.com/office/drawing/2014/main" id="{9CD83A47-D389-4EDE-8345-8E65719FB245}"/>
                </a:ext>
              </a:extLst>
            </p:cNvPr>
            <p:cNvSpPr>
              <a:spLocks/>
            </p:cNvSpPr>
            <p:nvPr/>
          </p:nvSpPr>
          <p:spPr bwMode="auto">
            <a:xfrm flipV="1">
              <a:off x="2906564" y="172295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5" name="Freeform 339">
              <a:extLst>
                <a:ext uri="{FF2B5EF4-FFF2-40B4-BE49-F238E27FC236}">
                  <a16:creationId xmlns:a16="http://schemas.microsoft.com/office/drawing/2014/main" id="{AC992AC2-91AD-4F10-A22F-4C55CDDCF7DD}"/>
                </a:ext>
              </a:extLst>
            </p:cNvPr>
            <p:cNvSpPr>
              <a:spLocks/>
            </p:cNvSpPr>
            <p:nvPr/>
          </p:nvSpPr>
          <p:spPr bwMode="auto">
            <a:xfrm flipV="1">
              <a:off x="2906564" y="178659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6" name="Freeform 340">
              <a:extLst>
                <a:ext uri="{FF2B5EF4-FFF2-40B4-BE49-F238E27FC236}">
                  <a16:creationId xmlns:a16="http://schemas.microsoft.com/office/drawing/2014/main" id="{6559EFCB-D7AB-420F-A375-348382F9FBCF}"/>
                </a:ext>
              </a:extLst>
            </p:cNvPr>
            <p:cNvSpPr>
              <a:spLocks/>
            </p:cNvSpPr>
            <p:nvPr/>
          </p:nvSpPr>
          <p:spPr bwMode="auto">
            <a:xfrm flipV="1">
              <a:off x="2906564" y="1664174"/>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7" name="Freeform 341">
              <a:extLst>
                <a:ext uri="{FF2B5EF4-FFF2-40B4-BE49-F238E27FC236}">
                  <a16:creationId xmlns:a16="http://schemas.microsoft.com/office/drawing/2014/main" id="{4BA9F7CD-76BC-4AD9-BFC2-02996C165074}"/>
                </a:ext>
              </a:extLst>
            </p:cNvPr>
            <p:cNvSpPr>
              <a:spLocks/>
            </p:cNvSpPr>
            <p:nvPr/>
          </p:nvSpPr>
          <p:spPr bwMode="auto">
            <a:xfrm>
              <a:off x="2663551" y="1837309"/>
              <a:ext cx="193878" cy="149448"/>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nvGrpSpPr>
          <p:cNvPr id="178" name="Group 177">
            <a:extLst>
              <a:ext uri="{FF2B5EF4-FFF2-40B4-BE49-F238E27FC236}">
                <a16:creationId xmlns:a16="http://schemas.microsoft.com/office/drawing/2014/main" id="{7208C0A3-3E46-430F-9B71-00B57F4C4B84}"/>
              </a:ext>
            </a:extLst>
          </p:cNvPr>
          <p:cNvGrpSpPr/>
          <p:nvPr/>
        </p:nvGrpSpPr>
        <p:grpSpPr>
          <a:xfrm>
            <a:off x="2244644" y="3582307"/>
            <a:ext cx="314499" cy="515691"/>
            <a:chOff x="2459115" y="3412425"/>
            <a:chExt cx="394792" cy="649051"/>
          </a:xfrm>
        </p:grpSpPr>
        <p:sp>
          <p:nvSpPr>
            <p:cNvPr id="179" name="Freeform 872">
              <a:extLst>
                <a:ext uri="{FF2B5EF4-FFF2-40B4-BE49-F238E27FC236}">
                  <a16:creationId xmlns:a16="http://schemas.microsoft.com/office/drawing/2014/main" id="{5FCF0AF7-4B6B-4065-AE24-F4EB5B3B6F52}"/>
                </a:ext>
              </a:extLst>
            </p:cNvPr>
            <p:cNvSpPr>
              <a:spLocks/>
            </p:cNvSpPr>
            <p:nvPr/>
          </p:nvSpPr>
          <p:spPr bwMode="auto">
            <a:xfrm>
              <a:off x="2459115" y="3412425"/>
              <a:ext cx="394792" cy="649051"/>
            </a:xfrm>
            <a:custGeom>
              <a:avLst/>
              <a:gdLst>
                <a:gd name="T0" fmla="*/ 160 w 160"/>
                <a:gd name="T1" fmla="*/ 230 h 288"/>
                <a:gd name="T2" fmla="*/ 160 w 160"/>
                <a:gd name="T3" fmla="*/ 230 h 288"/>
                <a:gd name="T4" fmla="*/ 160 w 160"/>
                <a:gd name="T5" fmla="*/ 275 h 288"/>
                <a:gd name="T6" fmla="*/ 147 w 160"/>
                <a:gd name="T7" fmla="*/ 288 h 288"/>
                <a:gd name="T8" fmla="*/ 13 w 160"/>
                <a:gd name="T9" fmla="*/ 288 h 288"/>
                <a:gd name="T10" fmla="*/ 0 w 160"/>
                <a:gd name="T11" fmla="*/ 275 h 288"/>
                <a:gd name="T12" fmla="*/ 0 w 160"/>
                <a:gd name="T13" fmla="*/ 12 h 288"/>
                <a:gd name="T14" fmla="*/ 13 w 160"/>
                <a:gd name="T15" fmla="*/ 0 h 288"/>
                <a:gd name="T16" fmla="*/ 147 w 160"/>
                <a:gd name="T17" fmla="*/ 0 h 288"/>
                <a:gd name="T18" fmla="*/ 160 w 160"/>
                <a:gd name="T19" fmla="*/ 12 h 288"/>
                <a:gd name="T20" fmla="*/ 160 w 160"/>
                <a:gd name="T21" fmla="*/ 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88">
                  <a:moveTo>
                    <a:pt x="160" y="230"/>
                  </a:moveTo>
                  <a:lnTo>
                    <a:pt x="160" y="230"/>
                  </a:lnTo>
                  <a:lnTo>
                    <a:pt x="160" y="275"/>
                  </a:lnTo>
                  <a:cubicBezTo>
                    <a:pt x="160" y="282"/>
                    <a:pt x="154" y="288"/>
                    <a:pt x="147" y="288"/>
                  </a:cubicBezTo>
                  <a:lnTo>
                    <a:pt x="13" y="288"/>
                  </a:lnTo>
                  <a:cubicBezTo>
                    <a:pt x="6" y="288"/>
                    <a:pt x="0" y="282"/>
                    <a:pt x="0" y="275"/>
                  </a:cubicBezTo>
                  <a:lnTo>
                    <a:pt x="0" y="12"/>
                  </a:lnTo>
                  <a:cubicBezTo>
                    <a:pt x="0" y="5"/>
                    <a:pt x="6" y="0"/>
                    <a:pt x="13" y="0"/>
                  </a:cubicBezTo>
                  <a:lnTo>
                    <a:pt x="147" y="0"/>
                  </a:lnTo>
                  <a:cubicBezTo>
                    <a:pt x="154" y="0"/>
                    <a:pt x="160" y="5"/>
                    <a:pt x="160" y="12"/>
                  </a:cubicBezTo>
                  <a:lnTo>
                    <a:pt x="160" y="57"/>
                  </a:lnTo>
                </a:path>
              </a:pathLst>
            </a:custGeom>
            <a:noFill/>
            <a:ln w="254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0" name="Freeform 873">
              <a:extLst>
                <a:ext uri="{FF2B5EF4-FFF2-40B4-BE49-F238E27FC236}">
                  <a16:creationId xmlns:a16="http://schemas.microsoft.com/office/drawing/2014/main" id="{26E210FE-E56B-4A40-B39B-11533DBA96C0}"/>
                </a:ext>
              </a:extLst>
            </p:cNvPr>
            <p:cNvSpPr>
              <a:spLocks/>
            </p:cNvSpPr>
            <p:nvPr/>
          </p:nvSpPr>
          <p:spPr bwMode="auto">
            <a:xfrm>
              <a:off x="2459115" y="3973584"/>
              <a:ext cx="394792" cy="0"/>
            </a:xfrm>
            <a:custGeom>
              <a:avLst/>
              <a:gdLst>
                <a:gd name="T0" fmla="*/ 0 w 160"/>
                <a:gd name="T1" fmla="*/ 0 w 160"/>
                <a:gd name="T2" fmla="*/ 160 w 160"/>
              </a:gdLst>
              <a:ahLst/>
              <a:cxnLst>
                <a:cxn ang="0">
                  <a:pos x="T0" y="0"/>
                </a:cxn>
                <a:cxn ang="0">
                  <a:pos x="T1" y="0"/>
                </a:cxn>
                <a:cxn ang="0">
                  <a:pos x="T2" y="0"/>
                </a:cxn>
              </a:cxnLst>
              <a:rect l="0" t="0" r="r" b="b"/>
              <a:pathLst>
                <a:path w="160">
                  <a:moveTo>
                    <a:pt x="0" y="0"/>
                  </a:moveTo>
                  <a:lnTo>
                    <a:pt x="0" y="0"/>
                  </a:lnTo>
                  <a:lnTo>
                    <a:pt x="16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1" name="Freeform 874">
              <a:extLst>
                <a:ext uri="{FF2B5EF4-FFF2-40B4-BE49-F238E27FC236}">
                  <a16:creationId xmlns:a16="http://schemas.microsoft.com/office/drawing/2014/main" id="{88BFACAC-480F-489F-BAE3-86B08400344B}"/>
                </a:ext>
              </a:extLst>
            </p:cNvPr>
            <p:cNvSpPr>
              <a:spLocks/>
            </p:cNvSpPr>
            <p:nvPr/>
          </p:nvSpPr>
          <p:spPr bwMode="auto">
            <a:xfrm>
              <a:off x="2459115" y="3484542"/>
              <a:ext cx="394792" cy="0"/>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2" name="Freeform 875">
              <a:extLst>
                <a:ext uri="{FF2B5EF4-FFF2-40B4-BE49-F238E27FC236}">
                  <a16:creationId xmlns:a16="http://schemas.microsoft.com/office/drawing/2014/main" id="{E131383D-DBE6-4944-8896-DF5169AF1760}"/>
                </a:ext>
              </a:extLst>
            </p:cNvPr>
            <p:cNvSpPr>
              <a:spLocks/>
            </p:cNvSpPr>
            <p:nvPr/>
          </p:nvSpPr>
          <p:spPr bwMode="auto">
            <a:xfrm>
              <a:off x="2631525" y="4018657"/>
              <a:ext cx="49974" cy="0"/>
            </a:xfrm>
            <a:custGeom>
              <a:avLst/>
              <a:gdLst>
                <a:gd name="T0" fmla="*/ 0 w 20"/>
                <a:gd name="T1" fmla="*/ 0 w 20"/>
                <a:gd name="T2" fmla="*/ 20 w 20"/>
              </a:gdLst>
              <a:ahLst/>
              <a:cxnLst>
                <a:cxn ang="0">
                  <a:pos x="T0" y="0"/>
                </a:cxn>
                <a:cxn ang="0">
                  <a:pos x="T1" y="0"/>
                </a:cxn>
                <a:cxn ang="0">
                  <a:pos x="T2" y="0"/>
                </a:cxn>
              </a:cxnLst>
              <a:rect l="0" t="0" r="r" b="b"/>
              <a:pathLst>
                <a:path w="20">
                  <a:moveTo>
                    <a:pt x="0" y="0"/>
                  </a:moveTo>
                  <a:lnTo>
                    <a:pt x="0" y="0"/>
                  </a:lnTo>
                  <a:lnTo>
                    <a:pt x="2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3" name="Freeform 874">
              <a:extLst>
                <a:ext uri="{FF2B5EF4-FFF2-40B4-BE49-F238E27FC236}">
                  <a16:creationId xmlns:a16="http://schemas.microsoft.com/office/drawing/2014/main" id="{8F33BD9B-B07A-49CF-834F-ABA08A4C747A}"/>
                </a:ext>
              </a:extLst>
            </p:cNvPr>
            <p:cNvSpPr>
              <a:spLocks/>
            </p:cNvSpPr>
            <p:nvPr/>
          </p:nvSpPr>
          <p:spPr bwMode="auto">
            <a:xfrm rot="5400000">
              <a:off x="2600961" y="3675438"/>
              <a:ext cx="403923" cy="101968"/>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4" name="Freeform 341">
              <a:extLst>
                <a:ext uri="{FF2B5EF4-FFF2-40B4-BE49-F238E27FC236}">
                  <a16:creationId xmlns:a16="http://schemas.microsoft.com/office/drawing/2014/main" id="{A7359425-617A-43BC-8971-A65427870AFE}"/>
                </a:ext>
              </a:extLst>
            </p:cNvPr>
            <p:cNvSpPr>
              <a:spLocks/>
            </p:cNvSpPr>
            <p:nvPr/>
          </p:nvSpPr>
          <p:spPr bwMode="auto">
            <a:xfrm>
              <a:off x="2572804" y="3641943"/>
              <a:ext cx="178062" cy="136466"/>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nvGrpSpPr>
          <p:cNvPr id="185" name="Group 184">
            <a:extLst>
              <a:ext uri="{FF2B5EF4-FFF2-40B4-BE49-F238E27FC236}">
                <a16:creationId xmlns:a16="http://schemas.microsoft.com/office/drawing/2014/main" id="{456F8A65-4EBD-42D1-9B94-EE9F11701AA2}"/>
              </a:ext>
            </a:extLst>
          </p:cNvPr>
          <p:cNvGrpSpPr/>
          <p:nvPr/>
        </p:nvGrpSpPr>
        <p:grpSpPr>
          <a:xfrm>
            <a:off x="2106808" y="1829087"/>
            <a:ext cx="467774" cy="410642"/>
            <a:chOff x="2576513" y="1728545"/>
            <a:chExt cx="584200" cy="417756"/>
          </a:xfrm>
        </p:grpSpPr>
        <p:sp>
          <p:nvSpPr>
            <p:cNvPr id="186" name="Freeform 44">
              <a:extLst>
                <a:ext uri="{FF2B5EF4-FFF2-40B4-BE49-F238E27FC236}">
                  <a16:creationId xmlns:a16="http://schemas.microsoft.com/office/drawing/2014/main" id="{23CC9A6B-D13B-44CB-952C-EAB24D04F67A}"/>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2"/>
            </a:solidFill>
            <a:ln w="25400" cap="flat">
              <a:solidFill>
                <a:srgbClr val="505050"/>
              </a:solidFill>
              <a:prstDash val="solid"/>
              <a:round/>
              <a:headEnd/>
              <a:tailEnd/>
            </a:ln>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7" name="Freeform 45">
              <a:extLst>
                <a:ext uri="{FF2B5EF4-FFF2-40B4-BE49-F238E27FC236}">
                  <a16:creationId xmlns:a16="http://schemas.microsoft.com/office/drawing/2014/main" id="{15B9490C-2938-488C-A751-2EA30ADCE033}"/>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8" name="Freeform 46">
              <a:extLst>
                <a:ext uri="{FF2B5EF4-FFF2-40B4-BE49-F238E27FC236}">
                  <a16:creationId xmlns:a16="http://schemas.microsoft.com/office/drawing/2014/main" id="{11932970-9A68-4F5B-88EF-25A943A24D1F}"/>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grpSp>
      <p:grpSp>
        <p:nvGrpSpPr>
          <p:cNvPr id="16" name="Group 15"/>
          <p:cNvGrpSpPr/>
          <p:nvPr/>
        </p:nvGrpSpPr>
        <p:grpSpPr>
          <a:xfrm>
            <a:off x="9483724" y="3854353"/>
            <a:ext cx="2021972" cy="609948"/>
            <a:chOff x="10459732" y="3546672"/>
            <a:chExt cx="2022498" cy="610107"/>
          </a:xfrm>
        </p:grpSpPr>
        <p:grpSp>
          <p:nvGrpSpPr>
            <p:cNvPr id="14" name="Group 13"/>
            <p:cNvGrpSpPr/>
            <p:nvPr/>
          </p:nvGrpSpPr>
          <p:grpSpPr>
            <a:xfrm>
              <a:off x="10459732" y="3546672"/>
              <a:ext cx="2022498" cy="610107"/>
              <a:chOff x="9673791" y="3667836"/>
              <a:chExt cx="2022498" cy="610107"/>
            </a:xfrm>
          </p:grpSpPr>
          <p:sp>
            <p:nvSpPr>
              <p:cNvPr id="195" name="Rectangle: Rounded Corners 194">
                <a:extLst>
                  <a:ext uri="{FF2B5EF4-FFF2-40B4-BE49-F238E27FC236}">
                    <a16:creationId xmlns:a16="http://schemas.microsoft.com/office/drawing/2014/main" id="{E3B50E10-910F-4FF9-A355-1AD8EEBB9AC3}"/>
                  </a:ext>
                </a:extLst>
              </p:cNvPr>
              <p:cNvSpPr/>
              <p:nvPr/>
            </p:nvSpPr>
            <p:spPr bwMode="auto">
              <a:xfrm>
                <a:off x="9673791" y="3667836"/>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sp>
            <p:nvSpPr>
              <p:cNvPr id="169" name="TextBox 168">
                <a:extLst>
                  <a:ext uri="{FF2B5EF4-FFF2-40B4-BE49-F238E27FC236}">
                    <a16:creationId xmlns:a16="http://schemas.microsoft.com/office/drawing/2014/main" id="{86AA2C53-82E7-4915-BF19-E92E0BFAE4C1}"/>
                  </a:ext>
                </a:extLst>
              </p:cNvPr>
              <p:cNvSpPr txBox="1"/>
              <p:nvPr/>
            </p:nvSpPr>
            <p:spPr bwMode="auto">
              <a:xfrm>
                <a:off x="10199491" y="3786281"/>
                <a:ext cx="1496798" cy="307697"/>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DATACENTER</a:t>
                </a:r>
              </a:p>
            </p:txBody>
          </p:sp>
        </p:grpSp>
        <p:grpSp>
          <p:nvGrpSpPr>
            <p:cNvPr id="353" name="Group 352">
              <a:extLst>
                <a:ext uri="{FF2B5EF4-FFF2-40B4-BE49-F238E27FC236}">
                  <a16:creationId xmlns:a16="http://schemas.microsoft.com/office/drawing/2014/main" id="{9A75ED88-04CA-433F-ABAC-54EDD766C9CA}"/>
                </a:ext>
              </a:extLst>
            </p:cNvPr>
            <p:cNvGrpSpPr/>
            <p:nvPr/>
          </p:nvGrpSpPr>
          <p:grpSpPr>
            <a:xfrm>
              <a:off x="10595564" y="3607562"/>
              <a:ext cx="463248" cy="479404"/>
              <a:chOff x="7760977" y="4769381"/>
              <a:chExt cx="334126" cy="474360"/>
            </a:xfrm>
          </p:grpSpPr>
          <p:grpSp>
            <p:nvGrpSpPr>
              <p:cNvPr id="354" name="Group 353">
                <a:extLst>
                  <a:ext uri="{FF2B5EF4-FFF2-40B4-BE49-F238E27FC236}">
                    <a16:creationId xmlns:a16="http://schemas.microsoft.com/office/drawing/2014/main" id="{DF20E7E5-05D3-4B08-B7F4-C8D7EEAB937E}"/>
                  </a:ext>
                </a:extLst>
              </p:cNvPr>
              <p:cNvGrpSpPr/>
              <p:nvPr/>
            </p:nvGrpSpPr>
            <p:grpSpPr>
              <a:xfrm>
                <a:off x="7764821" y="4769381"/>
                <a:ext cx="301509" cy="343140"/>
                <a:chOff x="6704013" y="5259388"/>
                <a:chExt cx="379413" cy="431800"/>
              </a:xfrm>
              <a:noFill/>
            </p:grpSpPr>
            <p:sp>
              <p:nvSpPr>
                <p:cNvPr id="359" name="Freeform 736">
                  <a:extLst>
                    <a:ext uri="{FF2B5EF4-FFF2-40B4-BE49-F238E27FC236}">
                      <a16:creationId xmlns:a16="http://schemas.microsoft.com/office/drawing/2014/main" id="{5B39AFE6-6429-49FB-84D9-D76A281E22FF}"/>
                    </a:ext>
                  </a:extLst>
                </p:cNvPr>
                <p:cNvSpPr>
                  <a:spLocks/>
                </p:cNvSpPr>
                <p:nvPr/>
              </p:nvSpPr>
              <p:spPr bwMode="auto">
                <a:xfrm>
                  <a:off x="6704013" y="5259388"/>
                  <a:ext cx="379413" cy="431800"/>
                </a:xfrm>
                <a:custGeom>
                  <a:avLst/>
                  <a:gdLst>
                    <a:gd name="T0" fmla="*/ 228 w 241"/>
                    <a:gd name="T1" fmla="*/ 272 h 272"/>
                    <a:gd name="T2" fmla="*/ 228 w 241"/>
                    <a:gd name="T3" fmla="*/ 272 h 272"/>
                    <a:gd name="T4" fmla="*/ 13 w 241"/>
                    <a:gd name="T5" fmla="*/ 272 h 272"/>
                    <a:gd name="T6" fmla="*/ 0 w 241"/>
                    <a:gd name="T7" fmla="*/ 260 h 272"/>
                    <a:gd name="T8" fmla="*/ 0 w 241"/>
                    <a:gd name="T9" fmla="*/ 56 h 272"/>
                    <a:gd name="T10" fmla="*/ 4 w 241"/>
                    <a:gd name="T11" fmla="*/ 47 h 272"/>
                    <a:gd name="T12" fmla="*/ 53 w 241"/>
                    <a:gd name="T13" fmla="*/ 3 h 272"/>
                    <a:gd name="T14" fmla="*/ 62 w 241"/>
                    <a:gd name="T15" fmla="*/ 0 h 272"/>
                    <a:gd name="T16" fmla="*/ 179 w 241"/>
                    <a:gd name="T17" fmla="*/ 0 h 272"/>
                    <a:gd name="T18" fmla="*/ 187 w 241"/>
                    <a:gd name="T19" fmla="*/ 3 h 272"/>
                    <a:gd name="T20" fmla="*/ 236 w 241"/>
                    <a:gd name="T21" fmla="*/ 47 h 272"/>
                    <a:gd name="T22" fmla="*/ 241 w 241"/>
                    <a:gd name="T23" fmla="*/ 56 h 272"/>
                    <a:gd name="T24" fmla="*/ 241 w 241"/>
                    <a:gd name="T25" fmla="*/ 260 h 272"/>
                    <a:gd name="T26" fmla="*/ 228 w 241"/>
                    <a:gd name="T27" fmla="*/ 272 h 272"/>
                    <a:gd name="T28" fmla="*/ 228 w 241"/>
                    <a:gd name="T29"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272">
                      <a:moveTo>
                        <a:pt x="228" y="272"/>
                      </a:moveTo>
                      <a:lnTo>
                        <a:pt x="228" y="272"/>
                      </a:lnTo>
                      <a:lnTo>
                        <a:pt x="13" y="272"/>
                      </a:lnTo>
                      <a:cubicBezTo>
                        <a:pt x="6" y="272"/>
                        <a:pt x="0" y="267"/>
                        <a:pt x="0" y="260"/>
                      </a:cubicBezTo>
                      <a:lnTo>
                        <a:pt x="0" y="56"/>
                      </a:lnTo>
                      <a:cubicBezTo>
                        <a:pt x="0" y="53"/>
                        <a:pt x="2" y="49"/>
                        <a:pt x="4" y="47"/>
                      </a:cubicBezTo>
                      <a:lnTo>
                        <a:pt x="53" y="3"/>
                      </a:lnTo>
                      <a:cubicBezTo>
                        <a:pt x="56" y="1"/>
                        <a:pt x="59" y="0"/>
                        <a:pt x="62" y="0"/>
                      </a:cubicBezTo>
                      <a:lnTo>
                        <a:pt x="179" y="0"/>
                      </a:lnTo>
                      <a:cubicBezTo>
                        <a:pt x="182" y="0"/>
                        <a:pt x="185" y="1"/>
                        <a:pt x="187" y="3"/>
                      </a:cubicBezTo>
                      <a:lnTo>
                        <a:pt x="236" y="47"/>
                      </a:lnTo>
                      <a:cubicBezTo>
                        <a:pt x="239" y="49"/>
                        <a:pt x="241" y="53"/>
                        <a:pt x="241" y="56"/>
                      </a:cubicBezTo>
                      <a:lnTo>
                        <a:pt x="241" y="260"/>
                      </a:lnTo>
                      <a:cubicBezTo>
                        <a:pt x="241" y="267"/>
                        <a:pt x="235" y="272"/>
                        <a:pt x="228" y="272"/>
                      </a:cubicBezTo>
                      <a:lnTo>
                        <a:pt x="228" y="272"/>
                      </a:lnTo>
                      <a:close/>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0" name="Freeform 737">
                  <a:extLst>
                    <a:ext uri="{FF2B5EF4-FFF2-40B4-BE49-F238E27FC236}">
                      <a16:creationId xmlns:a16="http://schemas.microsoft.com/office/drawing/2014/main" id="{35200C96-49C4-496A-9431-C256790CD28D}"/>
                    </a:ext>
                  </a:extLst>
                </p:cNvPr>
                <p:cNvSpPr>
                  <a:spLocks/>
                </p:cNvSpPr>
                <p:nvPr/>
              </p:nvSpPr>
              <p:spPr bwMode="auto">
                <a:xfrm>
                  <a:off x="6704013" y="535940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1" name="Freeform 738">
                  <a:extLst>
                    <a:ext uri="{FF2B5EF4-FFF2-40B4-BE49-F238E27FC236}">
                      <a16:creationId xmlns:a16="http://schemas.microsoft.com/office/drawing/2014/main" id="{EC6691CA-210F-4BD7-A0FE-5E59DB96B648}"/>
                    </a:ext>
                  </a:extLst>
                </p:cNvPr>
                <p:cNvSpPr>
                  <a:spLocks/>
                </p:cNvSpPr>
                <p:nvPr/>
              </p:nvSpPr>
              <p:spPr bwMode="auto">
                <a:xfrm>
                  <a:off x="6704013" y="5470525"/>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2" name="Freeform 740">
                  <a:extLst>
                    <a:ext uri="{FF2B5EF4-FFF2-40B4-BE49-F238E27FC236}">
                      <a16:creationId xmlns:a16="http://schemas.microsoft.com/office/drawing/2014/main" id="{CB7F240E-99C9-4F2B-8C2E-6B34595EDFFE}"/>
                    </a:ext>
                  </a:extLst>
                </p:cNvPr>
                <p:cNvSpPr>
                  <a:spLocks/>
                </p:cNvSpPr>
                <p:nvPr/>
              </p:nvSpPr>
              <p:spPr bwMode="auto">
                <a:xfrm>
                  <a:off x="6704013" y="558165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6" name="Freeform 741">
                  <a:extLst>
                    <a:ext uri="{FF2B5EF4-FFF2-40B4-BE49-F238E27FC236}">
                      <a16:creationId xmlns:a16="http://schemas.microsoft.com/office/drawing/2014/main" id="{C3B5F81A-8077-4946-92E5-EB7142DC9A4A}"/>
                    </a:ext>
                  </a:extLst>
                </p:cNvPr>
                <p:cNvSpPr>
                  <a:spLocks/>
                </p:cNvSpPr>
                <p:nvPr/>
              </p:nvSpPr>
              <p:spPr bwMode="auto">
                <a:xfrm>
                  <a:off x="6983406" y="5419726"/>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7" name="Freeform 742">
                  <a:extLst>
                    <a:ext uri="{FF2B5EF4-FFF2-40B4-BE49-F238E27FC236}">
                      <a16:creationId xmlns:a16="http://schemas.microsoft.com/office/drawing/2014/main" id="{F0C887E0-FC4B-48FB-84B7-C4D3F4D5BDC0}"/>
                    </a:ext>
                  </a:extLst>
                </p:cNvPr>
                <p:cNvSpPr>
                  <a:spLocks/>
                </p:cNvSpPr>
                <p:nvPr/>
              </p:nvSpPr>
              <p:spPr bwMode="auto">
                <a:xfrm>
                  <a:off x="6983413" y="5530850"/>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8" name="Freeform 743">
                  <a:extLst>
                    <a:ext uri="{FF2B5EF4-FFF2-40B4-BE49-F238E27FC236}">
                      <a16:creationId xmlns:a16="http://schemas.microsoft.com/office/drawing/2014/main" id="{23EBC5AF-A839-4739-8436-65B10AD1D62D}"/>
                    </a:ext>
                  </a:extLst>
                </p:cNvPr>
                <p:cNvSpPr>
                  <a:spLocks/>
                </p:cNvSpPr>
                <p:nvPr/>
              </p:nvSpPr>
              <p:spPr bwMode="auto">
                <a:xfrm>
                  <a:off x="6983413" y="5641975"/>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9" name="Freeform 744">
                  <a:extLst>
                    <a:ext uri="{FF2B5EF4-FFF2-40B4-BE49-F238E27FC236}">
                      <a16:creationId xmlns:a16="http://schemas.microsoft.com/office/drawing/2014/main" id="{9A4D6B35-2C34-4724-B88F-73E50823C786}"/>
                    </a:ext>
                  </a:extLst>
                </p:cNvPr>
                <p:cNvSpPr>
                  <a:spLocks/>
                </p:cNvSpPr>
                <p:nvPr/>
              </p:nvSpPr>
              <p:spPr bwMode="auto">
                <a:xfrm>
                  <a:off x="6743701" y="541972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0" name="Freeform 745">
                  <a:extLst>
                    <a:ext uri="{FF2B5EF4-FFF2-40B4-BE49-F238E27FC236}">
                      <a16:creationId xmlns:a16="http://schemas.microsoft.com/office/drawing/2014/main" id="{1D509D44-36C6-4C98-8C6C-CEC83BD7F887}"/>
                    </a:ext>
                  </a:extLst>
                </p:cNvPr>
                <p:cNvSpPr>
                  <a:spLocks/>
                </p:cNvSpPr>
                <p:nvPr/>
              </p:nvSpPr>
              <p:spPr bwMode="auto">
                <a:xfrm>
                  <a:off x="6743701" y="5530850"/>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1" name="Freeform 746">
                  <a:extLst>
                    <a:ext uri="{FF2B5EF4-FFF2-40B4-BE49-F238E27FC236}">
                      <a16:creationId xmlns:a16="http://schemas.microsoft.com/office/drawing/2014/main" id="{F663054B-3F63-4184-A001-2BF5AC229D4B}"/>
                    </a:ext>
                  </a:extLst>
                </p:cNvPr>
                <p:cNvSpPr>
                  <a:spLocks/>
                </p:cNvSpPr>
                <p:nvPr/>
              </p:nvSpPr>
              <p:spPr bwMode="auto">
                <a:xfrm>
                  <a:off x="6743701" y="564197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2" name="Freeform 747">
                  <a:extLst>
                    <a:ext uri="{FF2B5EF4-FFF2-40B4-BE49-F238E27FC236}">
                      <a16:creationId xmlns:a16="http://schemas.microsoft.com/office/drawing/2014/main" id="{D01F07E1-B168-41D4-97BB-F079451B0F3A}"/>
                    </a:ext>
                  </a:extLst>
                </p:cNvPr>
                <p:cNvSpPr>
                  <a:spLocks/>
                </p:cNvSpPr>
                <p:nvPr/>
              </p:nvSpPr>
              <p:spPr bwMode="auto">
                <a:xfrm>
                  <a:off x="6784976" y="541972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3" name="Freeform 748">
                  <a:extLst>
                    <a:ext uri="{FF2B5EF4-FFF2-40B4-BE49-F238E27FC236}">
                      <a16:creationId xmlns:a16="http://schemas.microsoft.com/office/drawing/2014/main" id="{AC6CA463-8E80-4F8D-B6A7-3313FDC05D60}"/>
                    </a:ext>
                  </a:extLst>
                </p:cNvPr>
                <p:cNvSpPr>
                  <a:spLocks/>
                </p:cNvSpPr>
                <p:nvPr/>
              </p:nvSpPr>
              <p:spPr bwMode="auto">
                <a:xfrm>
                  <a:off x="6784976" y="5530850"/>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4" name="Freeform 749">
                  <a:extLst>
                    <a:ext uri="{FF2B5EF4-FFF2-40B4-BE49-F238E27FC236}">
                      <a16:creationId xmlns:a16="http://schemas.microsoft.com/office/drawing/2014/main" id="{5AF85E3D-FC0E-4A1D-85A7-5538C226972D}"/>
                    </a:ext>
                  </a:extLst>
                </p:cNvPr>
                <p:cNvSpPr>
                  <a:spLocks/>
                </p:cNvSpPr>
                <p:nvPr/>
              </p:nvSpPr>
              <p:spPr bwMode="auto">
                <a:xfrm>
                  <a:off x="6784976" y="564197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cxnSp>
            <p:nvCxnSpPr>
              <p:cNvPr id="355" name="Straight Connector 354">
                <a:extLst>
                  <a:ext uri="{FF2B5EF4-FFF2-40B4-BE49-F238E27FC236}">
                    <a16:creationId xmlns:a16="http://schemas.microsoft.com/office/drawing/2014/main" id="{6F2701F3-3D27-4F38-B343-AC9DBF64301E}"/>
                  </a:ext>
                </a:extLst>
              </p:cNvPr>
              <p:cNvCxnSpPr>
                <a:cxnSpLocks/>
                <a:endCxn id="358" idx="4"/>
              </p:cNvCxnSpPr>
              <p:nvPr/>
            </p:nvCxnSpPr>
            <p:spPr bwMode="auto">
              <a:xfrm>
                <a:off x="7925100" y="5115863"/>
                <a:ext cx="0" cy="127878"/>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6" name="Straight Connector 355">
                <a:extLst>
                  <a:ext uri="{FF2B5EF4-FFF2-40B4-BE49-F238E27FC236}">
                    <a16:creationId xmlns:a16="http://schemas.microsoft.com/office/drawing/2014/main" id="{885936BE-2553-486E-AE25-8965445D2418}"/>
                  </a:ext>
                </a:extLst>
              </p:cNvPr>
              <p:cNvCxnSpPr/>
              <p:nvPr/>
            </p:nvCxnSpPr>
            <p:spPr bwMode="auto">
              <a:xfrm>
                <a:off x="7760977" y="5195789"/>
                <a:ext cx="334126" cy="0"/>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8" name="Oval 357">
                <a:extLst>
                  <a:ext uri="{FF2B5EF4-FFF2-40B4-BE49-F238E27FC236}">
                    <a16:creationId xmlns:a16="http://schemas.microsoft.com/office/drawing/2014/main" id="{8794E17C-5D73-4ECE-9D74-F0046D4FFD34}"/>
                  </a:ext>
                </a:extLst>
              </p:cNvPr>
              <p:cNvSpPr/>
              <p:nvPr/>
            </p:nvSpPr>
            <p:spPr bwMode="auto">
              <a:xfrm>
                <a:off x="7882187" y="515791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7" name="Group 6"/>
          <p:cNvGrpSpPr/>
          <p:nvPr/>
        </p:nvGrpSpPr>
        <p:grpSpPr>
          <a:xfrm>
            <a:off x="9483725" y="2202110"/>
            <a:ext cx="2004667" cy="609948"/>
            <a:chOff x="9688515" y="2273915"/>
            <a:chExt cx="2005189" cy="610107"/>
          </a:xfrm>
        </p:grpSpPr>
        <p:sp>
          <p:nvSpPr>
            <p:cNvPr id="193" name="Rectangle: Rounded Corners 192">
              <a:extLst>
                <a:ext uri="{FF2B5EF4-FFF2-40B4-BE49-F238E27FC236}">
                  <a16:creationId xmlns:a16="http://schemas.microsoft.com/office/drawing/2014/main" id="{BD2797BB-294E-497C-BF40-2BF0AAAA9E80}"/>
                </a:ext>
              </a:extLst>
            </p:cNvPr>
            <p:cNvSpPr/>
            <p:nvPr/>
          </p:nvSpPr>
          <p:spPr bwMode="auto">
            <a:xfrm>
              <a:off x="9688515" y="2273915"/>
              <a:ext cx="1996148"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75" name="Group 374">
              <a:extLst>
                <a:ext uri="{FF2B5EF4-FFF2-40B4-BE49-F238E27FC236}">
                  <a16:creationId xmlns:a16="http://schemas.microsoft.com/office/drawing/2014/main" id="{C1A35DCB-7180-48DB-AE48-B65FDABED766}"/>
                </a:ext>
              </a:extLst>
            </p:cNvPr>
            <p:cNvGrpSpPr/>
            <p:nvPr/>
          </p:nvGrpSpPr>
          <p:grpSpPr>
            <a:xfrm>
              <a:off x="9864565" y="2405048"/>
              <a:ext cx="1829139" cy="350020"/>
              <a:chOff x="8536119" y="930602"/>
              <a:chExt cx="1799467" cy="346337"/>
            </a:xfrm>
          </p:grpSpPr>
          <p:sp>
            <p:nvSpPr>
              <p:cNvPr id="376" name="TextBox 375">
                <a:extLst>
                  <a:ext uri="{FF2B5EF4-FFF2-40B4-BE49-F238E27FC236}">
                    <a16:creationId xmlns:a16="http://schemas.microsoft.com/office/drawing/2014/main" id="{91642B42-99D0-42AF-92C8-CB337CD1BC0E}"/>
                  </a:ext>
                </a:extLst>
              </p:cNvPr>
              <p:cNvSpPr txBox="1"/>
              <p:nvPr/>
            </p:nvSpPr>
            <p:spPr bwMode="auto">
              <a:xfrm>
                <a:off x="8792852" y="941109"/>
                <a:ext cx="1542734" cy="30456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SAAS</a:t>
                </a:r>
              </a:p>
            </p:txBody>
          </p:sp>
          <p:grpSp>
            <p:nvGrpSpPr>
              <p:cNvPr id="377" name="Graphic 70">
                <a:extLst>
                  <a:ext uri="{FF2B5EF4-FFF2-40B4-BE49-F238E27FC236}">
                    <a16:creationId xmlns:a16="http://schemas.microsoft.com/office/drawing/2014/main" id="{A0583EF9-8D0E-4BDC-9B06-E1B84618AE0C}"/>
                  </a:ext>
                </a:extLst>
              </p:cNvPr>
              <p:cNvGrpSpPr/>
              <p:nvPr/>
            </p:nvGrpSpPr>
            <p:grpSpPr>
              <a:xfrm>
                <a:off x="8536119" y="930602"/>
                <a:ext cx="430583" cy="346337"/>
                <a:chOff x="10366196" y="3234979"/>
                <a:chExt cx="370537" cy="298040"/>
              </a:xfrm>
              <a:noFill/>
            </p:grpSpPr>
            <p:sp>
              <p:nvSpPr>
                <p:cNvPr id="380" name="Freeform: Shape 72">
                  <a:extLst>
                    <a:ext uri="{FF2B5EF4-FFF2-40B4-BE49-F238E27FC236}">
                      <a16:creationId xmlns:a16="http://schemas.microsoft.com/office/drawing/2014/main" id="{FA74EFEA-5526-4EBF-9FCE-CED713E9AB6B}"/>
                    </a:ext>
                  </a:extLst>
                </p:cNvPr>
                <p:cNvSpPr/>
                <p:nvPr/>
              </p:nvSpPr>
              <p:spPr>
                <a:xfrm>
                  <a:off x="10366196" y="3234979"/>
                  <a:ext cx="370537" cy="217488"/>
                </a:xfrm>
                <a:custGeom>
                  <a:avLst/>
                  <a:gdLst>
                    <a:gd name="connsiteX0" fmla="*/ 306097 w 370538"/>
                    <a:gd name="connsiteY0" fmla="*/ 217490 h 217489"/>
                    <a:gd name="connsiteX1" fmla="*/ 314152 w 370538"/>
                    <a:gd name="connsiteY1" fmla="*/ 217490 h 217489"/>
                    <a:gd name="connsiteX2" fmla="*/ 370539 w 370538"/>
                    <a:gd name="connsiteY2" fmla="*/ 161104 h 217489"/>
                    <a:gd name="connsiteX3" fmla="*/ 314152 w 370538"/>
                    <a:gd name="connsiteY3" fmla="*/ 104717 h 217489"/>
                    <a:gd name="connsiteX4" fmla="*/ 297236 w 370538"/>
                    <a:gd name="connsiteY4" fmla="*/ 107134 h 217489"/>
                    <a:gd name="connsiteX5" fmla="*/ 298042 w 370538"/>
                    <a:gd name="connsiteY5" fmla="*/ 96662 h 217489"/>
                    <a:gd name="connsiteX6" fmla="*/ 241656 w 370538"/>
                    <a:gd name="connsiteY6" fmla="*/ 40276 h 217489"/>
                    <a:gd name="connsiteX7" fmla="*/ 204602 w 370538"/>
                    <a:gd name="connsiteY7" fmla="*/ 53970 h 217489"/>
                    <a:gd name="connsiteX8" fmla="*/ 128883 w 370538"/>
                    <a:gd name="connsiteY8" fmla="*/ 0 h 217489"/>
                    <a:gd name="connsiteX9" fmla="*/ 48331 w 370538"/>
                    <a:gd name="connsiteY9" fmla="*/ 80552 h 217489"/>
                    <a:gd name="connsiteX10" fmla="*/ 52359 w 370538"/>
                    <a:gd name="connsiteY10" fmla="*/ 104717 h 217489"/>
                    <a:gd name="connsiteX11" fmla="*/ 0 w 370538"/>
                    <a:gd name="connsiteY11" fmla="*/ 161104 h 217489"/>
                    <a:gd name="connsiteX12" fmla="*/ 56386 w 370538"/>
                    <a:gd name="connsiteY12" fmla="*/ 217490 h 217489"/>
                    <a:gd name="connsiteX13" fmla="*/ 64442 w 370538"/>
                    <a:gd name="connsiteY13" fmla="*/ 217490 h 21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38" h="217489">
                      <a:moveTo>
                        <a:pt x="306097" y="217490"/>
                      </a:moveTo>
                      <a:lnTo>
                        <a:pt x="314152" y="217490"/>
                      </a:lnTo>
                      <a:cubicBezTo>
                        <a:pt x="345568" y="217490"/>
                        <a:pt x="370539" y="192519"/>
                        <a:pt x="370539" y="161104"/>
                      </a:cubicBezTo>
                      <a:cubicBezTo>
                        <a:pt x="370539" y="129688"/>
                        <a:pt x="345568" y="104717"/>
                        <a:pt x="314152" y="104717"/>
                      </a:cubicBezTo>
                      <a:cubicBezTo>
                        <a:pt x="308514" y="104717"/>
                        <a:pt x="302070" y="105523"/>
                        <a:pt x="297236" y="107134"/>
                      </a:cubicBezTo>
                      <a:cubicBezTo>
                        <a:pt x="298042" y="103912"/>
                        <a:pt x="298042" y="100690"/>
                        <a:pt x="298042" y="96662"/>
                      </a:cubicBezTo>
                      <a:cubicBezTo>
                        <a:pt x="298042" y="65247"/>
                        <a:pt x="273071" y="40276"/>
                        <a:pt x="241656" y="40276"/>
                      </a:cubicBezTo>
                      <a:cubicBezTo>
                        <a:pt x="227962" y="40276"/>
                        <a:pt x="215074" y="45109"/>
                        <a:pt x="204602" y="53970"/>
                      </a:cubicBezTo>
                      <a:cubicBezTo>
                        <a:pt x="194130" y="22555"/>
                        <a:pt x="164326" y="0"/>
                        <a:pt x="128883" y="0"/>
                      </a:cubicBezTo>
                      <a:cubicBezTo>
                        <a:pt x="84579" y="0"/>
                        <a:pt x="48331" y="36248"/>
                        <a:pt x="48331" y="80552"/>
                      </a:cubicBezTo>
                      <a:cubicBezTo>
                        <a:pt x="48331" y="89412"/>
                        <a:pt x="49942" y="97468"/>
                        <a:pt x="52359" y="104717"/>
                      </a:cubicBezTo>
                      <a:cubicBezTo>
                        <a:pt x="22555" y="107134"/>
                        <a:pt x="0" y="131299"/>
                        <a:pt x="0" y="161104"/>
                      </a:cubicBezTo>
                      <a:cubicBezTo>
                        <a:pt x="0" y="192519"/>
                        <a:pt x="24971" y="217490"/>
                        <a:pt x="56386" y="217490"/>
                      </a:cubicBezTo>
                      <a:lnTo>
                        <a:pt x="64442" y="21749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2" name="Freeform: Shape 73">
                  <a:extLst>
                    <a:ext uri="{FF2B5EF4-FFF2-40B4-BE49-F238E27FC236}">
                      <a16:creationId xmlns:a16="http://schemas.microsoft.com/office/drawing/2014/main" id="{9F5FF97E-D21A-4C31-9D87-8B26A4951581}"/>
                    </a:ext>
                  </a:extLst>
                </p:cNvPr>
                <p:cNvSpPr/>
                <p:nvPr/>
              </p:nvSpPr>
              <p:spPr>
                <a:xfrm>
                  <a:off x="10570796" y="3288946"/>
                  <a:ext cx="4027" cy="18526"/>
                </a:xfrm>
                <a:custGeom>
                  <a:avLst/>
                  <a:gdLst>
                    <a:gd name="connsiteX0" fmla="*/ 0 w 4027"/>
                    <a:gd name="connsiteY0" fmla="*/ 0 h 18526"/>
                    <a:gd name="connsiteX1" fmla="*/ 4028 w 4027"/>
                    <a:gd name="connsiteY1" fmla="*/ 18527 h 18526"/>
                  </a:gdLst>
                  <a:ahLst/>
                  <a:cxnLst>
                    <a:cxn ang="0">
                      <a:pos x="connsiteX0" y="connsiteY0"/>
                    </a:cxn>
                    <a:cxn ang="0">
                      <a:pos x="connsiteX1" y="connsiteY1"/>
                    </a:cxn>
                  </a:cxnLst>
                  <a:rect l="l" t="t" r="r" b="b"/>
                  <a:pathLst>
                    <a:path w="4027" h="18526">
                      <a:moveTo>
                        <a:pt x="0" y="0"/>
                      </a:moveTo>
                      <a:cubicBezTo>
                        <a:pt x="2417" y="5639"/>
                        <a:pt x="3222" y="12083"/>
                        <a:pt x="4028"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3" name="Freeform: Shape 74">
                  <a:extLst>
                    <a:ext uri="{FF2B5EF4-FFF2-40B4-BE49-F238E27FC236}">
                      <a16:creationId xmlns:a16="http://schemas.microsoft.com/office/drawing/2014/main" id="{49FE44F8-9FBC-4E5F-A40E-D5FEAC5EC293}"/>
                    </a:ext>
                  </a:extLst>
                </p:cNvPr>
                <p:cNvSpPr/>
                <p:nvPr/>
              </p:nvSpPr>
              <p:spPr>
                <a:xfrm>
                  <a:off x="10656188" y="3342112"/>
                  <a:ext cx="7249" cy="18526"/>
                </a:xfrm>
                <a:custGeom>
                  <a:avLst/>
                  <a:gdLst>
                    <a:gd name="connsiteX0" fmla="*/ 7250 w 7249"/>
                    <a:gd name="connsiteY0" fmla="*/ 0 h 18526"/>
                    <a:gd name="connsiteX1" fmla="*/ 0 w 7249"/>
                    <a:gd name="connsiteY1" fmla="*/ 18527 h 18526"/>
                  </a:gdLst>
                  <a:ahLst/>
                  <a:cxnLst>
                    <a:cxn ang="0">
                      <a:pos x="connsiteX0" y="connsiteY0"/>
                    </a:cxn>
                    <a:cxn ang="0">
                      <a:pos x="connsiteX1" y="connsiteY1"/>
                    </a:cxn>
                  </a:cxnLst>
                  <a:rect l="l" t="t" r="r" b="b"/>
                  <a:pathLst>
                    <a:path w="7249" h="18526">
                      <a:moveTo>
                        <a:pt x="7250" y="0"/>
                      </a:moveTo>
                      <a:cubicBezTo>
                        <a:pt x="5639" y="6444"/>
                        <a:pt x="3222" y="12888"/>
                        <a:pt x="0"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5" name="Freeform: Shape 75">
                  <a:extLst>
                    <a:ext uri="{FF2B5EF4-FFF2-40B4-BE49-F238E27FC236}">
                      <a16:creationId xmlns:a16="http://schemas.microsoft.com/office/drawing/2014/main" id="{FF2E8521-38A0-4A11-8143-685FC33D5838}"/>
                    </a:ext>
                  </a:extLst>
                </p:cNvPr>
                <p:cNvSpPr/>
                <p:nvPr/>
              </p:nvSpPr>
              <p:spPr>
                <a:xfrm>
                  <a:off x="10418569" y="3339394"/>
                  <a:ext cx="20943" cy="2718"/>
                </a:xfrm>
                <a:custGeom>
                  <a:avLst/>
                  <a:gdLst>
                    <a:gd name="connsiteX0" fmla="*/ 0 w 20943"/>
                    <a:gd name="connsiteY0" fmla="*/ 302 h 2718"/>
                    <a:gd name="connsiteX1" fmla="*/ 20943 w 20943"/>
                    <a:gd name="connsiteY1" fmla="*/ 2719 h 2718"/>
                  </a:gdLst>
                  <a:ahLst/>
                  <a:cxnLst>
                    <a:cxn ang="0">
                      <a:pos x="connsiteX0" y="connsiteY0"/>
                    </a:cxn>
                    <a:cxn ang="0">
                      <a:pos x="connsiteX1" y="connsiteY1"/>
                    </a:cxn>
                  </a:cxnLst>
                  <a:rect l="l" t="t" r="r" b="b"/>
                  <a:pathLst>
                    <a:path w="20943" h="2718">
                      <a:moveTo>
                        <a:pt x="0" y="302"/>
                      </a:moveTo>
                      <a:cubicBezTo>
                        <a:pt x="7250" y="-503"/>
                        <a:pt x="13694" y="302"/>
                        <a:pt x="20943" y="2719"/>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6" name="Freeform: Shape 76">
                  <a:extLst>
                    <a:ext uri="{FF2B5EF4-FFF2-40B4-BE49-F238E27FC236}">
                      <a16:creationId xmlns:a16="http://schemas.microsoft.com/office/drawing/2014/main" id="{B81F8686-DD50-47C7-ABB1-339B26F87218}"/>
                    </a:ext>
                  </a:extLst>
                </p:cNvPr>
                <p:cNvSpPr/>
                <p:nvPr/>
              </p:nvSpPr>
              <p:spPr>
                <a:xfrm>
                  <a:off x="10551480" y="3371917"/>
                  <a:ext cx="80551" cy="104717"/>
                </a:xfrm>
                <a:custGeom>
                  <a:avLst/>
                  <a:gdLst>
                    <a:gd name="connsiteX0" fmla="*/ 0 w 80551"/>
                    <a:gd name="connsiteY0" fmla="*/ 0 h 104717"/>
                    <a:gd name="connsiteX1" fmla="*/ 80552 w 80551"/>
                    <a:gd name="connsiteY1" fmla="*/ 80552 h 104717"/>
                    <a:gd name="connsiteX2" fmla="*/ 80552 w 80551"/>
                    <a:gd name="connsiteY2" fmla="*/ 104717 h 104717"/>
                  </a:gdLst>
                  <a:ahLst/>
                  <a:cxnLst>
                    <a:cxn ang="0">
                      <a:pos x="connsiteX0" y="connsiteY0"/>
                    </a:cxn>
                    <a:cxn ang="0">
                      <a:pos x="connsiteX1" y="connsiteY1"/>
                    </a:cxn>
                    <a:cxn ang="0">
                      <a:pos x="connsiteX2" y="connsiteY2"/>
                    </a:cxn>
                  </a:cxnLst>
                  <a:rect l="l" t="t" r="r" b="b"/>
                  <a:pathLst>
                    <a:path w="80551" h="104717">
                      <a:moveTo>
                        <a:pt x="0" y="0"/>
                      </a:moveTo>
                      <a:cubicBezTo>
                        <a:pt x="44304" y="0"/>
                        <a:pt x="80552" y="36248"/>
                        <a:pt x="80552" y="80552"/>
                      </a:cubicBezTo>
                      <a:lnTo>
                        <a:pt x="80552" y="104717"/>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7" name="Freeform: Shape 77">
                  <a:extLst>
                    <a:ext uri="{FF2B5EF4-FFF2-40B4-BE49-F238E27FC236}">
                      <a16:creationId xmlns:a16="http://schemas.microsoft.com/office/drawing/2014/main" id="{21A845DF-AED9-4151-8101-9BD06E7541FD}"/>
                    </a:ext>
                  </a:extLst>
                </p:cNvPr>
                <p:cNvSpPr/>
                <p:nvPr/>
              </p:nvSpPr>
              <p:spPr>
                <a:xfrm>
                  <a:off x="10551480" y="3492743"/>
                  <a:ext cx="70080" cy="40275"/>
                </a:xfrm>
                <a:custGeom>
                  <a:avLst/>
                  <a:gdLst>
                    <a:gd name="connsiteX0" fmla="*/ 70080 w 70080"/>
                    <a:gd name="connsiteY0" fmla="*/ 0 h 40275"/>
                    <a:gd name="connsiteX1" fmla="*/ 0 w 70080"/>
                    <a:gd name="connsiteY1" fmla="*/ 40276 h 40275"/>
                  </a:gdLst>
                  <a:ahLst/>
                  <a:cxnLst>
                    <a:cxn ang="0">
                      <a:pos x="connsiteX0" y="connsiteY0"/>
                    </a:cxn>
                    <a:cxn ang="0">
                      <a:pos x="connsiteX1" y="connsiteY1"/>
                    </a:cxn>
                  </a:cxnLst>
                  <a:rect l="l" t="t" r="r" b="b"/>
                  <a:pathLst>
                    <a:path w="70080" h="40275">
                      <a:moveTo>
                        <a:pt x="70080" y="0"/>
                      </a:moveTo>
                      <a:cubicBezTo>
                        <a:pt x="56386" y="24166"/>
                        <a:pt x="29804" y="40276"/>
                        <a:pt x="0" y="40276"/>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8" name="Freeform: Shape 78">
                  <a:extLst>
                    <a:ext uri="{FF2B5EF4-FFF2-40B4-BE49-F238E27FC236}">
                      <a16:creationId xmlns:a16="http://schemas.microsoft.com/office/drawing/2014/main" id="{26A874DC-D12B-46FE-AD26-5ABF92B06978}"/>
                    </a:ext>
                  </a:extLst>
                </p:cNvPr>
                <p:cNvSpPr/>
                <p:nvPr/>
              </p:nvSpPr>
              <p:spPr>
                <a:xfrm>
                  <a:off x="10607850" y="3452468"/>
                  <a:ext cx="48331" cy="24165"/>
                </a:xfrm>
                <a:custGeom>
                  <a:avLst/>
                  <a:gdLst>
                    <a:gd name="connsiteX0" fmla="*/ 48331 w 48331"/>
                    <a:gd name="connsiteY0" fmla="*/ 0 h 24165"/>
                    <a:gd name="connsiteX1" fmla="*/ 24166 w 48331"/>
                    <a:gd name="connsiteY1" fmla="*/ 24166 h 24165"/>
                    <a:gd name="connsiteX2" fmla="*/ 0 w 48331"/>
                    <a:gd name="connsiteY2" fmla="*/ 0 h 24165"/>
                  </a:gdLst>
                  <a:ahLst/>
                  <a:cxnLst>
                    <a:cxn ang="0">
                      <a:pos x="connsiteX0" y="connsiteY0"/>
                    </a:cxn>
                    <a:cxn ang="0">
                      <a:pos x="connsiteX1" y="connsiteY1"/>
                    </a:cxn>
                    <a:cxn ang="0">
                      <a:pos x="connsiteX2" y="connsiteY2"/>
                    </a:cxn>
                  </a:cxnLst>
                  <a:rect l="l" t="t" r="r" b="b"/>
                  <a:pathLst>
                    <a:path w="48331" h="24165">
                      <a:moveTo>
                        <a:pt x="48331" y="0"/>
                      </a:moveTo>
                      <a:lnTo>
                        <a:pt x="24166" y="24166"/>
                      </a:ln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9" name="Freeform: Shape 79">
                  <a:extLst>
                    <a:ext uri="{FF2B5EF4-FFF2-40B4-BE49-F238E27FC236}">
                      <a16:creationId xmlns:a16="http://schemas.microsoft.com/office/drawing/2014/main" id="{CB896116-1A98-4E60-99FF-3BE629328416}"/>
                    </a:ext>
                  </a:extLst>
                </p:cNvPr>
                <p:cNvSpPr/>
                <p:nvPr/>
              </p:nvSpPr>
              <p:spPr>
                <a:xfrm>
                  <a:off x="10470912" y="3428302"/>
                  <a:ext cx="80551" cy="104717"/>
                </a:xfrm>
                <a:custGeom>
                  <a:avLst/>
                  <a:gdLst>
                    <a:gd name="connsiteX0" fmla="*/ 80552 w 80551"/>
                    <a:gd name="connsiteY0" fmla="*/ 104717 h 104717"/>
                    <a:gd name="connsiteX1" fmla="*/ 0 w 80551"/>
                    <a:gd name="connsiteY1" fmla="*/ 24166 h 104717"/>
                    <a:gd name="connsiteX2" fmla="*/ 0 w 80551"/>
                    <a:gd name="connsiteY2" fmla="*/ 0 h 104717"/>
                  </a:gdLst>
                  <a:ahLst/>
                  <a:cxnLst>
                    <a:cxn ang="0">
                      <a:pos x="connsiteX0" y="connsiteY0"/>
                    </a:cxn>
                    <a:cxn ang="0">
                      <a:pos x="connsiteX1" y="connsiteY1"/>
                    </a:cxn>
                    <a:cxn ang="0">
                      <a:pos x="connsiteX2" y="connsiteY2"/>
                    </a:cxn>
                  </a:cxnLst>
                  <a:rect l="l" t="t" r="r" b="b"/>
                  <a:pathLst>
                    <a:path w="80551" h="104717">
                      <a:moveTo>
                        <a:pt x="80552" y="104717"/>
                      </a:moveTo>
                      <a:cubicBezTo>
                        <a:pt x="36248" y="104717"/>
                        <a:pt x="0" y="68469"/>
                        <a:pt x="0" y="24166"/>
                      </a:cubicBez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0" name="Freeform: Shape 80">
                  <a:extLst>
                    <a:ext uri="{FF2B5EF4-FFF2-40B4-BE49-F238E27FC236}">
                      <a16:creationId xmlns:a16="http://schemas.microsoft.com/office/drawing/2014/main" id="{27AC7F2D-7A29-4A1A-A641-18F8D5EB3E10}"/>
                    </a:ext>
                  </a:extLst>
                </p:cNvPr>
                <p:cNvSpPr/>
                <p:nvPr/>
              </p:nvSpPr>
              <p:spPr>
                <a:xfrm>
                  <a:off x="10481397" y="3371908"/>
                  <a:ext cx="70080" cy="40274"/>
                </a:xfrm>
                <a:custGeom>
                  <a:avLst/>
                  <a:gdLst>
                    <a:gd name="connsiteX0" fmla="*/ 0 w 70080"/>
                    <a:gd name="connsiteY0" fmla="*/ 40276 h 40275"/>
                    <a:gd name="connsiteX1" fmla="*/ 70080 w 70080"/>
                    <a:gd name="connsiteY1" fmla="*/ 0 h 40275"/>
                  </a:gdLst>
                  <a:ahLst/>
                  <a:cxnLst>
                    <a:cxn ang="0">
                      <a:pos x="connsiteX0" y="connsiteY0"/>
                    </a:cxn>
                    <a:cxn ang="0">
                      <a:pos x="connsiteX1" y="connsiteY1"/>
                    </a:cxn>
                  </a:cxnLst>
                  <a:rect l="l" t="t" r="r" b="b"/>
                  <a:pathLst>
                    <a:path w="70080" h="40275">
                      <a:moveTo>
                        <a:pt x="0" y="40276"/>
                      </a:moveTo>
                      <a:cubicBezTo>
                        <a:pt x="13694" y="16110"/>
                        <a:pt x="40276" y="0"/>
                        <a:pt x="70080" y="0"/>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1" name="Freeform: Shape 81">
                  <a:extLst>
                    <a:ext uri="{FF2B5EF4-FFF2-40B4-BE49-F238E27FC236}">
                      <a16:creationId xmlns:a16="http://schemas.microsoft.com/office/drawing/2014/main" id="{0FA4BB5F-AC94-41C2-B00A-F241814AFE54}"/>
                    </a:ext>
                  </a:extLst>
                </p:cNvPr>
                <p:cNvSpPr/>
                <p:nvPr/>
              </p:nvSpPr>
              <p:spPr>
                <a:xfrm>
                  <a:off x="10446769" y="3428317"/>
                  <a:ext cx="48331" cy="24165"/>
                </a:xfrm>
                <a:custGeom>
                  <a:avLst/>
                  <a:gdLst>
                    <a:gd name="connsiteX0" fmla="*/ 0 w 48331"/>
                    <a:gd name="connsiteY0" fmla="*/ 24166 h 24165"/>
                    <a:gd name="connsiteX1" fmla="*/ 24166 w 48331"/>
                    <a:gd name="connsiteY1" fmla="*/ 0 h 24165"/>
                    <a:gd name="connsiteX2" fmla="*/ 48331 w 48331"/>
                    <a:gd name="connsiteY2" fmla="*/ 24166 h 24165"/>
                  </a:gdLst>
                  <a:ahLst/>
                  <a:cxnLst>
                    <a:cxn ang="0">
                      <a:pos x="connsiteX0" y="connsiteY0"/>
                    </a:cxn>
                    <a:cxn ang="0">
                      <a:pos x="connsiteX1" y="connsiteY1"/>
                    </a:cxn>
                    <a:cxn ang="0">
                      <a:pos x="connsiteX2" y="connsiteY2"/>
                    </a:cxn>
                  </a:cxnLst>
                  <a:rect l="l" t="t" r="r" b="b"/>
                  <a:pathLst>
                    <a:path w="48331" h="24165">
                      <a:moveTo>
                        <a:pt x="0" y="24166"/>
                      </a:moveTo>
                      <a:lnTo>
                        <a:pt x="24166" y="0"/>
                      </a:lnTo>
                      <a:lnTo>
                        <a:pt x="48331" y="24166"/>
                      </a:lnTo>
                    </a:path>
                  </a:pathLst>
                </a:custGeom>
                <a:noFill/>
                <a:ln w="15875" cap="flat">
                  <a:solidFill>
                    <a:schemeClr val="tx1">
                      <a:lumMod val="75000"/>
                    </a:schemeClr>
                  </a:solidFill>
                  <a:prstDash val="solid"/>
                  <a:round/>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379" name="Oval 378">
                <a:extLst>
                  <a:ext uri="{FF2B5EF4-FFF2-40B4-BE49-F238E27FC236}">
                    <a16:creationId xmlns:a16="http://schemas.microsoft.com/office/drawing/2014/main" id="{763A7B7C-68B1-43D5-8818-8207362A2C44}"/>
                  </a:ext>
                </a:extLst>
              </p:cNvPr>
              <p:cNvSpPr/>
              <p:nvPr/>
            </p:nvSpPr>
            <p:spPr bwMode="auto">
              <a:xfrm>
                <a:off x="8709078" y="114020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5" name="Group 4"/>
          <p:cNvGrpSpPr/>
          <p:nvPr/>
        </p:nvGrpSpPr>
        <p:grpSpPr>
          <a:xfrm>
            <a:off x="9483724" y="1375988"/>
            <a:ext cx="1995629" cy="609948"/>
            <a:chOff x="9688516" y="2966720"/>
            <a:chExt cx="1996149" cy="610107"/>
          </a:xfrm>
        </p:grpSpPr>
        <p:sp>
          <p:nvSpPr>
            <p:cNvPr id="194" name="Rectangle: Rounded Corners 193">
              <a:extLst>
                <a:ext uri="{FF2B5EF4-FFF2-40B4-BE49-F238E27FC236}">
                  <a16:creationId xmlns:a16="http://schemas.microsoft.com/office/drawing/2014/main" id="{20BE177B-3FCA-49C0-88C7-F5C55DC47EF5}"/>
                </a:ext>
              </a:extLst>
            </p:cNvPr>
            <p:cNvSpPr/>
            <p:nvPr/>
          </p:nvSpPr>
          <p:spPr bwMode="auto">
            <a:xfrm>
              <a:off x="9688516" y="2966720"/>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92" name="Group 391">
              <a:extLst>
                <a:ext uri="{FF2B5EF4-FFF2-40B4-BE49-F238E27FC236}">
                  <a16:creationId xmlns:a16="http://schemas.microsoft.com/office/drawing/2014/main" id="{42FF0A0B-CFEF-489D-AAF4-BE77840503E3}"/>
                </a:ext>
              </a:extLst>
            </p:cNvPr>
            <p:cNvGrpSpPr/>
            <p:nvPr/>
          </p:nvGrpSpPr>
          <p:grpSpPr>
            <a:xfrm>
              <a:off x="9871815" y="3024347"/>
              <a:ext cx="1812847" cy="511474"/>
              <a:chOff x="6033979" y="1347240"/>
              <a:chExt cx="1813319" cy="511607"/>
            </a:xfrm>
          </p:grpSpPr>
          <p:sp>
            <p:nvSpPr>
              <p:cNvPr id="393" name="TextBox 392">
                <a:extLst>
                  <a:ext uri="{FF2B5EF4-FFF2-40B4-BE49-F238E27FC236}">
                    <a16:creationId xmlns:a16="http://schemas.microsoft.com/office/drawing/2014/main" id="{F77BA6B0-F0C8-4094-9D69-EA22211F0930}"/>
                  </a:ext>
                </a:extLst>
              </p:cNvPr>
              <p:cNvSpPr txBox="1"/>
              <p:nvPr/>
            </p:nvSpPr>
            <p:spPr bwMode="auto">
              <a:xfrm>
                <a:off x="6382143" y="1440597"/>
                <a:ext cx="1465155" cy="307888"/>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WWW</a:t>
                </a:r>
              </a:p>
            </p:txBody>
          </p:sp>
          <p:sp>
            <p:nvSpPr>
              <p:cNvPr id="394" name="Freeform: Shape 29">
                <a:extLst>
                  <a:ext uri="{FF2B5EF4-FFF2-40B4-BE49-F238E27FC236}">
                    <a16:creationId xmlns:a16="http://schemas.microsoft.com/office/drawing/2014/main" id="{9944BD7E-9B93-4FA0-A158-A3B3CD25F529}"/>
                  </a:ext>
                </a:extLst>
              </p:cNvPr>
              <p:cNvSpPr/>
              <p:nvPr/>
            </p:nvSpPr>
            <p:spPr>
              <a:xfrm>
                <a:off x="6309164" y="1409522"/>
                <a:ext cx="91728" cy="54496"/>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5" name="Freeform: Shape 30">
                <a:extLst>
                  <a:ext uri="{FF2B5EF4-FFF2-40B4-BE49-F238E27FC236}">
                    <a16:creationId xmlns:a16="http://schemas.microsoft.com/office/drawing/2014/main" id="{6EC57326-56D8-4EF3-821A-CEE9EF95A197}"/>
                  </a:ext>
                </a:extLst>
              </p:cNvPr>
              <p:cNvSpPr/>
              <p:nvPr/>
            </p:nvSpPr>
            <p:spPr>
              <a:xfrm>
                <a:off x="6447876" y="1547434"/>
                <a:ext cx="11186" cy="111219"/>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6" name="Freeform: Shape 31">
                <a:extLst>
                  <a:ext uri="{FF2B5EF4-FFF2-40B4-BE49-F238E27FC236}">
                    <a16:creationId xmlns:a16="http://schemas.microsoft.com/office/drawing/2014/main" id="{B272364B-F875-4B3A-BB91-292796089377}"/>
                  </a:ext>
                </a:extLst>
              </p:cNvPr>
              <p:cNvSpPr/>
              <p:nvPr/>
            </p:nvSpPr>
            <p:spPr>
              <a:xfrm>
                <a:off x="6067538" y="1547434"/>
                <a:ext cx="11186" cy="111219"/>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7" name="Freeform: Shape 32">
                <a:extLst>
                  <a:ext uri="{FF2B5EF4-FFF2-40B4-BE49-F238E27FC236}">
                    <a16:creationId xmlns:a16="http://schemas.microsoft.com/office/drawing/2014/main" id="{2A74E3AA-5E29-4CA1-B687-44FCD4124974}"/>
                  </a:ext>
                </a:extLst>
              </p:cNvPr>
              <p:cNvSpPr/>
              <p:nvPr/>
            </p:nvSpPr>
            <p:spPr>
              <a:xfrm>
                <a:off x="6114522" y="1409522"/>
                <a:ext cx="91729" cy="54496"/>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8" name="Freeform: Shape 33">
                <a:extLst>
                  <a:ext uri="{FF2B5EF4-FFF2-40B4-BE49-F238E27FC236}">
                    <a16:creationId xmlns:a16="http://schemas.microsoft.com/office/drawing/2014/main" id="{5C467E6E-135D-46DB-BC9B-C134D9464C75}"/>
                  </a:ext>
                </a:extLst>
              </p:cNvPr>
              <p:cNvSpPr/>
              <p:nvPr/>
            </p:nvSpPr>
            <p:spPr>
              <a:xfrm>
                <a:off x="6309164" y="1743180"/>
                <a:ext cx="91728" cy="54496"/>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9" name="Freeform: Shape 34">
                <a:extLst>
                  <a:ext uri="{FF2B5EF4-FFF2-40B4-BE49-F238E27FC236}">
                    <a16:creationId xmlns:a16="http://schemas.microsoft.com/office/drawing/2014/main" id="{E63AB3AF-3392-479D-830B-128AD866E6BA}"/>
                  </a:ext>
                </a:extLst>
              </p:cNvPr>
              <p:cNvSpPr/>
              <p:nvPr/>
            </p:nvSpPr>
            <p:spPr>
              <a:xfrm>
                <a:off x="6114522" y="1743180"/>
                <a:ext cx="91729" cy="54496"/>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0" name="Freeform: Shape 35">
                <a:extLst>
                  <a:ext uri="{FF2B5EF4-FFF2-40B4-BE49-F238E27FC236}">
                    <a16:creationId xmlns:a16="http://schemas.microsoft.com/office/drawing/2014/main" id="{994C1072-41E1-42D0-9ECE-C95141C71F00}"/>
                  </a:ext>
                </a:extLst>
              </p:cNvPr>
              <p:cNvSpPr/>
              <p:nvPr/>
            </p:nvSpPr>
            <p:spPr>
              <a:xfrm>
                <a:off x="6224148" y="1347240"/>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1" name="Freeform: Shape 36">
                <a:extLst>
                  <a:ext uri="{FF2B5EF4-FFF2-40B4-BE49-F238E27FC236}">
                    <a16:creationId xmlns:a16="http://schemas.microsoft.com/office/drawing/2014/main" id="{9641CC1E-03E0-446D-83C5-F9BC662B5838}"/>
                  </a:ext>
                </a:extLst>
              </p:cNvPr>
              <p:cNvSpPr/>
              <p:nvPr/>
            </p:nvSpPr>
            <p:spPr>
              <a:xfrm>
                <a:off x="6224087" y="1792116"/>
                <a:ext cx="67238" cy="66731"/>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2" name="Freeform: Shape 37">
                <a:extLst>
                  <a:ext uri="{FF2B5EF4-FFF2-40B4-BE49-F238E27FC236}">
                    <a16:creationId xmlns:a16="http://schemas.microsoft.com/office/drawing/2014/main" id="{38077D82-7E41-4ECC-A30E-462FC825657B}"/>
                  </a:ext>
                </a:extLst>
              </p:cNvPr>
              <p:cNvSpPr/>
              <p:nvPr/>
            </p:nvSpPr>
            <p:spPr>
              <a:xfrm>
                <a:off x="6414317"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3" name="Freeform: Shape 38">
                <a:extLst>
                  <a:ext uri="{FF2B5EF4-FFF2-40B4-BE49-F238E27FC236}">
                    <a16:creationId xmlns:a16="http://schemas.microsoft.com/office/drawing/2014/main" id="{70F87242-66D2-4C92-866C-D4EB854A6F9F}"/>
                  </a:ext>
                </a:extLst>
              </p:cNvPr>
              <p:cNvSpPr/>
              <p:nvPr/>
            </p:nvSpPr>
            <p:spPr>
              <a:xfrm>
                <a:off x="6033979"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4" name="Freeform: Shape 39">
                <a:extLst>
                  <a:ext uri="{FF2B5EF4-FFF2-40B4-BE49-F238E27FC236}">
                    <a16:creationId xmlns:a16="http://schemas.microsoft.com/office/drawing/2014/main" id="{A470986A-7961-4CBA-ABA9-70AFCC95C32D}"/>
                  </a:ext>
                </a:extLst>
              </p:cNvPr>
              <p:cNvSpPr/>
              <p:nvPr/>
            </p:nvSpPr>
            <p:spPr>
              <a:xfrm>
                <a:off x="6033979"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5" name="Freeform: Shape 40">
                <a:extLst>
                  <a:ext uri="{FF2B5EF4-FFF2-40B4-BE49-F238E27FC236}">
                    <a16:creationId xmlns:a16="http://schemas.microsoft.com/office/drawing/2014/main" id="{40F2ADF2-0E1F-408A-BDED-CB6AB1A3E8B3}"/>
                  </a:ext>
                </a:extLst>
              </p:cNvPr>
              <p:cNvSpPr/>
              <p:nvPr/>
            </p:nvSpPr>
            <p:spPr>
              <a:xfrm>
                <a:off x="6123470" y="1469581"/>
                <a:ext cx="268474" cy="266926"/>
              </a:xfrm>
              <a:custGeom>
                <a:avLst/>
                <a:gdLst>
                  <a:gd name="connsiteX0" fmla="*/ 114300 w 228600"/>
                  <a:gd name="connsiteY0" fmla="*/ 228600 h 228600"/>
                  <a:gd name="connsiteX1" fmla="*/ 228600 w 228600"/>
                  <a:gd name="connsiteY1" fmla="*/ 114300 h 228600"/>
                  <a:gd name="connsiteX2" fmla="*/ 114300 w 228600"/>
                  <a:gd name="connsiteY2" fmla="*/ 0 h 228600"/>
                  <a:gd name="connsiteX3" fmla="*/ 0 w 228600"/>
                  <a:gd name="connsiteY3" fmla="*/ 114300 h 228600"/>
                  <a:gd name="connsiteX4" fmla="*/ 114300 w 228600"/>
                  <a:gd name="connsiteY4" fmla="*/ 2286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228600"/>
                    </a:moveTo>
                    <a:cubicBezTo>
                      <a:pt x="177165" y="228600"/>
                      <a:pt x="228600" y="177165"/>
                      <a:pt x="228600" y="114300"/>
                    </a:cubicBezTo>
                    <a:cubicBezTo>
                      <a:pt x="228600" y="51435"/>
                      <a:pt x="177165" y="0"/>
                      <a:pt x="114300" y="0"/>
                    </a:cubicBezTo>
                    <a:cubicBezTo>
                      <a:pt x="51435" y="0"/>
                      <a:pt x="0" y="51435"/>
                      <a:pt x="0" y="114300"/>
                    </a:cubicBezTo>
                    <a:cubicBezTo>
                      <a:pt x="0" y="177165"/>
                      <a:pt x="51435" y="228600"/>
                      <a:pt x="114300" y="228600"/>
                    </a:cubicBezTo>
                    <a:close/>
                  </a:path>
                </a:pathLst>
              </a:custGeom>
              <a:solidFill>
                <a:schemeClr val="bg1"/>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6" name="Freeform: Shape 41">
                <a:extLst>
                  <a:ext uri="{FF2B5EF4-FFF2-40B4-BE49-F238E27FC236}">
                    <a16:creationId xmlns:a16="http://schemas.microsoft.com/office/drawing/2014/main" id="{4E31B966-4FA2-47C3-ADC6-1D1C48D2D576}"/>
                  </a:ext>
                </a:extLst>
              </p:cNvPr>
              <p:cNvSpPr/>
              <p:nvPr/>
            </p:nvSpPr>
            <p:spPr>
              <a:xfrm>
                <a:off x="6190589" y="1469581"/>
                <a:ext cx="134237" cy="266926"/>
              </a:xfrm>
              <a:custGeom>
                <a:avLst/>
                <a:gdLst>
                  <a:gd name="connsiteX0" fmla="*/ 57150 w 114300"/>
                  <a:gd name="connsiteY0" fmla="*/ 0 h 228600"/>
                  <a:gd name="connsiteX1" fmla="*/ 0 w 114300"/>
                  <a:gd name="connsiteY1" fmla="*/ 114300 h 228600"/>
                  <a:gd name="connsiteX2" fmla="*/ 57150 w 114300"/>
                  <a:gd name="connsiteY2" fmla="*/ 228600 h 228600"/>
                  <a:gd name="connsiteX3" fmla="*/ 114300 w 114300"/>
                  <a:gd name="connsiteY3" fmla="*/ 114300 h 228600"/>
                  <a:gd name="connsiteX4" fmla="*/ 57150 w 1143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28600">
                    <a:moveTo>
                      <a:pt x="57150" y="0"/>
                    </a:moveTo>
                    <a:cubicBezTo>
                      <a:pt x="25718" y="0"/>
                      <a:pt x="0" y="51435"/>
                      <a:pt x="0" y="114300"/>
                    </a:cubicBezTo>
                    <a:cubicBezTo>
                      <a:pt x="0" y="177165"/>
                      <a:pt x="25718" y="228600"/>
                      <a:pt x="57150" y="228600"/>
                    </a:cubicBezTo>
                    <a:cubicBezTo>
                      <a:pt x="88582" y="228600"/>
                      <a:pt x="114300" y="177165"/>
                      <a:pt x="114300" y="114300"/>
                    </a:cubicBezTo>
                    <a:cubicBezTo>
                      <a:pt x="114300" y="51435"/>
                      <a:pt x="88582" y="0"/>
                      <a:pt x="57150" y="0"/>
                    </a:cubicBezTo>
                    <a:close/>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7" name="Freeform: Shape 42">
                <a:extLst>
                  <a:ext uri="{FF2B5EF4-FFF2-40B4-BE49-F238E27FC236}">
                    <a16:creationId xmlns:a16="http://schemas.microsoft.com/office/drawing/2014/main" id="{24C16153-6934-467A-84C4-C89B84623FF2}"/>
                  </a:ext>
                </a:extLst>
              </p:cNvPr>
              <p:cNvSpPr/>
              <p:nvPr/>
            </p:nvSpPr>
            <p:spPr>
              <a:xfrm>
                <a:off x="6134656" y="1558556"/>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8" name="Freeform: Shape 43">
                <a:extLst>
                  <a:ext uri="{FF2B5EF4-FFF2-40B4-BE49-F238E27FC236}">
                    <a16:creationId xmlns:a16="http://schemas.microsoft.com/office/drawing/2014/main" id="{91840EE9-27D2-4EDB-87B9-BEC38AF11DBF}"/>
                  </a:ext>
                </a:extLst>
              </p:cNvPr>
              <p:cNvSpPr/>
              <p:nvPr/>
            </p:nvSpPr>
            <p:spPr>
              <a:xfrm>
                <a:off x="6134656" y="1647532"/>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9" name="Freeform: Shape 44">
                <a:extLst>
                  <a:ext uri="{FF2B5EF4-FFF2-40B4-BE49-F238E27FC236}">
                    <a16:creationId xmlns:a16="http://schemas.microsoft.com/office/drawing/2014/main" id="{5637FA39-9EE5-42BD-BC7E-DB87A41570B9}"/>
                  </a:ext>
                </a:extLst>
              </p:cNvPr>
              <p:cNvSpPr/>
              <p:nvPr/>
            </p:nvSpPr>
            <p:spPr>
              <a:xfrm>
                <a:off x="6257707" y="1469581"/>
                <a:ext cx="11186" cy="266926"/>
              </a:xfrm>
              <a:custGeom>
                <a:avLst/>
                <a:gdLst>
                  <a:gd name="connsiteX0" fmla="*/ 0 w 9525"/>
                  <a:gd name="connsiteY0" fmla="*/ 0 h 228600"/>
                  <a:gd name="connsiteX1" fmla="*/ 0 w 9525"/>
                  <a:gd name="connsiteY1" fmla="*/ 228600 h 228600"/>
                </a:gdLst>
                <a:ahLst/>
                <a:cxnLst>
                  <a:cxn ang="0">
                    <a:pos x="connsiteX0" y="connsiteY0"/>
                  </a:cxn>
                  <a:cxn ang="0">
                    <a:pos x="connsiteX1" y="connsiteY1"/>
                  </a:cxn>
                </a:cxnLst>
                <a:rect l="l" t="t" r="r" b="b"/>
                <a:pathLst>
                  <a:path w="9525" h="228600">
                    <a:moveTo>
                      <a:pt x="0" y="0"/>
                    </a:moveTo>
                    <a:lnTo>
                      <a:pt x="0" y="22860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0" name="Freeform: Shape 45">
                <a:extLst>
                  <a:ext uri="{FF2B5EF4-FFF2-40B4-BE49-F238E27FC236}">
                    <a16:creationId xmlns:a16="http://schemas.microsoft.com/office/drawing/2014/main" id="{96C2CFF1-7644-497B-A31F-D64F86AD6063}"/>
                  </a:ext>
                </a:extLst>
              </p:cNvPr>
              <p:cNvSpPr/>
              <p:nvPr/>
            </p:nvSpPr>
            <p:spPr>
              <a:xfrm>
                <a:off x="6096623" y="1678673"/>
                <a:ext cx="25728" cy="1668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1" name="Freeform: Shape 46">
                <a:extLst>
                  <a:ext uri="{FF2B5EF4-FFF2-40B4-BE49-F238E27FC236}">
                    <a16:creationId xmlns:a16="http://schemas.microsoft.com/office/drawing/2014/main" id="{22E3463B-86CB-4E0E-8776-60C8595739BD}"/>
                  </a:ext>
                </a:extLst>
              </p:cNvPr>
              <p:cNvSpPr/>
              <p:nvPr/>
            </p:nvSpPr>
            <p:spPr>
              <a:xfrm>
                <a:off x="6393062" y="1678673"/>
                <a:ext cx="24609" cy="1668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2" name="Freeform: Shape 47">
                <a:extLst>
                  <a:ext uri="{FF2B5EF4-FFF2-40B4-BE49-F238E27FC236}">
                    <a16:creationId xmlns:a16="http://schemas.microsoft.com/office/drawing/2014/main" id="{C663E5FA-A946-49ED-B156-2EF5ABA70D2E}"/>
                  </a:ext>
                </a:extLst>
              </p:cNvPr>
              <p:cNvSpPr/>
              <p:nvPr/>
            </p:nvSpPr>
            <p:spPr>
              <a:xfrm>
                <a:off x="6393062" y="1510731"/>
                <a:ext cx="24609" cy="1668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3" name="Freeform: Shape 48">
                <a:extLst>
                  <a:ext uri="{FF2B5EF4-FFF2-40B4-BE49-F238E27FC236}">
                    <a16:creationId xmlns:a16="http://schemas.microsoft.com/office/drawing/2014/main" id="{19817207-07CA-469D-9B7F-62431848C245}"/>
                  </a:ext>
                </a:extLst>
              </p:cNvPr>
              <p:cNvSpPr/>
              <p:nvPr/>
            </p:nvSpPr>
            <p:spPr>
              <a:xfrm>
                <a:off x="6096623" y="1510731"/>
                <a:ext cx="25728" cy="1668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4" name="Freeform: Shape 49">
                <a:extLst>
                  <a:ext uri="{FF2B5EF4-FFF2-40B4-BE49-F238E27FC236}">
                    <a16:creationId xmlns:a16="http://schemas.microsoft.com/office/drawing/2014/main" id="{0CB100A4-BF60-49A1-AA43-83D07B0E62DB}"/>
                  </a:ext>
                </a:extLst>
              </p:cNvPr>
              <p:cNvSpPr/>
              <p:nvPr/>
            </p:nvSpPr>
            <p:spPr>
              <a:xfrm>
                <a:off x="6414317"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5" name="Freeform: Shape 50">
                <a:extLst>
                  <a:ext uri="{FF2B5EF4-FFF2-40B4-BE49-F238E27FC236}">
                    <a16:creationId xmlns:a16="http://schemas.microsoft.com/office/drawing/2014/main" id="{E20B8C80-0DB2-465A-A11C-4A6CCC1EEDDF}"/>
                  </a:ext>
                </a:extLst>
              </p:cNvPr>
              <p:cNvSpPr/>
              <p:nvPr/>
            </p:nvSpPr>
            <p:spPr>
              <a:xfrm>
                <a:off x="6257707" y="1413971"/>
                <a:ext cx="11186" cy="3336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6" name="Freeform: Shape 51">
                <a:extLst>
                  <a:ext uri="{FF2B5EF4-FFF2-40B4-BE49-F238E27FC236}">
                    <a16:creationId xmlns:a16="http://schemas.microsoft.com/office/drawing/2014/main" id="{F2A7C72E-F59C-4D59-B311-688A0621899D}"/>
                  </a:ext>
                </a:extLst>
              </p:cNvPr>
              <p:cNvSpPr/>
              <p:nvPr/>
            </p:nvSpPr>
            <p:spPr>
              <a:xfrm>
                <a:off x="6257707" y="1758751"/>
                <a:ext cx="11186" cy="3336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grpSp>
      <p:grpSp>
        <p:nvGrpSpPr>
          <p:cNvPr id="11" name="Group 10"/>
          <p:cNvGrpSpPr/>
          <p:nvPr/>
        </p:nvGrpSpPr>
        <p:grpSpPr>
          <a:xfrm>
            <a:off x="9483723" y="5506599"/>
            <a:ext cx="2047489" cy="609948"/>
            <a:chOff x="9673791" y="5082071"/>
            <a:chExt cx="2023634" cy="610107"/>
          </a:xfrm>
        </p:grpSpPr>
        <p:sp>
          <p:nvSpPr>
            <p:cNvPr id="418" name="Rectangle: Rounded Corners 417">
              <a:extLst>
                <a:ext uri="{FF2B5EF4-FFF2-40B4-BE49-F238E27FC236}">
                  <a16:creationId xmlns:a16="http://schemas.microsoft.com/office/drawing/2014/main" id="{C46A7504-1C41-4EC9-8E5D-820CA9CF0628}"/>
                </a:ext>
              </a:extLst>
            </p:cNvPr>
            <p:cNvSpPr/>
            <p:nvPr/>
          </p:nvSpPr>
          <p:spPr bwMode="auto">
            <a:xfrm>
              <a:off x="9673791" y="5082071"/>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419" name="Group 418">
              <a:extLst>
                <a:ext uri="{FF2B5EF4-FFF2-40B4-BE49-F238E27FC236}">
                  <a16:creationId xmlns:a16="http://schemas.microsoft.com/office/drawing/2014/main" id="{37A10922-E7CE-4EDC-A190-08842B11D4D7}"/>
                </a:ext>
              </a:extLst>
            </p:cNvPr>
            <p:cNvGrpSpPr/>
            <p:nvPr/>
          </p:nvGrpSpPr>
          <p:grpSpPr>
            <a:xfrm>
              <a:off x="9832675" y="5155486"/>
              <a:ext cx="447339" cy="511475"/>
              <a:chOff x="2602899" y="5149856"/>
              <a:chExt cx="440082" cy="506093"/>
            </a:xfrm>
          </p:grpSpPr>
          <p:sp>
            <p:nvSpPr>
              <p:cNvPr id="420" name="Freeform: Shape 29">
                <a:extLst>
                  <a:ext uri="{FF2B5EF4-FFF2-40B4-BE49-F238E27FC236}">
                    <a16:creationId xmlns:a16="http://schemas.microsoft.com/office/drawing/2014/main" id="{8245B637-CA34-42CD-AF1E-60682DA7890F}"/>
                  </a:ext>
                </a:extLst>
              </p:cNvPr>
              <p:cNvSpPr/>
              <p:nvPr/>
            </p:nvSpPr>
            <p:spPr>
              <a:xfrm>
                <a:off x="2873549" y="5211467"/>
                <a:ext cx="90216" cy="53909"/>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1" name="Freeform: Shape 30">
                <a:extLst>
                  <a:ext uri="{FF2B5EF4-FFF2-40B4-BE49-F238E27FC236}">
                    <a16:creationId xmlns:a16="http://schemas.microsoft.com/office/drawing/2014/main" id="{C32D1BDB-032B-4DED-A2DA-6FE4C7EE49EA}"/>
                  </a:ext>
                </a:extLst>
              </p:cNvPr>
              <p:cNvSpPr/>
              <p:nvPr/>
            </p:nvSpPr>
            <p:spPr>
              <a:xfrm>
                <a:off x="3009975" y="5347892"/>
                <a:ext cx="11002" cy="110020"/>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2" name="Freeform: Shape 31">
                <a:extLst>
                  <a:ext uri="{FF2B5EF4-FFF2-40B4-BE49-F238E27FC236}">
                    <a16:creationId xmlns:a16="http://schemas.microsoft.com/office/drawing/2014/main" id="{5284D388-056E-49FF-AD65-C854200F3098}"/>
                  </a:ext>
                </a:extLst>
              </p:cNvPr>
              <p:cNvSpPr/>
              <p:nvPr/>
            </p:nvSpPr>
            <p:spPr>
              <a:xfrm>
                <a:off x="2635905" y="5347892"/>
                <a:ext cx="11002" cy="110020"/>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3" name="Freeform: Shape 32">
                <a:extLst>
                  <a:ext uri="{FF2B5EF4-FFF2-40B4-BE49-F238E27FC236}">
                    <a16:creationId xmlns:a16="http://schemas.microsoft.com/office/drawing/2014/main" id="{A21C3D99-DCEE-48F7-B7EE-587A57901359}"/>
                  </a:ext>
                </a:extLst>
              </p:cNvPr>
              <p:cNvSpPr/>
              <p:nvPr/>
            </p:nvSpPr>
            <p:spPr>
              <a:xfrm>
                <a:off x="2682114" y="5211467"/>
                <a:ext cx="90217" cy="53909"/>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4" name="Freeform: Shape 33">
                <a:extLst>
                  <a:ext uri="{FF2B5EF4-FFF2-40B4-BE49-F238E27FC236}">
                    <a16:creationId xmlns:a16="http://schemas.microsoft.com/office/drawing/2014/main" id="{4A7C643C-B416-4A72-A58C-76CA48DFB22F}"/>
                  </a:ext>
                </a:extLst>
              </p:cNvPr>
              <p:cNvSpPr/>
              <p:nvPr/>
            </p:nvSpPr>
            <p:spPr>
              <a:xfrm>
                <a:off x="2873549" y="5541528"/>
                <a:ext cx="90216" cy="53909"/>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5" name="Freeform: Shape 34">
                <a:extLst>
                  <a:ext uri="{FF2B5EF4-FFF2-40B4-BE49-F238E27FC236}">
                    <a16:creationId xmlns:a16="http://schemas.microsoft.com/office/drawing/2014/main" id="{C2DC16D5-BE4D-4907-93D8-E3FB88470157}"/>
                  </a:ext>
                </a:extLst>
              </p:cNvPr>
              <p:cNvSpPr/>
              <p:nvPr/>
            </p:nvSpPr>
            <p:spPr>
              <a:xfrm>
                <a:off x="2682114" y="5541528"/>
                <a:ext cx="90217" cy="53909"/>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6" name="Freeform: Shape 35">
                <a:extLst>
                  <a:ext uri="{FF2B5EF4-FFF2-40B4-BE49-F238E27FC236}">
                    <a16:creationId xmlns:a16="http://schemas.microsoft.com/office/drawing/2014/main" id="{CB45A2DD-82D2-4A0B-8DEB-A469A0477CAA}"/>
                  </a:ext>
                </a:extLst>
              </p:cNvPr>
              <p:cNvSpPr/>
              <p:nvPr/>
            </p:nvSpPr>
            <p:spPr>
              <a:xfrm>
                <a:off x="2789934" y="514985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7" name="Freeform: Shape 36">
                <a:extLst>
                  <a:ext uri="{FF2B5EF4-FFF2-40B4-BE49-F238E27FC236}">
                    <a16:creationId xmlns:a16="http://schemas.microsoft.com/office/drawing/2014/main" id="{2A842E54-4220-450E-98A7-32D302D783B4}"/>
                  </a:ext>
                </a:extLst>
              </p:cNvPr>
              <p:cNvSpPr/>
              <p:nvPr/>
            </p:nvSpPr>
            <p:spPr>
              <a:xfrm>
                <a:off x="2789874" y="5589937"/>
                <a:ext cx="66130" cy="66012"/>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8" name="Freeform: Shape 37">
                <a:extLst>
                  <a:ext uri="{FF2B5EF4-FFF2-40B4-BE49-F238E27FC236}">
                    <a16:creationId xmlns:a16="http://schemas.microsoft.com/office/drawing/2014/main" id="{575A9593-10C1-4EE7-98C2-7BFCC445CB3B}"/>
                  </a:ext>
                </a:extLst>
              </p:cNvPr>
              <p:cNvSpPr/>
              <p:nvPr/>
            </p:nvSpPr>
            <p:spPr>
              <a:xfrm>
                <a:off x="297696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9" name="Freeform: Shape 38">
                <a:extLst>
                  <a:ext uri="{FF2B5EF4-FFF2-40B4-BE49-F238E27FC236}">
                    <a16:creationId xmlns:a16="http://schemas.microsoft.com/office/drawing/2014/main" id="{8F3A1232-E0E7-48FC-835C-EAB4428C0628}"/>
                  </a:ext>
                </a:extLst>
              </p:cNvPr>
              <p:cNvSpPr/>
              <p:nvPr/>
            </p:nvSpPr>
            <p:spPr>
              <a:xfrm>
                <a:off x="260289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0" name="Freeform: Shape 39">
                <a:extLst>
                  <a:ext uri="{FF2B5EF4-FFF2-40B4-BE49-F238E27FC236}">
                    <a16:creationId xmlns:a16="http://schemas.microsoft.com/office/drawing/2014/main" id="{A04B1511-3697-406B-ACFF-A806AA3275AB}"/>
                  </a:ext>
                </a:extLst>
              </p:cNvPr>
              <p:cNvSpPr/>
              <p:nvPr/>
            </p:nvSpPr>
            <p:spPr>
              <a:xfrm>
                <a:off x="260289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1" name="Freeform: Shape 45">
                <a:extLst>
                  <a:ext uri="{FF2B5EF4-FFF2-40B4-BE49-F238E27FC236}">
                    <a16:creationId xmlns:a16="http://schemas.microsoft.com/office/drawing/2014/main" id="{5CCB0879-4509-48FD-880F-D3083B4E906E}"/>
                  </a:ext>
                </a:extLst>
              </p:cNvPr>
              <p:cNvSpPr/>
              <p:nvPr/>
            </p:nvSpPr>
            <p:spPr>
              <a:xfrm>
                <a:off x="2664510" y="5477716"/>
                <a:ext cx="25304" cy="1650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2" name="Freeform: Shape 46">
                <a:extLst>
                  <a:ext uri="{FF2B5EF4-FFF2-40B4-BE49-F238E27FC236}">
                    <a16:creationId xmlns:a16="http://schemas.microsoft.com/office/drawing/2014/main" id="{C55D314E-01FB-4687-95A9-63A231F3C2A9}"/>
                  </a:ext>
                </a:extLst>
              </p:cNvPr>
              <p:cNvSpPr/>
              <p:nvPr/>
            </p:nvSpPr>
            <p:spPr>
              <a:xfrm>
                <a:off x="2956064" y="5477716"/>
                <a:ext cx="24203" cy="1650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3" name="Freeform: Shape 47">
                <a:extLst>
                  <a:ext uri="{FF2B5EF4-FFF2-40B4-BE49-F238E27FC236}">
                    <a16:creationId xmlns:a16="http://schemas.microsoft.com/office/drawing/2014/main" id="{41E56D8F-B5C1-41F1-9A19-7F137A850BB9}"/>
                  </a:ext>
                </a:extLst>
              </p:cNvPr>
              <p:cNvSpPr/>
              <p:nvPr/>
            </p:nvSpPr>
            <p:spPr>
              <a:xfrm>
                <a:off x="2956064" y="5311585"/>
                <a:ext cx="24203" cy="1650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4" name="Freeform: Shape 48">
                <a:extLst>
                  <a:ext uri="{FF2B5EF4-FFF2-40B4-BE49-F238E27FC236}">
                    <a16:creationId xmlns:a16="http://schemas.microsoft.com/office/drawing/2014/main" id="{51EEBFD5-E7C5-47B5-B93A-E88C61424518}"/>
                  </a:ext>
                </a:extLst>
              </p:cNvPr>
              <p:cNvSpPr/>
              <p:nvPr/>
            </p:nvSpPr>
            <p:spPr>
              <a:xfrm>
                <a:off x="2664510" y="5311585"/>
                <a:ext cx="25304" cy="1650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5" name="Freeform: Shape 49">
                <a:extLst>
                  <a:ext uri="{FF2B5EF4-FFF2-40B4-BE49-F238E27FC236}">
                    <a16:creationId xmlns:a16="http://schemas.microsoft.com/office/drawing/2014/main" id="{F67D7364-3D6B-409B-9FC2-D9460CC6645D}"/>
                  </a:ext>
                </a:extLst>
              </p:cNvPr>
              <p:cNvSpPr/>
              <p:nvPr/>
            </p:nvSpPr>
            <p:spPr>
              <a:xfrm>
                <a:off x="297696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6" name="Freeform: Shape 50">
                <a:extLst>
                  <a:ext uri="{FF2B5EF4-FFF2-40B4-BE49-F238E27FC236}">
                    <a16:creationId xmlns:a16="http://schemas.microsoft.com/office/drawing/2014/main" id="{B5F93D10-D050-49A8-98B5-EFAB8FA98316}"/>
                  </a:ext>
                </a:extLst>
              </p:cNvPr>
              <p:cNvSpPr/>
              <p:nvPr/>
            </p:nvSpPr>
            <p:spPr>
              <a:xfrm>
                <a:off x="2822940" y="5215868"/>
                <a:ext cx="11002" cy="3300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7" name="Freeform: Shape 51">
                <a:extLst>
                  <a:ext uri="{FF2B5EF4-FFF2-40B4-BE49-F238E27FC236}">
                    <a16:creationId xmlns:a16="http://schemas.microsoft.com/office/drawing/2014/main" id="{EB9C4585-9282-493D-81E2-F408914FA25B}"/>
                  </a:ext>
                </a:extLst>
              </p:cNvPr>
              <p:cNvSpPr/>
              <p:nvPr/>
            </p:nvSpPr>
            <p:spPr>
              <a:xfrm>
                <a:off x="2822940" y="5556931"/>
                <a:ext cx="11002" cy="3300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nvGrpSpPr>
              <p:cNvPr id="438" name="Graphic 52">
                <a:extLst>
                  <a:ext uri="{FF2B5EF4-FFF2-40B4-BE49-F238E27FC236}">
                    <a16:creationId xmlns:a16="http://schemas.microsoft.com/office/drawing/2014/main" id="{507CF272-CA77-4C99-81D0-025E97E6DEDA}"/>
                  </a:ext>
                </a:extLst>
              </p:cNvPr>
              <p:cNvGrpSpPr/>
              <p:nvPr/>
            </p:nvGrpSpPr>
            <p:grpSpPr>
              <a:xfrm>
                <a:off x="2724318" y="5292882"/>
                <a:ext cx="199973" cy="269194"/>
                <a:chOff x="9334200" y="1398702"/>
                <a:chExt cx="247650" cy="333375"/>
              </a:xfrm>
              <a:noFill/>
            </p:grpSpPr>
            <p:sp>
              <p:nvSpPr>
                <p:cNvPr id="439" name="Freeform: Shape 54">
                  <a:extLst>
                    <a:ext uri="{FF2B5EF4-FFF2-40B4-BE49-F238E27FC236}">
                      <a16:creationId xmlns:a16="http://schemas.microsoft.com/office/drawing/2014/main" id="{C5644662-C654-4DED-99FC-4FBD1D1F2ECD}"/>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0" name="Freeform: Shape 55">
                  <a:extLst>
                    <a:ext uri="{FF2B5EF4-FFF2-40B4-BE49-F238E27FC236}">
                      <a16:creationId xmlns:a16="http://schemas.microsoft.com/office/drawing/2014/main" id="{7532CCB2-716B-415B-B9C3-A352BE9A9B78}"/>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1" name="Freeform: Shape 56">
                  <a:extLst>
                    <a:ext uri="{FF2B5EF4-FFF2-40B4-BE49-F238E27FC236}">
                      <a16:creationId xmlns:a16="http://schemas.microsoft.com/office/drawing/2014/main" id="{2D7CE9B2-8243-446C-846D-3869A2E7D61B}"/>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2" name="Freeform: Shape 57">
                  <a:extLst>
                    <a:ext uri="{FF2B5EF4-FFF2-40B4-BE49-F238E27FC236}">
                      <a16:creationId xmlns:a16="http://schemas.microsoft.com/office/drawing/2014/main" id="{862A44A7-D869-441C-B1F8-FE698F753FF5}"/>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3" name="Freeform: Shape 58">
                  <a:extLst>
                    <a:ext uri="{FF2B5EF4-FFF2-40B4-BE49-F238E27FC236}">
                      <a16:creationId xmlns:a16="http://schemas.microsoft.com/office/drawing/2014/main" id="{133E45F4-F813-42E7-99B1-4B79EC574E04}"/>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4" name="Freeform: Shape 59">
                  <a:extLst>
                    <a:ext uri="{FF2B5EF4-FFF2-40B4-BE49-F238E27FC236}">
                      <a16:creationId xmlns:a16="http://schemas.microsoft.com/office/drawing/2014/main" id="{66D86444-0490-4D09-9CD3-AAA2196D0DCE}"/>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5" name="Freeform: Shape 60">
                  <a:extLst>
                    <a:ext uri="{FF2B5EF4-FFF2-40B4-BE49-F238E27FC236}">
                      <a16:creationId xmlns:a16="http://schemas.microsoft.com/office/drawing/2014/main" id="{3027EF53-6D53-4C1D-824D-8343F679794E}"/>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6" name="Freeform: Shape 61">
                  <a:extLst>
                    <a:ext uri="{FF2B5EF4-FFF2-40B4-BE49-F238E27FC236}">
                      <a16:creationId xmlns:a16="http://schemas.microsoft.com/office/drawing/2014/main" id="{63973E57-8308-4B8C-B272-A0FDEFF9C7B2}"/>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7" name="Freeform: Shape 66">
                  <a:extLst>
                    <a:ext uri="{FF2B5EF4-FFF2-40B4-BE49-F238E27FC236}">
                      <a16:creationId xmlns:a16="http://schemas.microsoft.com/office/drawing/2014/main" id="{5D82B998-2F89-40E6-B3B3-C8DC1AAB6A69}"/>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8" name="Freeform: Shape 67">
                  <a:extLst>
                    <a:ext uri="{FF2B5EF4-FFF2-40B4-BE49-F238E27FC236}">
                      <a16:creationId xmlns:a16="http://schemas.microsoft.com/office/drawing/2014/main" id="{DFF42C9B-E3B9-4589-806B-F40D46234D4F}"/>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9" name="Freeform: Shape 68">
                  <a:extLst>
                    <a:ext uri="{FF2B5EF4-FFF2-40B4-BE49-F238E27FC236}">
                      <a16:creationId xmlns:a16="http://schemas.microsoft.com/office/drawing/2014/main" id="{4960DFFE-794C-406E-B99F-393C1D3363A5}"/>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50" name="Freeform: Shape 69">
                  <a:extLst>
                    <a:ext uri="{FF2B5EF4-FFF2-40B4-BE49-F238E27FC236}">
                      <a16:creationId xmlns:a16="http://schemas.microsoft.com/office/drawing/2014/main" id="{49E0D5B5-5ACF-46F4-9C68-73C8139C7B66}"/>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sp>
          <p:nvSpPr>
            <p:cNvPr id="451" name="TextBox 450">
              <a:extLst>
                <a:ext uri="{FF2B5EF4-FFF2-40B4-BE49-F238E27FC236}">
                  <a16:creationId xmlns:a16="http://schemas.microsoft.com/office/drawing/2014/main" id="{F7CF893B-59BC-4088-B8C4-226CA90F1D13}"/>
                </a:ext>
              </a:extLst>
            </p:cNvPr>
            <p:cNvSpPr txBox="1"/>
            <p:nvPr/>
          </p:nvSpPr>
          <p:spPr bwMode="auto">
            <a:xfrm>
              <a:off x="10117658" y="5241074"/>
              <a:ext cx="1579767" cy="307697"/>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INTRANET</a:t>
              </a:r>
            </a:p>
          </p:txBody>
        </p:sp>
      </p:grpSp>
      <p:grpSp>
        <p:nvGrpSpPr>
          <p:cNvPr id="18" name="Group 17"/>
          <p:cNvGrpSpPr/>
          <p:nvPr/>
        </p:nvGrpSpPr>
        <p:grpSpPr>
          <a:xfrm>
            <a:off x="9483723" y="4680475"/>
            <a:ext cx="2047489" cy="609948"/>
            <a:chOff x="9673791" y="4360076"/>
            <a:chExt cx="2048022" cy="610107"/>
          </a:xfrm>
        </p:grpSpPr>
        <p:sp>
          <p:nvSpPr>
            <p:cNvPr id="196" name="Rectangle: Rounded Corners 195">
              <a:extLst>
                <a:ext uri="{FF2B5EF4-FFF2-40B4-BE49-F238E27FC236}">
                  <a16:creationId xmlns:a16="http://schemas.microsoft.com/office/drawing/2014/main" id="{91DF2152-D28B-4B7D-87F0-4FD808371D65}"/>
                </a:ext>
              </a:extLst>
            </p:cNvPr>
            <p:cNvSpPr/>
            <p:nvPr/>
          </p:nvSpPr>
          <p:spPr bwMode="auto">
            <a:xfrm>
              <a:off x="9673791" y="4360076"/>
              <a:ext cx="2048022"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9" name="Group 8"/>
            <p:cNvGrpSpPr/>
            <p:nvPr/>
          </p:nvGrpSpPr>
          <p:grpSpPr>
            <a:xfrm>
              <a:off x="9725664" y="4421203"/>
              <a:ext cx="1953315" cy="547516"/>
              <a:chOff x="9795983" y="4421203"/>
              <a:chExt cx="1953315" cy="547516"/>
            </a:xfrm>
          </p:grpSpPr>
          <p:grpSp>
            <p:nvGrpSpPr>
              <p:cNvPr id="160" name="Group 159">
                <a:extLst>
                  <a:ext uri="{FF2B5EF4-FFF2-40B4-BE49-F238E27FC236}">
                    <a16:creationId xmlns:a16="http://schemas.microsoft.com/office/drawing/2014/main" id="{083DB3FB-2099-4337-AB30-C5E27BC6D019}"/>
                  </a:ext>
                </a:extLst>
              </p:cNvPr>
              <p:cNvGrpSpPr/>
              <p:nvPr/>
            </p:nvGrpSpPr>
            <p:grpSpPr>
              <a:xfrm>
                <a:off x="9795983" y="4421203"/>
                <a:ext cx="478403" cy="478403"/>
                <a:chOff x="9733030" y="4421460"/>
                <a:chExt cx="478528" cy="478528"/>
              </a:xfrm>
            </p:grpSpPr>
            <p:sp>
              <p:nvSpPr>
                <p:cNvPr id="164" name="Oval 163">
                  <a:extLst>
                    <a:ext uri="{FF2B5EF4-FFF2-40B4-BE49-F238E27FC236}">
                      <a16:creationId xmlns:a16="http://schemas.microsoft.com/office/drawing/2014/main" id="{23965E66-E6FF-433B-A0B4-4A91DCB1E49D}"/>
                    </a:ext>
                  </a:extLst>
                </p:cNvPr>
                <p:cNvSpPr/>
                <p:nvPr/>
              </p:nvSpPr>
              <p:spPr bwMode="auto">
                <a:xfrm>
                  <a:off x="9868294" y="4556750"/>
                  <a:ext cx="212099" cy="212099"/>
                </a:xfrm>
                <a:prstGeom prst="ellipse">
                  <a:avLst/>
                </a:prstGeom>
                <a:solidFill>
                  <a:schemeClr val="bg2"/>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8" kern="1200" dirty="0" err="1">
                    <a:solidFill>
                      <a:srgbClr val="4D4D4F"/>
                    </a:solidFill>
                    <a:latin typeface="+mj-lt"/>
                    <a:ea typeface="+mn-ea"/>
                    <a:cs typeface="Calibri" panose="020F0502020204030204" pitchFamily="34" charset="0"/>
                  </a:endParaRPr>
                </a:p>
              </p:txBody>
            </p:sp>
            <p:pic>
              <p:nvPicPr>
                <p:cNvPr id="166" name="Graphic 165">
                  <a:extLst>
                    <a:ext uri="{FF2B5EF4-FFF2-40B4-BE49-F238E27FC236}">
                      <a16:creationId xmlns:a16="http://schemas.microsoft.com/office/drawing/2014/main" id="{3FC4EB70-B6A7-44CF-BC3C-FA8BFA9DC2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33030" y="4421460"/>
                  <a:ext cx="478528" cy="478528"/>
                </a:xfrm>
                <a:prstGeom prst="rect">
                  <a:avLst/>
                </a:prstGeom>
              </p:spPr>
            </p:pic>
          </p:grpSp>
          <p:sp>
            <p:nvSpPr>
              <p:cNvPr id="189" name="TextBox 188">
                <a:extLst>
                  <a:ext uri="{FF2B5EF4-FFF2-40B4-BE49-F238E27FC236}">
                    <a16:creationId xmlns:a16="http://schemas.microsoft.com/office/drawing/2014/main" id="{3E21AF7F-BCF5-44DF-B2AD-6E3F9D1D0998}"/>
                  </a:ext>
                </a:extLst>
              </p:cNvPr>
              <p:cNvSpPr txBox="1"/>
              <p:nvPr/>
            </p:nvSpPr>
            <p:spPr bwMode="auto">
              <a:xfrm>
                <a:off x="10257816" y="4445410"/>
                <a:ext cx="1491482" cy="52330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REMOTE DESKTOP</a:t>
                </a:r>
              </a:p>
            </p:txBody>
          </p:sp>
        </p:grpSp>
      </p:grpSp>
      <p:grpSp>
        <p:nvGrpSpPr>
          <p:cNvPr id="6" name="Group 5"/>
          <p:cNvGrpSpPr/>
          <p:nvPr/>
        </p:nvGrpSpPr>
        <p:grpSpPr>
          <a:xfrm>
            <a:off x="9483724" y="3028232"/>
            <a:ext cx="1995629" cy="609948"/>
            <a:chOff x="9688518" y="1581109"/>
            <a:chExt cx="1996149" cy="610107"/>
          </a:xfrm>
        </p:grpSpPr>
        <p:sp>
          <p:nvSpPr>
            <p:cNvPr id="192" name="Rectangle: Rounded Corners 191">
              <a:extLst>
                <a:ext uri="{FF2B5EF4-FFF2-40B4-BE49-F238E27FC236}">
                  <a16:creationId xmlns:a16="http://schemas.microsoft.com/office/drawing/2014/main" id="{076AF032-900F-42E8-8F14-21A9FE6A317F}"/>
                </a:ext>
              </a:extLst>
            </p:cNvPr>
            <p:cNvSpPr/>
            <p:nvPr/>
          </p:nvSpPr>
          <p:spPr bwMode="auto">
            <a:xfrm>
              <a:off x="9688518" y="1581109"/>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199" name="Graphic 52">
              <a:extLst>
                <a:ext uri="{FF2B5EF4-FFF2-40B4-BE49-F238E27FC236}">
                  <a16:creationId xmlns:a16="http://schemas.microsoft.com/office/drawing/2014/main" id="{4EB51446-F139-4905-AE56-B12EEEDA68AB}"/>
                </a:ext>
              </a:extLst>
            </p:cNvPr>
            <p:cNvGrpSpPr/>
            <p:nvPr/>
          </p:nvGrpSpPr>
          <p:grpSpPr>
            <a:xfrm>
              <a:off x="9823929" y="1681273"/>
              <a:ext cx="440895" cy="447883"/>
              <a:chOff x="9248475" y="1284402"/>
              <a:chExt cx="438150" cy="447675"/>
            </a:xfrm>
            <a:noFill/>
          </p:grpSpPr>
          <p:sp>
            <p:nvSpPr>
              <p:cNvPr id="200" name="Freeform: Shape 54">
                <a:extLst>
                  <a:ext uri="{FF2B5EF4-FFF2-40B4-BE49-F238E27FC236}">
                    <a16:creationId xmlns:a16="http://schemas.microsoft.com/office/drawing/2014/main" id="{94E30462-CC4F-4BE5-A52F-DFD67917C0E5}"/>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01" name="Freeform: Shape 55">
                <a:extLst>
                  <a:ext uri="{FF2B5EF4-FFF2-40B4-BE49-F238E27FC236}">
                    <a16:creationId xmlns:a16="http://schemas.microsoft.com/office/drawing/2014/main" id="{CF6323B9-4C34-409B-B7CC-03C437A245D2}"/>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02" name="Freeform: Shape 56">
                <a:extLst>
                  <a:ext uri="{FF2B5EF4-FFF2-40B4-BE49-F238E27FC236}">
                    <a16:creationId xmlns:a16="http://schemas.microsoft.com/office/drawing/2014/main" id="{F19B9C41-504C-4777-9D9D-9895C08E95FC}"/>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86" name="Freeform: Shape 57">
                <a:extLst>
                  <a:ext uri="{FF2B5EF4-FFF2-40B4-BE49-F238E27FC236}">
                    <a16:creationId xmlns:a16="http://schemas.microsoft.com/office/drawing/2014/main" id="{6016843C-6AE0-4393-AAC8-CF878353C899}"/>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3" name="Freeform: Shape 58">
                <a:extLst>
                  <a:ext uri="{FF2B5EF4-FFF2-40B4-BE49-F238E27FC236}">
                    <a16:creationId xmlns:a16="http://schemas.microsoft.com/office/drawing/2014/main" id="{B46645A2-1172-4C80-99DF-17DBDDDAF8FE}"/>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4" name="Freeform: Shape 59">
                <a:extLst>
                  <a:ext uri="{FF2B5EF4-FFF2-40B4-BE49-F238E27FC236}">
                    <a16:creationId xmlns:a16="http://schemas.microsoft.com/office/drawing/2014/main" id="{8491C85D-1CD1-4794-B77C-5B6F2D78F848}"/>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5" name="Freeform: Shape 60">
                <a:extLst>
                  <a:ext uri="{FF2B5EF4-FFF2-40B4-BE49-F238E27FC236}">
                    <a16:creationId xmlns:a16="http://schemas.microsoft.com/office/drawing/2014/main" id="{DD70E446-DEA4-444E-A5EC-4115937AA8BC}"/>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6" name="Freeform: Shape 61">
                <a:extLst>
                  <a:ext uri="{FF2B5EF4-FFF2-40B4-BE49-F238E27FC236}">
                    <a16:creationId xmlns:a16="http://schemas.microsoft.com/office/drawing/2014/main" id="{B5FB915A-5970-4EF2-9EC2-7DECFC8E54A4}"/>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7" name="Freeform: Shape 62">
                <a:extLst>
                  <a:ext uri="{FF2B5EF4-FFF2-40B4-BE49-F238E27FC236}">
                    <a16:creationId xmlns:a16="http://schemas.microsoft.com/office/drawing/2014/main" id="{2195C3ED-C374-4E91-8A52-BA355ECC5EA7}"/>
                  </a:ext>
                </a:extLst>
              </p:cNvPr>
              <p:cNvSpPr/>
              <p:nvPr/>
            </p:nvSpPr>
            <p:spPr>
              <a:xfrm>
                <a:off x="9248475" y="1284402"/>
                <a:ext cx="438150" cy="257175"/>
              </a:xfrm>
              <a:custGeom>
                <a:avLst/>
                <a:gdLst>
                  <a:gd name="connsiteX0" fmla="*/ 361950 w 438150"/>
                  <a:gd name="connsiteY0" fmla="*/ 257175 h 257175"/>
                  <a:gd name="connsiteX1" fmla="*/ 371475 w 438150"/>
                  <a:gd name="connsiteY1" fmla="*/ 257175 h 257175"/>
                  <a:gd name="connsiteX2" fmla="*/ 438150 w 438150"/>
                  <a:gd name="connsiteY2" fmla="*/ 190500 h 257175"/>
                  <a:gd name="connsiteX3" fmla="*/ 371475 w 438150"/>
                  <a:gd name="connsiteY3" fmla="*/ 123825 h 257175"/>
                  <a:gd name="connsiteX4" fmla="*/ 351473 w 438150"/>
                  <a:gd name="connsiteY4" fmla="*/ 126683 h 257175"/>
                  <a:gd name="connsiteX5" fmla="*/ 352425 w 438150"/>
                  <a:gd name="connsiteY5" fmla="*/ 114300 h 257175"/>
                  <a:gd name="connsiteX6" fmla="*/ 285750 w 438150"/>
                  <a:gd name="connsiteY6" fmla="*/ 47625 h 257175"/>
                  <a:gd name="connsiteX7" fmla="*/ 241935 w 438150"/>
                  <a:gd name="connsiteY7" fmla="*/ 63818 h 257175"/>
                  <a:gd name="connsiteX8" fmla="*/ 152400 w 438150"/>
                  <a:gd name="connsiteY8" fmla="*/ 0 h 257175"/>
                  <a:gd name="connsiteX9" fmla="*/ 57150 w 438150"/>
                  <a:gd name="connsiteY9" fmla="*/ 95250 h 257175"/>
                  <a:gd name="connsiteX10" fmla="*/ 61913 w 438150"/>
                  <a:gd name="connsiteY10" fmla="*/ 123825 h 257175"/>
                  <a:gd name="connsiteX11" fmla="*/ 0 w 438150"/>
                  <a:gd name="connsiteY11" fmla="*/ 190500 h 257175"/>
                  <a:gd name="connsiteX12" fmla="*/ 66675 w 438150"/>
                  <a:gd name="connsiteY12" fmla="*/ 257175 h 257175"/>
                  <a:gd name="connsiteX13" fmla="*/ 142875 w 438150"/>
                  <a:gd name="connsiteY13"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50" h="257175">
                    <a:moveTo>
                      <a:pt x="361950" y="257175"/>
                    </a:moveTo>
                    <a:lnTo>
                      <a:pt x="371475" y="257175"/>
                    </a:lnTo>
                    <a:cubicBezTo>
                      <a:pt x="408623" y="257175"/>
                      <a:pt x="438150" y="227648"/>
                      <a:pt x="438150" y="190500"/>
                    </a:cubicBezTo>
                    <a:cubicBezTo>
                      <a:pt x="438150" y="153353"/>
                      <a:pt x="408623" y="123825"/>
                      <a:pt x="371475" y="123825"/>
                    </a:cubicBezTo>
                    <a:cubicBezTo>
                      <a:pt x="364808" y="123825"/>
                      <a:pt x="357188" y="124778"/>
                      <a:pt x="351473" y="126683"/>
                    </a:cubicBezTo>
                    <a:cubicBezTo>
                      <a:pt x="352425" y="122873"/>
                      <a:pt x="352425" y="119063"/>
                      <a:pt x="352425" y="114300"/>
                    </a:cubicBezTo>
                    <a:cubicBezTo>
                      <a:pt x="352425" y="77153"/>
                      <a:pt x="322898" y="47625"/>
                      <a:pt x="285750" y="47625"/>
                    </a:cubicBezTo>
                    <a:cubicBezTo>
                      <a:pt x="269558" y="47625"/>
                      <a:pt x="254318" y="53340"/>
                      <a:pt x="241935" y="63818"/>
                    </a:cubicBezTo>
                    <a:cubicBezTo>
                      <a:pt x="229553" y="26670"/>
                      <a:pt x="194310" y="0"/>
                      <a:pt x="152400" y="0"/>
                    </a:cubicBezTo>
                    <a:cubicBezTo>
                      <a:pt x="100013" y="0"/>
                      <a:pt x="57150" y="42863"/>
                      <a:pt x="57150" y="95250"/>
                    </a:cubicBezTo>
                    <a:cubicBezTo>
                      <a:pt x="57150" y="105728"/>
                      <a:pt x="59055" y="115253"/>
                      <a:pt x="61913" y="123825"/>
                    </a:cubicBezTo>
                    <a:cubicBezTo>
                      <a:pt x="26670" y="126683"/>
                      <a:pt x="0" y="155258"/>
                      <a:pt x="0" y="190500"/>
                    </a:cubicBezTo>
                    <a:cubicBezTo>
                      <a:pt x="0" y="227648"/>
                      <a:pt x="29528" y="257175"/>
                      <a:pt x="66675" y="257175"/>
                    </a:cubicBezTo>
                    <a:lnTo>
                      <a:pt x="142875" y="257175"/>
                    </a:ln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8" name="Freeform: Shape 63">
                <a:extLst>
                  <a:ext uri="{FF2B5EF4-FFF2-40B4-BE49-F238E27FC236}">
                    <a16:creationId xmlns:a16="http://schemas.microsoft.com/office/drawing/2014/main" id="{B6834A96-EC62-4E65-B31F-057D2F95B56F}"/>
                  </a:ext>
                </a:extLst>
              </p:cNvPr>
              <p:cNvSpPr/>
              <p:nvPr/>
            </p:nvSpPr>
            <p:spPr>
              <a:xfrm>
                <a:off x="9490409" y="1348219"/>
                <a:ext cx="4762" cy="21907"/>
              </a:xfrm>
              <a:custGeom>
                <a:avLst/>
                <a:gdLst>
                  <a:gd name="connsiteX0" fmla="*/ 0 w 4762"/>
                  <a:gd name="connsiteY0" fmla="*/ 0 h 21907"/>
                  <a:gd name="connsiteX1" fmla="*/ 4763 w 4762"/>
                  <a:gd name="connsiteY1" fmla="*/ 21908 h 21907"/>
                </a:gdLst>
                <a:ahLst/>
                <a:cxnLst>
                  <a:cxn ang="0">
                    <a:pos x="connsiteX0" y="connsiteY0"/>
                  </a:cxn>
                  <a:cxn ang="0">
                    <a:pos x="connsiteX1" y="connsiteY1"/>
                  </a:cxn>
                </a:cxnLst>
                <a:rect l="l" t="t" r="r" b="b"/>
                <a:pathLst>
                  <a:path w="4762" h="21907">
                    <a:moveTo>
                      <a:pt x="0" y="0"/>
                    </a:moveTo>
                    <a:cubicBezTo>
                      <a:pt x="2858" y="6667"/>
                      <a:pt x="3810" y="14288"/>
                      <a:pt x="4763" y="21908"/>
                    </a:cubicBez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9" name="Freeform: Shape 64">
                <a:extLst>
                  <a:ext uri="{FF2B5EF4-FFF2-40B4-BE49-F238E27FC236}">
                    <a16:creationId xmlns:a16="http://schemas.microsoft.com/office/drawing/2014/main" id="{20F9784A-6FBC-41FB-9FC6-BAB96F8DACCD}"/>
                  </a:ext>
                </a:extLst>
              </p:cNvPr>
              <p:cNvSpPr/>
              <p:nvPr/>
            </p:nvSpPr>
            <p:spPr>
              <a:xfrm>
                <a:off x="9591375" y="1411084"/>
                <a:ext cx="8572" cy="21907"/>
              </a:xfrm>
              <a:custGeom>
                <a:avLst/>
                <a:gdLst>
                  <a:gd name="connsiteX0" fmla="*/ 8573 w 8572"/>
                  <a:gd name="connsiteY0" fmla="*/ 0 h 21907"/>
                  <a:gd name="connsiteX1" fmla="*/ 0 w 8572"/>
                  <a:gd name="connsiteY1" fmla="*/ 21908 h 21907"/>
                </a:gdLst>
                <a:ahLst/>
                <a:cxnLst>
                  <a:cxn ang="0">
                    <a:pos x="connsiteX0" y="connsiteY0"/>
                  </a:cxn>
                  <a:cxn ang="0">
                    <a:pos x="connsiteX1" y="connsiteY1"/>
                  </a:cxn>
                </a:cxnLst>
                <a:rect l="l" t="t" r="r" b="b"/>
                <a:pathLst>
                  <a:path w="8572" h="21907">
                    <a:moveTo>
                      <a:pt x="8573" y="0"/>
                    </a:moveTo>
                    <a:cubicBezTo>
                      <a:pt x="6668" y="7620"/>
                      <a:pt x="3810" y="15240"/>
                      <a:pt x="0" y="21908"/>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0" name="Freeform: Shape 65">
                <a:extLst>
                  <a:ext uri="{FF2B5EF4-FFF2-40B4-BE49-F238E27FC236}">
                    <a16:creationId xmlns:a16="http://schemas.microsoft.com/office/drawing/2014/main" id="{F73D9E2B-29C9-429C-8BDF-A8B1ED8754EC}"/>
                  </a:ext>
                </a:extLst>
              </p:cNvPr>
              <p:cNvSpPr/>
              <p:nvPr/>
            </p:nvSpPr>
            <p:spPr>
              <a:xfrm>
                <a:off x="9310387" y="1407869"/>
                <a:ext cx="24765" cy="3214"/>
              </a:xfrm>
              <a:custGeom>
                <a:avLst/>
                <a:gdLst>
                  <a:gd name="connsiteX0" fmla="*/ 0 w 24765"/>
                  <a:gd name="connsiteY0" fmla="*/ 357 h 3214"/>
                  <a:gd name="connsiteX1" fmla="*/ 24765 w 24765"/>
                  <a:gd name="connsiteY1" fmla="*/ 3215 h 3214"/>
                </a:gdLst>
                <a:ahLst/>
                <a:cxnLst>
                  <a:cxn ang="0">
                    <a:pos x="connsiteX0" y="connsiteY0"/>
                  </a:cxn>
                  <a:cxn ang="0">
                    <a:pos x="connsiteX1" y="connsiteY1"/>
                  </a:cxn>
                </a:cxnLst>
                <a:rect l="l" t="t" r="r" b="b"/>
                <a:pathLst>
                  <a:path w="24765" h="3214">
                    <a:moveTo>
                      <a:pt x="0" y="357"/>
                    </a:moveTo>
                    <a:cubicBezTo>
                      <a:pt x="8572" y="-595"/>
                      <a:pt x="16192" y="357"/>
                      <a:pt x="24765" y="3215"/>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1" name="Freeform: Shape 66">
                <a:extLst>
                  <a:ext uri="{FF2B5EF4-FFF2-40B4-BE49-F238E27FC236}">
                    <a16:creationId xmlns:a16="http://schemas.microsoft.com/office/drawing/2014/main" id="{DD64FBDD-E327-46E2-91AC-20C634A66368}"/>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6" name="Freeform: Shape 67">
                <a:extLst>
                  <a:ext uri="{FF2B5EF4-FFF2-40B4-BE49-F238E27FC236}">
                    <a16:creationId xmlns:a16="http://schemas.microsoft.com/office/drawing/2014/main" id="{A45DAF7B-58B0-416A-AA81-AB64EB94EA03}"/>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9" name="Freeform: Shape 68">
                <a:extLst>
                  <a:ext uri="{FF2B5EF4-FFF2-40B4-BE49-F238E27FC236}">
                    <a16:creationId xmlns:a16="http://schemas.microsoft.com/office/drawing/2014/main" id="{CC8F0058-F4D8-4DB6-B5C9-9F6BF9490446}"/>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50" name="Freeform: Shape 69">
                <a:extLst>
                  <a:ext uri="{FF2B5EF4-FFF2-40B4-BE49-F238E27FC236}">
                    <a16:creationId xmlns:a16="http://schemas.microsoft.com/office/drawing/2014/main" id="{2FFB1F9A-CCCF-442D-B983-C91C1BC94292}"/>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190" name="TextBox 189">
              <a:extLst>
                <a:ext uri="{FF2B5EF4-FFF2-40B4-BE49-F238E27FC236}">
                  <a16:creationId xmlns:a16="http://schemas.microsoft.com/office/drawing/2014/main" id="{A1655CB5-CDFF-4C39-91A1-51496BDFC4CD}"/>
                </a:ext>
              </a:extLst>
            </p:cNvPr>
            <p:cNvSpPr txBox="1"/>
            <p:nvPr/>
          </p:nvSpPr>
          <p:spPr bwMode="auto">
            <a:xfrm>
              <a:off x="10149891" y="1736132"/>
              <a:ext cx="1534774" cy="31678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CLOUD</a:t>
              </a:r>
            </a:p>
          </p:txBody>
        </p:sp>
      </p:grpSp>
      <p:sp>
        <p:nvSpPr>
          <p:cNvPr id="191" name="TextBox 190">
            <a:extLst>
              <a:ext uri="{FF2B5EF4-FFF2-40B4-BE49-F238E27FC236}">
                <a16:creationId xmlns:a16="http://schemas.microsoft.com/office/drawing/2014/main" id="{364E3CFB-73B8-437F-97D1-50D91A69D2DB}"/>
              </a:ext>
            </a:extLst>
          </p:cNvPr>
          <p:cNvSpPr txBox="1"/>
          <p:nvPr/>
        </p:nvSpPr>
        <p:spPr bwMode="auto">
          <a:xfrm rot="5400000">
            <a:off x="11040080" y="4849621"/>
            <a:ext cx="1560838"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On-Premise</a:t>
            </a:r>
            <a:endParaRPr lang="aa-ET" sz="1799" b="1" kern="1200" dirty="0">
              <a:solidFill>
                <a:srgbClr val="4D4D4F"/>
              </a:solidFill>
              <a:latin typeface="+mj-lt"/>
              <a:ea typeface="+mn-ea"/>
              <a:cs typeface="Calibri" panose="020F0502020204030204" pitchFamily="34" charset="0"/>
            </a:endParaRPr>
          </a:p>
        </p:txBody>
      </p:sp>
      <p:sp>
        <p:nvSpPr>
          <p:cNvPr id="197" name="TextBox 196">
            <a:extLst>
              <a:ext uri="{FF2B5EF4-FFF2-40B4-BE49-F238E27FC236}">
                <a16:creationId xmlns:a16="http://schemas.microsoft.com/office/drawing/2014/main" id="{8D518139-1C51-4AD7-B845-E6D0A7E8C904}"/>
              </a:ext>
            </a:extLst>
          </p:cNvPr>
          <p:cNvSpPr txBox="1"/>
          <p:nvPr/>
        </p:nvSpPr>
        <p:spPr bwMode="auto">
          <a:xfrm rot="5400000">
            <a:off x="11355312" y="2774555"/>
            <a:ext cx="930372"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Cloud</a:t>
            </a:r>
            <a:endParaRPr lang="aa-ET" sz="1799" b="1" kern="1200" dirty="0">
              <a:solidFill>
                <a:srgbClr val="4D4D4F"/>
              </a:solidFill>
              <a:latin typeface="+mj-lt"/>
              <a:ea typeface="+mn-ea"/>
              <a:cs typeface="Calibri" panose="020F0502020204030204" pitchFamily="34" charset="0"/>
            </a:endParaRPr>
          </a:p>
        </p:txBody>
      </p:sp>
      <p:sp>
        <p:nvSpPr>
          <p:cNvPr id="198" name="TextBox 197">
            <a:extLst>
              <a:ext uri="{FF2B5EF4-FFF2-40B4-BE49-F238E27FC236}">
                <a16:creationId xmlns:a16="http://schemas.microsoft.com/office/drawing/2014/main" id="{8D518139-1C51-4AD7-B845-E6D0A7E8C904}"/>
              </a:ext>
            </a:extLst>
          </p:cNvPr>
          <p:cNvSpPr txBox="1"/>
          <p:nvPr/>
        </p:nvSpPr>
        <p:spPr bwMode="auto">
          <a:xfrm rot="5400000">
            <a:off x="11441814" y="1546810"/>
            <a:ext cx="757370"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Web</a:t>
            </a:r>
            <a:endParaRPr lang="aa-ET" sz="1799" b="1" kern="1200" dirty="0">
              <a:solidFill>
                <a:srgbClr val="4D4D4F"/>
              </a:solidFill>
              <a:latin typeface="+mj-lt"/>
              <a:ea typeface="+mn-ea"/>
              <a:cs typeface="Calibri" panose="020F0502020204030204" pitchFamily="34" charset="0"/>
            </a:endParaRPr>
          </a:p>
        </p:txBody>
      </p:sp>
      <p:cxnSp>
        <p:nvCxnSpPr>
          <p:cNvPr id="203" name="Straight Connector 202">
            <a:extLst>
              <a:ext uri="{FF2B5EF4-FFF2-40B4-BE49-F238E27FC236}">
                <a16:creationId xmlns:a16="http://schemas.microsoft.com/office/drawing/2014/main" id="{9C1E3CE3-E9A6-4D63-A2C0-BB15062AC84D}"/>
              </a:ext>
            </a:extLst>
          </p:cNvPr>
          <p:cNvCxnSpPr>
            <a:cxnSpLocks/>
            <a:endCxn id="193" idx="1"/>
          </p:cNvCxnSpPr>
          <p:nvPr/>
        </p:nvCxnSpPr>
        <p:spPr bwMode="auto">
          <a:xfrm flipV="1">
            <a:off x="2566589" y="2507084"/>
            <a:ext cx="6917134" cy="130642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612535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 name="Picture 162">
            <a:extLst>
              <a:ext uri="{FF2B5EF4-FFF2-40B4-BE49-F238E27FC236}">
                <a16:creationId xmlns:a16="http://schemas.microsoft.com/office/drawing/2014/main" id="{39A06D36-55A2-4EC2-A041-0ACA0E11DC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9117" y="4611277"/>
            <a:ext cx="1546791" cy="1546791"/>
          </a:xfrm>
          <a:prstGeom prst="ellipse">
            <a:avLst/>
          </a:prstGeom>
          <a:effectLst>
            <a:outerShdw blurRad="50800" dist="38100" dir="2700000" algn="tl" rotWithShape="0">
              <a:prstClr val="black">
                <a:alpha val="40000"/>
              </a:prstClr>
            </a:outerShdw>
          </a:effectLst>
        </p:spPr>
      </p:pic>
      <p:cxnSp>
        <p:nvCxnSpPr>
          <p:cNvPr id="529" name="Straight Connector 528">
            <a:extLst>
              <a:ext uri="{FF2B5EF4-FFF2-40B4-BE49-F238E27FC236}">
                <a16:creationId xmlns:a16="http://schemas.microsoft.com/office/drawing/2014/main" id="{4DC92645-E5C2-4304-A620-52FD8D0371D5}"/>
              </a:ext>
            </a:extLst>
          </p:cNvPr>
          <p:cNvCxnSpPr>
            <a:cxnSpLocks/>
            <a:stCxn id="188" idx="2"/>
            <a:endCxn id="192" idx="1"/>
          </p:cNvCxnSpPr>
          <p:nvPr/>
        </p:nvCxnSpPr>
        <p:spPr bwMode="auto">
          <a:xfrm>
            <a:off x="2546270" y="1802634"/>
            <a:ext cx="6936571" cy="1478358"/>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id="{8EC96505-7679-4AFD-87E4-C9E4A210692C}"/>
              </a:ext>
            </a:extLst>
          </p:cNvPr>
          <p:cNvCxnSpPr>
            <a:cxnSpLocks/>
            <a:stCxn id="173" idx="0"/>
            <a:endCxn id="418" idx="1"/>
          </p:cNvCxnSpPr>
          <p:nvPr/>
        </p:nvCxnSpPr>
        <p:spPr bwMode="auto">
          <a:xfrm>
            <a:off x="2736946" y="5493662"/>
            <a:ext cx="6745896" cy="26505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itle 1">
            <a:extLst>
              <a:ext uri="{FF2B5EF4-FFF2-40B4-BE49-F238E27FC236}">
                <a16:creationId xmlns:a16="http://schemas.microsoft.com/office/drawing/2014/main" id="{D1436F6B-6078-47C2-96EF-122E14779BCF}"/>
              </a:ext>
            </a:extLst>
          </p:cNvPr>
          <p:cNvSpPr>
            <a:spLocks noGrp="1"/>
          </p:cNvSpPr>
          <p:nvPr>
            <p:ph type="title"/>
          </p:nvPr>
        </p:nvSpPr>
        <p:spPr>
          <a:xfrm>
            <a:off x="514718" y="254136"/>
            <a:ext cx="11206700" cy="710942"/>
          </a:xfrm>
        </p:spPr>
        <p:txBody>
          <a:bodyPr/>
          <a:lstStyle/>
          <a:p>
            <a:r>
              <a:rPr lang="en-GB" sz="3200" b="1" cap="all" dirty="0"/>
              <a:t>IN THE NEW WORLD </a:t>
            </a:r>
            <a:br>
              <a:rPr lang="en-GB" sz="3200" b="1" cap="all" dirty="0"/>
            </a:br>
            <a:r>
              <a:rPr lang="en-GB" sz="3200" b="1" cap="all" dirty="0">
                <a:solidFill>
                  <a:schemeClr val="tx1"/>
                </a:solidFill>
              </a:rPr>
              <a:t>WE WANT TO USE ANY DEVICE TO ACCESS ANY APPLICATION</a:t>
            </a:r>
          </a:p>
        </p:txBody>
      </p:sp>
      <p:sp>
        <p:nvSpPr>
          <p:cNvPr id="3" name="Footer Placeholder 2" hidden="1"/>
          <p:cNvSpPr>
            <a:spLocks noGrp="1"/>
          </p:cNvSpPr>
          <p:nvPr>
            <p:ph type="ftr" sz="quarter" idx="11"/>
          </p:nvPr>
        </p:nvSpPr>
        <p:spPr/>
        <p:txBody>
          <a:bodyPr/>
          <a:lstStyle/>
          <a:p>
            <a:pPr defTabSz="913578">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defTabSz="913578">
              <a:buClr>
                <a:srgbClr val="FF0000"/>
              </a:buClr>
              <a:defRPr/>
            </a:pPr>
            <a:endParaRPr lang="en-US" kern="1200" dirty="0">
              <a:solidFill>
                <a:srgbClr val="4D4D4F">
                  <a:tint val="75000"/>
                </a:srgbClr>
              </a:solidFill>
              <a:latin typeface="Calibri"/>
              <a:ea typeface="+mn-ea"/>
              <a:cs typeface="+mn-cs"/>
            </a:endParaRPr>
          </a:p>
        </p:txBody>
      </p:sp>
      <p:cxnSp>
        <p:nvCxnSpPr>
          <p:cNvPr id="146" name="Straight Connector 145">
            <a:extLst>
              <a:ext uri="{FF2B5EF4-FFF2-40B4-BE49-F238E27FC236}">
                <a16:creationId xmlns:a16="http://schemas.microsoft.com/office/drawing/2014/main" id="{2E1F98DC-9CE4-4E9C-BE85-ECFCD25FD9FB}"/>
              </a:ext>
            </a:extLst>
          </p:cNvPr>
          <p:cNvCxnSpPr>
            <a:cxnSpLocks/>
            <a:endCxn id="193" idx="1"/>
          </p:cNvCxnSpPr>
          <p:nvPr/>
        </p:nvCxnSpPr>
        <p:spPr bwMode="auto">
          <a:xfrm>
            <a:off x="2554610" y="1939174"/>
            <a:ext cx="6928231" cy="51591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Straight Connector 155">
            <a:extLst>
              <a:ext uri="{FF2B5EF4-FFF2-40B4-BE49-F238E27FC236}">
                <a16:creationId xmlns:a16="http://schemas.microsoft.com/office/drawing/2014/main" id="{C1DBE8D5-76C8-4860-9DF4-42CE15235B5E}"/>
              </a:ext>
            </a:extLst>
          </p:cNvPr>
          <p:cNvCxnSpPr>
            <a:cxnSpLocks/>
            <a:stCxn id="183" idx="0"/>
            <a:endCxn id="418" idx="1"/>
          </p:cNvCxnSpPr>
          <p:nvPr/>
        </p:nvCxnSpPr>
        <p:spPr bwMode="auto">
          <a:xfrm>
            <a:off x="2560064" y="3939867"/>
            <a:ext cx="6922777" cy="1818847"/>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Connector 158">
            <a:extLst>
              <a:ext uri="{FF2B5EF4-FFF2-40B4-BE49-F238E27FC236}">
                <a16:creationId xmlns:a16="http://schemas.microsoft.com/office/drawing/2014/main" id="{49C77106-0681-4493-B740-947CE0C5906F}"/>
              </a:ext>
            </a:extLst>
          </p:cNvPr>
          <p:cNvCxnSpPr>
            <a:cxnSpLocks/>
            <a:stCxn id="173" idx="2"/>
            <a:endCxn id="194" idx="1"/>
          </p:cNvCxnSpPr>
          <p:nvPr/>
        </p:nvCxnSpPr>
        <p:spPr bwMode="auto">
          <a:xfrm flipV="1">
            <a:off x="2736946" y="1629178"/>
            <a:ext cx="6745896" cy="358531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Straight Connector 321">
            <a:extLst>
              <a:ext uri="{FF2B5EF4-FFF2-40B4-BE49-F238E27FC236}">
                <a16:creationId xmlns:a16="http://schemas.microsoft.com/office/drawing/2014/main" id="{250FF296-2BB6-4D2C-8EA9-60752BD6ACC4}"/>
              </a:ext>
            </a:extLst>
          </p:cNvPr>
          <p:cNvCxnSpPr>
            <a:cxnSpLocks/>
            <a:stCxn id="188" idx="0"/>
            <a:endCxn id="195" idx="1"/>
          </p:cNvCxnSpPr>
          <p:nvPr/>
        </p:nvCxnSpPr>
        <p:spPr bwMode="auto">
          <a:xfrm>
            <a:off x="2546270" y="2103318"/>
            <a:ext cx="6936571" cy="200358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3" name="Straight Connector 322">
            <a:extLst>
              <a:ext uri="{FF2B5EF4-FFF2-40B4-BE49-F238E27FC236}">
                <a16:creationId xmlns:a16="http://schemas.microsoft.com/office/drawing/2014/main" id="{1BC946E2-7360-44AF-940E-57046AC4CDE2}"/>
              </a:ext>
            </a:extLst>
          </p:cNvPr>
          <p:cNvCxnSpPr>
            <a:cxnSpLocks/>
            <a:stCxn id="186" idx="0"/>
            <a:endCxn id="196" idx="1"/>
          </p:cNvCxnSpPr>
          <p:nvPr/>
        </p:nvCxnSpPr>
        <p:spPr bwMode="auto">
          <a:xfrm>
            <a:off x="2534372" y="2187799"/>
            <a:ext cx="6948471" cy="2745006"/>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Straight Connector 323">
            <a:extLst>
              <a:ext uri="{FF2B5EF4-FFF2-40B4-BE49-F238E27FC236}">
                <a16:creationId xmlns:a16="http://schemas.microsoft.com/office/drawing/2014/main" id="{2F22357C-5FB6-4357-9B73-9B840D23772A}"/>
              </a:ext>
            </a:extLst>
          </p:cNvPr>
          <p:cNvCxnSpPr/>
          <p:nvPr/>
        </p:nvCxnSpPr>
        <p:spPr bwMode="auto">
          <a:xfrm>
            <a:off x="2560063" y="3748125"/>
            <a:ext cx="7020854" cy="240074"/>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8" name="Straight Connector 377">
            <a:extLst>
              <a:ext uri="{FF2B5EF4-FFF2-40B4-BE49-F238E27FC236}">
                <a16:creationId xmlns:a16="http://schemas.microsoft.com/office/drawing/2014/main" id="{5692E782-4640-4B82-BBEB-32C72358EA96}"/>
              </a:ext>
            </a:extLst>
          </p:cNvPr>
          <p:cNvCxnSpPr>
            <a:cxnSpLocks/>
            <a:stCxn id="173" idx="2"/>
            <a:endCxn id="193" idx="1"/>
          </p:cNvCxnSpPr>
          <p:nvPr/>
        </p:nvCxnSpPr>
        <p:spPr bwMode="auto">
          <a:xfrm flipV="1">
            <a:off x="2736946" y="2455085"/>
            <a:ext cx="6745896" cy="2759404"/>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1" name="Straight Connector 380">
            <a:extLst>
              <a:ext uri="{FF2B5EF4-FFF2-40B4-BE49-F238E27FC236}">
                <a16:creationId xmlns:a16="http://schemas.microsoft.com/office/drawing/2014/main" id="{F0773E6B-A8A6-4F27-90CD-2E57D60085C0}"/>
              </a:ext>
            </a:extLst>
          </p:cNvPr>
          <p:cNvCxnSpPr>
            <a:cxnSpLocks/>
            <a:stCxn id="173" idx="0"/>
            <a:endCxn id="195" idx="1"/>
          </p:cNvCxnSpPr>
          <p:nvPr/>
        </p:nvCxnSpPr>
        <p:spPr bwMode="auto">
          <a:xfrm flipV="1">
            <a:off x="2736946" y="4106897"/>
            <a:ext cx="6745896" cy="138676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4" name="Straight Connector 383">
            <a:extLst>
              <a:ext uri="{FF2B5EF4-FFF2-40B4-BE49-F238E27FC236}">
                <a16:creationId xmlns:a16="http://schemas.microsoft.com/office/drawing/2014/main" id="{9C1E3CE3-E9A6-4D63-A2C0-BB15062AC84D}"/>
              </a:ext>
            </a:extLst>
          </p:cNvPr>
          <p:cNvCxnSpPr>
            <a:cxnSpLocks/>
            <a:stCxn id="179" idx="10"/>
            <a:endCxn id="194" idx="1"/>
          </p:cNvCxnSpPr>
          <p:nvPr/>
        </p:nvCxnSpPr>
        <p:spPr bwMode="auto">
          <a:xfrm flipV="1">
            <a:off x="2560064" y="1629177"/>
            <a:ext cx="6922777" cy="2002886"/>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1" name="Picture 160">
            <a:extLst>
              <a:ext uri="{FF2B5EF4-FFF2-40B4-BE49-F238E27FC236}">
                <a16:creationId xmlns:a16="http://schemas.microsoft.com/office/drawing/2014/main" id="{606CF04E-120A-4D2C-A9F6-765E4B84C44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26994" y="1118327"/>
            <a:ext cx="1546791" cy="1546791"/>
          </a:xfrm>
          <a:prstGeom prst="ellipse">
            <a:avLst/>
          </a:prstGeom>
          <a:effectLst>
            <a:outerShdw blurRad="50800" dist="38100" dir="2700000" algn="tl" rotWithShape="0">
              <a:prstClr val="black">
                <a:alpha val="40000"/>
              </a:prstClr>
            </a:outerShdw>
          </a:effectLst>
        </p:spPr>
      </p:pic>
      <p:pic>
        <p:nvPicPr>
          <p:cNvPr id="162" name="Picture 161">
            <a:extLst>
              <a:ext uri="{FF2B5EF4-FFF2-40B4-BE49-F238E27FC236}">
                <a16:creationId xmlns:a16="http://schemas.microsoft.com/office/drawing/2014/main" id="{31822D67-4F46-44DC-AAB1-F7E2E1877A3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737982" y="2884306"/>
            <a:ext cx="1546791" cy="1546791"/>
          </a:xfrm>
          <a:prstGeom prst="ellipse">
            <a:avLst/>
          </a:prstGeom>
          <a:effectLst>
            <a:outerShdw blurRad="50800" dist="38100" dir="2700000" algn="tl" rotWithShape="0">
              <a:prstClr val="black">
                <a:alpha val="40000"/>
              </a:prstClr>
            </a:outerShdw>
          </a:effectLst>
        </p:spPr>
      </p:pic>
      <p:sp>
        <p:nvSpPr>
          <p:cNvPr id="165" name="Freeform: Shape 164">
            <a:extLst>
              <a:ext uri="{FF2B5EF4-FFF2-40B4-BE49-F238E27FC236}">
                <a16:creationId xmlns:a16="http://schemas.microsoft.com/office/drawing/2014/main" id="{58CDD83C-B671-45C6-BA3D-85BCB8BED05D}"/>
              </a:ext>
            </a:extLst>
          </p:cNvPr>
          <p:cNvSpPr/>
          <p:nvPr/>
        </p:nvSpPr>
        <p:spPr bwMode="auto">
          <a:xfrm>
            <a:off x="750971" y="3830193"/>
            <a:ext cx="1502581" cy="359718"/>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lnSpc>
                <a:spcPct val="80000"/>
              </a:lnSpc>
              <a:spcBef>
                <a:spcPts val="1200"/>
              </a:spcBef>
              <a:buClrTx/>
              <a:buSzPct val="115000"/>
              <a:defRPr/>
            </a:pPr>
            <a:r>
              <a:rPr lang="en-GB" sz="1797" kern="1200" cap="all" dirty="0">
                <a:solidFill>
                  <a:srgbClr val="FFFFFF"/>
                </a:solidFill>
                <a:latin typeface="+mj-lt"/>
                <a:ea typeface="+mn-ea"/>
                <a:cs typeface="Calibri" panose="020F0502020204030204" pitchFamily="34" charset="0"/>
              </a:rPr>
              <a:t>On the go</a:t>
            </a:r>
            <a:endParaRPr lang="en-US" sz="1797" kern="1200" cap="all" dirty="0" err="1">
              <a:solidFill>
                <a:srgbClr val="FFFFFF"/>
              </a:solidFill>
              <a:latin typeface="+mj-lt"/>
              <a:ea typeface="+mn-ea"/>
              <a:cs typeface="Calibri" panose="020F0502020204030204" pitchFamily="34" charset="0"/>
            </a:endParaRPr>
          </a:p>
        </p:txBody>
      </p:sp>
      <p:sp>
        <p:nvSpPr>
          <p:cNvPr id="167" name="Freeform: Shape 166">
            <a:extLst>
              <a:ext uri="{FF2B5EF4-FFF2-40B4-BE49-F238E27FC236}">
                <a16:creationId xmlns:a16="http://schemas.microsoft.com/office/drawing/2014/main" id="{4A0BF7A1-EC1A-4D73-9702-AE42941CD3B6}"/>
              </a:ext>
            </a:extLst>
          </p:cNvPr>
          <p:cNvSpPr/>
          <p:nvPr/>
        </p:nvSpPr>
        <p:spPr bwMode="auto">
          <a:xfrm>
            <a:off x="758281" y="5572100"/>
            <a:ext cx="1502581" cy="359718"/>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lnSpc>
                <a:spcPct val="80000"/>
              </a:lnSpc>
              <a:spcBef>
                <a:spcPts val="1200"/>
              </a:spcBef>
              <a:buClrTx/>
              <a:buSzPct val="115000"/>
              <a:defRPr/>
            </a:pPr>
            <a:r>
              <a:rPr lang="en-GB" sz="1797" kern="1200" cap="all" dirty="0">
                <a:solidFill>
                  <a:srgbClr val="FFFFFF"/>
                </a:solidFill>
                <a:latin typeface="+mj-lt"/>
                <a:ea typeface="+mn-ea"/>
                <a:cs typeface="Calibri" panose="020F0502020204030204" pitchFamily="34" charset="0"/>
              </a:rPr>
              <a:t>office</a:t>
            </a:r>
            <a:endParaRPr lang="en-US" sz="1797" kern="1200" cap="all" dirty="0" err="1">
              <a:solidFill>
                <a:srgbClr val="FFFFFF"/>
              </a:solidFill>
              <a:latin typeface="+mj-lt"/>
              <a:ea typeface="+mn-ea"/>
              <a:cs typeface="Calibri" panose="020F0502020204030204" pitchFamily="34" charset="0"/>
            </a:endParaRPr>
          </a:p>
        </p:txBody>
      </p:sp>
      <p:sp>
        <p:nvSpPr>
          <p:cNvPr id="168" name="Freeform: Shape 167">
            <a:extLst>
              <a:ext uri="{FF2B5EF4-FFF2-40B4-BE49-F238E27FC236}">
                <a16:creationId xmlns:a16="http://schemas.microsoft.com/office/drawing/2014/main" id="{9438409D-7FAE-4E3D-85E1-1C8AD80A490C}"/>
              </a:ext>
            </a:extLst>
          </p:cNvPr>
          <p:cNvSpPr/>
          <p:nvPr/>
        </p:nvSpPr>
        <p:spPr bwMode="auto">
          <a:xfrm>
            <a:off x="749262" y="2064840"/>
            <a:ext cx="1502581" cy="359718"/>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lnSpc>
                <a:spcPct val="80000"/>
              </a:lnSpc>
              <a:spcBef>
                <a:spcPts val="1200"/>
              </a:spcBef>
              <a:buClrTx/>
              <a:buSzPct val="115000"/>
              <a:defRPr/>
            </a:pPr>
            <a:r>
              <a:rPr lang="en-GB" sz="1797" kern="1200" cap="all" dirty="0">
                <a:solidFill>
                  <a:srgbClr val="FFFFFF"/>
                </a:solidFill>
                <a:latin typeface="+mj-lt"/>
                <a:ea typeface="+mn-ea"/>
                <a:cs typeface="Calibri" panose="020F0502020204030204" pitchFamily="34" charset="0"/>
              </a:rPr>
              <a:t>Home</a:t>
            </a:r>
            <a:endParaRPr lang="en-US" sz="1797" kern="1200" cap="all" dirty="0" err="1">
              <a:solidFill>
                <a:srgbClr val="FFFFFF"/>
              </a:solidFill>
              <a:latin typeface="+mj-lt"/>
              <a:ea typeface="+mn-ea"/>
              <a:cs typeface="Calibri" panose="020F0502020204030204" pitchFamily="34" charset="0"/>
            </a:endParaRPr>
          </a:p>
        </p:txBody>
      </p:sp>
      <p:grpSp>
        <p:nvGrpSpPr>
          <p:cNvPr id="170" name="Group 169">
            <a:extLst>
              <a:ext uri="{FF2B5EF4-FFF2-40B4-BE49-F238E27FC236}">
                <a16:creationId xmlns:a16="http://schemas.microsoft.com/office/drawing/2014/main" id="{D7C06901-C66D-46A3-B9BE-6651CFFC7AEF}"/>
              </a:ext>
            </a:extLst>
          </p:cNvPr>
          <p:cNvGrpSpPr/>
          <p:nvPr/>
        </p:nvGrpSpPr>
        <p:grpSpPr>
          <a:xfrm>
            <a:off x="2234329" y="5132200"/>
            <a:ext cx="536124" cy="439900"/>
            <a:chOff x="2576513" y="1664174"/>
            <a:chExt cx="584200" cy="482127"/>
          </a:xfrm>
        </p:grpSpPr>
        <p:sp>
          <p:nvSpPr>
            <p:cNvPr id="171" name="Freeform 335">
              <a:extLst>
                <a:ext uri="{FF2B5EF4-FFF2-40B4-BE49-F238E27FC236}">
                  <a16:creationId xmlns:a16="http://schemas.microsoft.com/office/drawing/2014/main" id="{7B68A190-E010-4054-A4BE-6135728F6A29}"/>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1"/>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2" name="Freeform 336">
              <a:extLst>
                <a:ext uri="{FF2B5EF4-FFF2-40B4-BE49-F238E27FC236}">
                  <a16:creationId xmlns:a16="http://schemas.microsoft.com/office/drawing/2014/main" id="{C1B8187D-5C81-4A97-B725-0C10EA14454E}"/>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3" name="Freeform 337">
              <a:extLst>
                <a:ext uri="{FF2B5EF4-FFF2-40B4-BE49-F238E27FC236}">
                  <a16:creationId xmlns:a16="http://schemas.microsoft.com/office/drawing/2014/main" id="{1ACF60CE-7D05-4407-8203-D4B02902ED8E}"/>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4" name="Freeform 338">
              <a:extLst>
                <a:ext uri="{FF2B5EF4-FFF2-40B4-BE49-F238E27FC236}">
                  <a16:creationId xmlns:a16="http://schemas.microsoft.com/office/drawing/2014/main" id="{9CD83A47-D389-4EDE-8345-8E65719FB245}"/>
                </a:ext>
              </a:extLst>
            </p:cNvPr>
            <p:cNvSpPr>
              <a:spLocks/>
            </p:cNvSpPr>
            <p:nvPr/>
          </p:nvSpPr>
          <p:spPr bwMode="auto">
            <a:xfrm flipV="1">
              <a:off x="2906564" y="172295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5" name="Freeform 339">
              <a:extLst>
                <a:ext uri="{FF2B5EF4-FFF2-40B4-BE49-F238E27FC236}">
                  <a16:creationId xmlns:a16="http://schemas.microsoft.com/office/drawing/2014/main" id="{AC992AC2-91AD-4F10-A22F-4C55CDDCF7DD}"/>
                </a:ext>
              </a:extLst>
            </p:cNvPr>
            <p:cNvSpPr>
              <a:spLocks/>
            </p:cNvSpPr>
            <p:nvPr/>
          </p:nvSpPr>
          <p:spPr bwMode="auto">
            <a:xfrm flipV="1">
              <a:off x="2906564" y="178659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6" name="Freeform 340">
              <a:extLst>
                <a:ext uri="{FF2B5EF4-FFF2-40B4-BE49-F238E27FC236}">
                  <a16:creationId xmlns:a16="http://schemas.microsoft.com/office/drawing/2014/main" id="{6559EFCB-D7AB-420F-A375-348382F9FBCF}"/>
                </a:ext>
              </a:extLst>
            </p:cNvPr>
            <p:cNvSpPr>
              <a:spLocks/>
            </p:cNvSpPr>
            <p:nvPr/>
          </p:nvSpPr>
          <p:spPr bwMode="auto">
            <a:xfrm flipV="1">
              <a:off x="2906564" y="1664174"/>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sp>
          <p:nvSpPr>
            <p:cNvPr id="177" name="Freeform 341">
              <a:extLst>
                <a:ext uri="{FF2B5EF4-FFF2-40B4-BE49-F238E27FC236}">
                  <a16:creationId xmlns:a16="http://schemas.microsoft.com/office/drawing/2014/main" id="{4BA9F7CD-76BC-4AD9-BFC2-02996C165074}"/>
                </a:ext>
              </a:extLst>
            </p:cNvPr>
            <p:cNvSpPr>
              <a:spLocks/>
            </p:cNvSpPr>
            <p:nvPr/>
          </p:nvSpPr>
          <p:spPr bwMode="auto">
            <a:xfrm>
              <a:off x="2663551" y="1837309"/>
              <a:ext cx="193878" cy="149448"/>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grpSp>
      <p:grpSp>
        <p:nvGrpSpPr>
          <p:cNvPr id="178" name="Group 177">
            <a:extLst>
              <a:ext uri="{FF2B5EF4-FFF2-40B4-BE49-F238E27FC236}">
                <a16:creationId xmlns:a16="http://schemas.microsoft.com/office/drawing/2014/main" id="{7208C0A3-3E46-430F-9B71-00B57F4C4B84}"/>
              </a:ext>
            </a:extLst>
          </p:cNvPr>
          <p:cNvGrpSpPr/>
          <p:nvPr/>
        </p:nvGrpSpPr>
        <p:grpSpPr>
          <a:xfrm>
            <a:off x="2245648" y="3530028"/>
            <a:ext cx="314417" cy="515557"/>
            <a:chOff x="2459115" y="3412425"/>
            <a:chExt cx="394792" cy="649051"/>
          </a:xfrm>
        </p:grpSpPr>
        <p:sp>
          <p:nvSpPr>
            <p:cNvPr id="179" name="Freeform 872">
              <a:extLst>
                <a:ext uri="{FF2B5EF4-FFF2-40B4-BE49-F238E27FC236}">
                  <a16:creationId xmlns:a16="http://schemas.microsoft.com/office/drawing/2014/main" id="{5FCF0AF7-4B6B-4065-AE24-F4EB5B3B6F52}"/>
                </a:ext>
              </a:extLst>
            </p:cNvPr>
            <p:cNvSpPr>
              <a:spLocks/>
            </p:cNvSpPr>
            <p:nvPr/>
          </p:nvSpPr>
          <p:spPr bwMode="auto">
            <a:xfrm>
              <a:off x="2459115" y="3412425"/>
              <a:ext cx="394792" cy="649051"/>
            </a:xfrm>
            <a:custGeom>
              <a:avLst/>
              <a:gdLst>
                <a:gd name="T0" fmla="*/ 160 w 160"/>
                <a:gd name="T1" fmla="*/ 230 h 288"/>
                <a:gd name="T2" fmla="*/ 160 w 160"/>
                <a:gd name="T3" fmla="*/ 230 h 288"/>
                <a:gd name="T4" fmla="*/ 160 w 160"/>
                <a:gd name="T5" fmla="*/ 275 h 288"/>
                <a:gd name="T6" fmla="*/ 147 w 160"/>
                <a:gd name="T7" fmla="*/ 288 h 288"/>
                <a:gd name="T8" fmla="*/ 13 w 160"/>
                <a:gd name="T9" fmla="*/ 288 h 288"/>
                <a:gd name="T10" fmla="*/ 0 w 160"/>
                <a:gd name="T11" fmla="*/ 275 h 288"/>
                <a:gd name="T12" fmla="*/ 0 w 160"/>
                <a:gd name="T13" fmla="*/ 12 h 288"/>
                <a:gd name="T14" fmla="*/ 13 w 160"/>
                <a:gd name="T15" fmla="*/ 0 h 288"/>
                <a:gd name="T16" fmla="*/ 147 w 160"/>
                <a:gd name="T17" fmla="*/ 0 h 288"/>
                <a:gd name="T18" fmla="*/ 160 w 160"/>
                <a:gd name="T19" fmla="*/ 12 h 288"/>
                <a:gd name="T20" fmla="*/ 160 w 160"/>
                <a:gd name="T21" fmla="*/ 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88">
                  <a:moveTo>
                    <a:pt x="160" y="230"/>
                  </a:moveTo>
                  <a:lnTo>
                    <a:pt x="160" y="230"/>
                  </a:lnTo>
                  <a:lnTo>
                    <a:pt x="160" y="275"/>
                  </a:lnTo>
                  <a:cubicBezTo>
                    <a:pt x="160" y="282"/>
                    <a:pt x="154" y="288"/>
                    <a:pt x="147" y="288"/>
                  </a:cubicBezTo>
                  <a:lnTo>
                    <a:pt x="13" y="288"/>
                  </a:lnTo>
                  <a:cubicBezTo>
                    <a:pt x="6" y="288"/>
                    <a:pt x="0" y="282"/>
                    <a:pt x="0" y="275"/>
                  </a:cubicBezTo>
                  <a:lnTo>
                    <a:pt x="0" y="12"/>
                  </a:lnTo>
                  <a:cubicBezTo>
                    <a:pt x="0" y="5"/>
                    <a:pt x="6" y="0"/>
                    <a:pt x="13" y="0"/>
                  </a:cubicBezTo>
                  <a:lnTo>
                    <a:pt x="147" y="0"/>
                  </a:lnTo>
                  <a:cubicBezTo>
                    <a:pt x="154" y="0"/>
                    <a:pt x="160" y="5"/>
                    <a:pt x="160" y="12"/>
                  </a:cubicBezTo>
                  <a:lnTo>
                    <a:pt x="160" y="57"/>
                  </a:lnTo>
                </a:path>
              </a:pathLst>
            </a:custGeom>
            <a:noFill/>
            <a:ln w="254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0" name="Freeform 873">
              <a:extLst>
                <a:ext uri="{FF2B5EF4-FFF2-40B4-BE49-F238E27FC236}">
                  <a16:creationId xmlns:a16="http://schemas.microsoft.com/office/drawing/2014/main" id="{26E210FE-E56B-4A40-B39B-11533DBA96C0}"/>
                </a:ext>
              </a:extLst>
            </p:cNvPr>
            <p:cNvSpPr>
              <a:spLocks/>
            </p:cNvSpPr>
            <p:nvPr/>
          </p:nvSpPr>
          <p:spPr bwMode="auto">
            <a:xfrm>
              <a:off x="2459115" y="3973584"/>
              <a:ext cx="394792" cy="0"/>
            </a:xfrm>
            <a:custGeom>
              <a:avLst/>
              <a:gdLst>
                <a:gd name="T0" fmla="*/ 0 w 160"/>
                <a:gd name="T1" fmla="*/ 0 w 160"/>
                <a:gd name="T2" fmla="*/ 160 w 160"/>
              </a:gdLst>
              <a:ahLst/>
              <a:cxnLst>
                <a:cxn ang="0">
                  <a:pos x="T0" y="0"/>
                </a:cxn>
                <a:cxn ang="0">
                  <a:pos x="T1" y="0"/>
                </a:cxn>
                <a:cxn ang="0">
                  <a:pos x="T2" y="0"/>
                </a:cxn>
              </a:cxnLst>
              <a:rect l="0" t="0" r="r" b="b"/>
              <a:pathLst>
                <a:path w="160">
                  <a:moveTo>
                    <a:pt x="0" y="0"/>
                  </a:moveTo>
                  <a:lnTo>
                    <a:pt x="0" y="0"/>
                  </a:lnTo>
                  <a:lnTo>
                    <a:pt x="16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1" name="Freeform 874">
              <a:extLst>
                <a:ext uri="{FF2B5EF4-FFF2-40B4-BE49-F238E27FC236}">
                  <a16:creationId xmlns:a16="http://schemas.microsoft.com/office/drawing/2014/main" id="{88BFACAC-480F-489F-BAE3-86B08400344B}"/>
                </a:ext>
              </a:extLst>
            </p:cNvPr>
            <p:cNvSpPr>
              <a:spLocks/>
            </p:cNvSpPr>
            <p:nvPr/>
          </p:nvSpPr>
          <p:spPr bwMode="auto">
            <a:xfrm>
              <a:off x="2459115" y="3484542"/>
              <a:ext cx="394792" cy="0"/>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2" name="Freeform 875">
              <a:extLst>
                <a:ext uri="{FF2B5EF4-FFF2-40B4-BE49-F238E27FC236}">
                  <a16:creationId xmlns:a16="http://schemas.microsoft.com/office/drawing/2014/main" id="{E131383D-DBE6-4944-8896-DF5169AF1760}"/>
                </a:ext>
              </a:extLst>
            </p:cNvPr>
            <p:cNvSpPr>
              <a:spLocks/>
            </p:cNvSpPr>
            <p:nvPr/>
          </p:nvSpPr>
          <p:spPr bwMode="auto">
            <a:xfrm>
              <a:off x="2631525" y="4018657"/>
              <a:ext cx="49974" cy="0"/>
            </a:xfrm>
            <a:custGeom>
              <a:avLst/>
              <a:gdLst>
                <a:gd name="T0" fmla="*/ 0 w 20"/>
                <a:gd name="T1" fmla="*/ 0 w 20"/>
                <a:gd name="T2" fmla="*/ 20 w 20"/>
              </a:gdLst>
              <a:ahLst/>
              <a:cxnLst>
                <a:cxn ang="0">
                  <a:pos x="T0" y="0"/>
                </a:cxn>
                <a:cxn ang="0">
                  <a:pos x="T1" y="0"/>
                </a:cxn>
                <a:cxn ang="0">
                  <a:pos x="T2" y="0"/>
                </a:cxn>
              </a:cxnLst>
              <a:rect l="0" t="0" r="r" b="b"/>
              <a:pathLst>
                <a:path w="20">
                  <a:moveTo>
                    <a:pt x="0" y="0"/>
                  </a:moveTo>
                  <a:lnTo>
                    <a:pt x="0" y="0"/>
                  </a:lnTo>
                  <a:lnTo>
                    <a:pt x="2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3" name="Freeform 874">
              <a:extLst>
                <a:ext uri="{FF2B5EF4-FFF2-40B4-BE49-F238E27FC236}">
                  <a16:creationId xmlns:a16="http://schemas.microsoft.com/office/drawing/2014/main" id="{8F33BD9B-B07A-49CF-834F-ABA08A4C747A}"/>
                </a:ext>
              </a:extLst>
            </p:cNvPr>
            <p:cNvSpPr>
              <a:spLocks/>
            </p:cNvSpPr>
            <p:nvPr/>
          </p:nvSpPr>
          <p:spPr bwMode="auto">
            <a:xfrm rot="5400000">
              <a:off x="2600961" y="3675438"/>
              <a:ext cx="403923" cy="101968"/>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4" name="Freeform 341">
              <a:extLst>
                <a:ext uri="{FF2B5EF4-FFF2-40B4-BE49-F238E27FC236}">
                  <a16:creationId xmlns:a16="http://schemas.microsoft.com/office/drawing/2014/main" id="{A7359425-617A-43BC-8971-A65427870AFE}"/>
                </a:ext>
              </a:extLst>
            </p:cNvPr>
            <p:cNvSpPr>
              <a:spLocks/>
            </p:cNvSpPr>
            <p:nvPr/>
          </p:nvSpPr>
          <p:spPr bwMode="auto">
            <a:xfrm>
              <a:off x="2572804" y="3641943"/>
              <a:ext cx="178062" cy="136466"/>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mj-lt"/>
                <a:ea typeface="+mn-ea"/>
                <a:cs typeface="Calibri" panose="020F0502020204030204" pitchFamily="34" charset="0"/>
              </a:endParaRPr>
            </a:p>
          </p:txBody>
        </p:sp>
      </p:grpSp>
      <p:grpSp>
        <p:nvGrpSpPr>
          <p:cNvPr id="185" name="Group 184">
            <a:extLst>
              <a:ext uri="{FF2B5EF4-FFF2-40B4-BE49-F238E27FC236}">
                <a16:creationId xmlns:a16="http://schemas.microsoft.com/office/drawing/2014/main" id="{456F8A65-4EBD-42D1-9B94-EE9F11701AA2}"/>
              </a:ext>
            </a:extLst>
          </p:cNvPr>
          <p:cNvGrpSpPr/>
          <p:nvPr/>
        </p:nvGrpSpPr>
        <p:grpSpPr>
          <a:xfrm>
            <a:off x="2107847" y="1777263"/>
            <a:ext cx="467652" cy="410535"/>
            <a:chOff x="2576513" y="1728545"/>
            <a:chExt cx="584200" cy="417756"/>
          </a:xfrm>
        </p:grpSpPr>
        <p:sp>
          <p:nvSpPr>
            <p:cNvPr id="186" name="Freeform 44">
              <a:extLst>
                <a:ext uri="{FF2B5EF4-FFF2-40B4-BE49-F238E27FC236}">
                  <a16:creationId xmlns:a16="http://schemas.microsoft.com/office/drawing/2014/main" id="{23CC9A6B-D13B-44CB-952C-EAB24D04F67A}"/>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2"/>
            </a:solidFill>
            <a:ln w="25400" cap="flat">
              <a:solidFill>
                <a:srgbClr val="505050"/>
              </a:solidFill>
              <a:prstDash val="solid"/>
              <a:round/>
              <a:headEnd/>
              <a:tailEnd/>
            </a:ln>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7" name="Freeform 45">
              <a:extLst>
                <a:ext uri="{FF2B5EF4-FFF2-40B4-BE49-F238E27FC236}">
                  <a16:creationId xmlns:a16="http://schemas.microsoft.com/office/drawing/2014/main" id="{15B9490C-2938-488C-A751-2EA30ADCE033}"/>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sp>
          <p:nvSpPr>
            <p:cNvPr id="188" name="Freeform 46">
              <a:extLst>
                <a:ext uri="{FF2B5EF4-FFF2-40B4-BE49-F238E27FC236}">
                  <a16:creationId xmlns:a16="http://schemas.microsoft.com/office/drawing/2014/main" id="{11932970-9A68-4F5B-88EF-25A943A24D1F}"/>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68" tIns="45684" rIns="91368" bIns="45684" numCol="1" anchor="t" anchorCtr="0" compatLnSpc="1">
              <a:prstTxWarp prst="textNoShape">
                <a:avLst/>
              </a:prstTxWarp>
            </a:bodyPr>
            <a:lstStyle/>
            <a:p>
              <a:pPr defTabSz="913852">
                <a:buClr>
                  <a:srgbClr val="FF0000"/>
                </a:buClr>
                <a:defRPr/>
              </a:pPr>
              <a:endParaRPr lang="en-US" sz="3997" kern="1200" dirty="0">
                <a:solidFill>
                  <a:srgbClr val="4D4D4F"/>
                </a:solidFill>
                <a:latin typeface="+mj-lt"/>
                <a:ea typeface="+mn-ea"/>
                <a:cs typeface="Calibri" panose="020F0502020204030204" pitchFamily="34" charset="0"/>
              </a:endParaRPr>
            </a:p>
          </p:txBody>
        </p:sp>
      </p:grpSp>
      <p:grpSp>
        <p:nvGrpSpPr>
          <p:cNvPr id="16" name="Group 15"/>
          <p:cNvGrpSpPr/>
          <p:nvPr/>
        </p:nvGrpSpPr>
        <p:grpSpPr>
          <a:xfrm>
            <a:off x="9482842" y="3802002"/>
            <a:ext cx="2021445" cy="609789"/>
            <a:chOff x="10459732" y="3546672"/>
            <a:chExt cx="2022499" cy="610107"/>
          </a:xfrm>
        </p:grpSpPr>
        <p:grpSp>
          <p:nvGrpSpPr>
            <p:cNvPr id="14" name="Group 13"/>
            <p:cNvGrpSpPr/>
            <p:nvPr/>
          </p:nvGrpSpPr>
          <p:grpSpPr>
            <a:xfrm>
              <a:off x="10459732" y="3546672"/>
              <a:ext cx="2022499" cy="610107"/>
              <a:chOff x="9673791" y="3667836"/>
              <a:chExt cx="2022499" cy="610107"/>
            </a:xfrm>
          </p:grpSpPr>
          <p:sp>
            <p:nvSpPr>
              <p:cNvPr id="195" name="Rectangle: Rounded Corners 194">
                <a:extLst>
                  <a:ext uri="{FF2B5EF4-FFF2-40B4-BE49-F238E27FC236}">
                    <a16:creationId xmlns:a16="http://schemas.microsoft.com/office/drawing/2014/main" id="{E3B50E10-910F-4FF9-A355-1AD8EEBB9AC3}"/>
                  </a:ext>
                </a:extLst>
              </p:cNvPr>
              <p:cNvSpPr/>
              <p:nvPr/>
            </p:nvSpPr>
            <p:spPr bwMode="auto">
              <a:xfrm>
                <a:off x="9673791" y="3667836"/>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sp>
            <p:nvSpPr>
              <p:cNvPr id="169" name="TextBox 168">
                <a:extLst>
                  <a:ext uri="{FF2B5EF4-FFF2-40B4-BE49-F238E27FC236}">
                    <a16:creationId xmlns:a16="http://schemas.microsoft.com/office/drawing/2014/main" id="{86AA2C53-82E7-4915-BF19-E92E0BFAE4C1}"/>
                  </a:ext>
                </a:extLst>
              </p:cNvPr>
              <p:cNvSpPr txBox="1"/>
              <p:nvPr/>
            </p:nvSpPr>
            <p:spPr bwMode="auto">
              <a:xfrm>
                <a:off x="10199492" y="3786281"/>
                <a:ext cx="1496798" cy="307697"/>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DATACENTER</a:t>
                </a:r>
              </a:p>
            </p:txBody>
          </p:sp>
        </p:grpSp>
        <p:grpSp>
          <p:nvGrpSpPr>
            <p:cNvPr id="353" name="Group 352">
              <a:extLst>
                <a:ext uri="{FF2B5EF4-FFF2-40B4-BE49-F238E27FC236}">
                  <a16:creationId xmlns:a16="http://schemas.microsoft.com/office/drawing/2014/main" id="{9A75ED88-04CA-433F-ABAC-54EDD766C9CA}"/>
                </a:ext>
              </a:extLst>
            </p:cNvPr>
            <p:cNvGrpSpPr/>
            <p:nvPr/>
          </p:nvGrpSpPr>
          <p:grpSpPr>
            <a:xfrm>
              <a:off x="10595564" y="3607562"/>
              <a:ext cx="463248" cy="479404"/>
              <a:chOff x="7760977" y="4769381"/>
              <a:chExt cx="334126" cy="474360"/>
            </a:xfrm>
          </p:grpSpPr>
          <p:grpSp>
            <p:nvGrpSpPr>
              <p:cNvPr id="354" name="Group 353">
                <a:extLst>
                  <a:ext uri="{FF2B5EF4-FFF2-40B4-BE49-F238E27FC236}">
                    <a16:creationId xmlns:a16="http://schemas.microsoft.com/office/drawing/2014/main" id="{DF20E7E5-05D3-4B08-B7F4-C8D7EEAB937E}"/>
                  </a:ext>
                </a:extLst>
              </p:cNvPr>
              <p:cNvGrpSpPr/>
              <p:nvPr/>
            </p:nvGrpSpPr>
            <p:grpSpPr>
              <a:xfrm>
                <a:off x="7764821" y="4769381"/>
                <a:ext cx="301509" cy="343140"/>
                <a:chOff x="6704013" y="5259388"/>
                <a:chExt cx="379413" cy="431800"/>
              </a:xfrm>
              <a:noFill/>
            </p:grpSpPr>
            <p:sp>
              <p:nvSpPr>
                <p:cNvPr id="359" name="Freeform 736">
                  <a:extLst>
                    <a:ext uri="{FF2B5EF4-FFF2-40B4-BE49-F238E27FC236}">
                      <a16:creationId xmlns:a16="http://schemas.microsoft.com/office/drawing/2014/main" id="{5B39AFE6-6429-49FB-84D9-D76A281E22FF}"/>
                    </a:ext>
                  </a:extLst>
                </p:cNvPr>
                <p:cNvSpPr>
                  <a:spLocks/>
                </p:cNvSpPr>
                <p:nvPr/>
              </p:nvSpPr>
              <p:spPr bwMode="auto">
                <a:xfrm>
                  <a:off x="6704013" y="5259388"/>
                  <a:ext cx="379413" cy="431800"/>
                </a:xfrm>
                <a:custGeom>
                  <a:avLst/>
                  <a:gdLst>
                    <a:gd name="T0" fmla="*/ 228 w 241"/>
                    <a:gd name="T1" fmla="*/ 272 h 272"/>
                    <a:gd name="T2" fmla="*/ 228 w 241"/>
                    <a:gd name="T3" fmla="*/ 272 h 272"/>
                    <a:gd name="T4" fmla="*/ 13 w 241"/>
                    <a:gd name="T5" fmla="*/ 272 h 272"/>
                    <a:gd name="T6" fmla="*/ 0 w 241"/>
                    <a:gd name="T7" fmla="*/ 260 h 272"/>
                    <a:gd name="T8" fmla="*/ 0 w 241"/>
                    <a:gd name="T9" fmla="*/ 56 h 272"/>
                    <a:gd name="T10" fmla="*/ 4 w 241"/>
                    <a:gd name="T11" fmla="*/ 47 h 272"/>
                    <a:gd name="T12" fmla="*/ 53 w 241"/>
                    <a:gd name="T13" fmla="*/ 3 h 272"/>
                    <a:gd name="T14" fmla="*/ 62 w 241"/>
                    <a:gd name="T15" fmla="*/ 0 h 272"/>
                    <a:gd name="T16" fmla="*/ 179 w 241"/>
                    <a:gd name="T17" fmla="*/ 0 h 272"/>
                    <a:gd name="T18" fmla="*/ 187 w 241"/>
                    <a:gd name="T19" fmla="*/ 3 h 272"/>
                    <a:gd name="T20" fmla="*/ 236 w 241"/>
                    <a:gd name="T21" fmla="*/ 47 h 272"/>
                    <a:gd name="T22" fmla="*/ 241 w 241"/>
                    <a:gd name="T23" fmla="*/ 56 h 272"/>
                    <a:gd name="T24" fmla="*/ 241 w 241"/>
                    <a:gd name="T25" fmla="*/ 260 h 272"/>
                    <a:gd name="T26" fmla="*/ 228 w 241"/>
                    <a:gd name="T27" fmla="*/ 272 h 272"/>
                    <a:gd name="T28" fmla="*/ 228 w 241"/>
                    <a:gd name="T29"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272">
                      <a:moveTo>
                        <a:pt x="228" y="272"/>
                      </a:moveTo>
                      <a:lnTo>
                        <a:pt x="228" y="272"/>
                      </a:lnTo>
                      <a:lnTo>
                        <a:pt x="13" y="272"/>
                      </a:lnTo>
                      <a:cubicBezTo>
                        <a:pt x="6" y="272"/>
                        <a:pt x="0" y="267"/>
                        <a:pt x="0" y="260"/>
                      </a:cubicBezTo>
                      <a:lnTo>
                        <a:pt x="0" y="56"/>
                      </a:lnTo>
                      <a:cubicBezTo>
                        <a:pt x="0" y="53"/>
                        <a:pt x="2" y="49"/>
                        <a:pt x="4" y="47"/>
                      </a:cubicBezTo>
                      <a:lnTo>
                        <a:pt x="53" y="3"/>
                      </a:lnTo>
                      <a:cubicBezTo>
                        <a:pt x="56" y="1"/>
                        <a:pt x="59" y="0"/>
                        <a:pt x="62" y="0"/>
                      </a:cubicBezTo>
                      <a:lnTo>
                        <a:pt x="179" y="0"/>
                      </a:lnTo>
                      <a:cubicBezTo>
                        <a:pt x="182" y="0"/>
                        <a:pt x="185" y="1"/>
                        <a:pt x="187" y="3"/>
                      </a:cubicBezTo>
                      <a:lnTo>
                        <a:pt x="236" y="47"/>
                      </a:lnTo>
                      <a:cubicBezTo>
                        <a:pt x="239" y="49"/>
                        <a:pt x="241" y="53"/>
                        <a:pt x="241" y="56"/>
                      </a:cubicBezTo>
                      <a:lnTo>
                        <a:pt x="241" y="260"/>
                      </a:lnTo>
                      <a:cubicBezTo>
                        <a:pt x="241" y="267"/>
                        <a:pt x="235" y="272"/>
                        <a:pt x="228" y="272"/>
                      </a:cubicBezTo>
                      <a:lnTo>
                        <a:pt x="228" y="272"/>
                      </a:lnTo>
                      <a:close/>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0" name="Freeform 737">
                  <a:extLst>
                    <a:ext uri="{FF2B5EF4-FFF2-40B4-BE49-F238E27FC236}">
                      <a16:creationId xmlns:a16="http://schemas.microsoft.com/office/drawing/2014/main" id="{35200C96-49C4-496A-9431-C256790CD28D}"/>
                    </a:ext>
                  </a:extLst>
                </p:cNvPr>
                <p:cNvSpPr>
                  <a:spLocks/>
                </p:cNvSpPr>
                <p:nvPr/>
              </p:nvSpPr>
              <p:spPr bwMode="auto">
                <a:xfrm>
                  <a:off x="6704013" y="535940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1" name="Freeform 738">
                  <a:extLst>
                    <a:ext uri="{FF2B5EF4-FFF2-40B4-BE49-F238E27FC236}">
                      <a16:creationId xmlns:a16="http://schemas.microsoft.com/office/drawing/2014/main" id="{EC6691CA-210F-4BD7-A0FE-5E59DB96B648}"/>
                    </a:ext>
                  </a:extLst>
                </p:cNvPr>
                <p:cNvSpPr>
                  <a:spLocks/>
                </p:cNvSpPr>
                <p:nvPr/>
              </p:nvSpPr>
              <p:spPr bwMode="auto">
                <a:xfrm>
                  <a:off x="6704013" y="5470525"/>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2" name="Freeform 740">
                  <a:extLst>
                    <a:ext uri="{FF2B5EF4-FFF2-40B4-BE49-F238E27FC236}">
                      <a16:creationId xmlns:a16="http://schemas.microsoft.com/office/drawing/2014/main" id="{CB7F240E-99C9-4F2B-8C2E-6B34595EDFFE}"/>
                    </a:ext>
                  </a:extLst>
                </p:cNvPr>
                <p:cNvSpPr>
                  <a:spLocks/>
                </p:cNvSpPr>
                <p:nvPr/>
              </p:nvSpPr>
              <p:spPr bwMode="auto">
                <a:xfrm>
                  <a:off x="6704013" y="558165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6" name="Freeform 741">
                  <a:extLst>
                    <a:ext uri="{FF2B5EF4-FFF2-40B4-BE49-F238E27FC236}">
                      <a16:creationId xmlns:a16="http://schemas.microsoft.com/office/drawing/2014/main" id="{C3B5F81A-8077-4946-92E5-EB7142DC9A4A}"/>
                    </a:ext>
                  </a:extLst>
                </p:cNvPr>
                <p:cNvSpPr>
                  <a:spLocks/>
                </p:cNvSpPr>
                <p:nvPr/>
              </p:nvSpPr>
              <p:spPr bwMode="auto">
                <a:xfrm>
                  <a:off x="6983406" y="5419726"/>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7" name="Freeform 742">
                  <a:extLst>
                    <a:ext uri="{FF2B5EF4-FFF2-40B4-BE49-F238E27FC236}">
                      <a16:creationId xmlns:a16="http://schemas.microsoft.com/office/drawing/2014/main" id="{F0C887E0-FC4B-48FB-84B7-C4D3F4D5BDC0}"/>
                    </a:ext>
                  </a:extLst>
                </p:cNvPr>
                <p:cNvSpPr>
                  <a:spLocks/>
                </p:cNvSpPr>
                <p:nvPr/>
              </p:nvSpPr>
              <p:spPr bwMode="auto">
                <a:xfrm>
                  <a:off x="6983413" y="5530850"/>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8" name="Freeform 743">
                  <a:extLst>
                    <a:ext uri="{FF2B5EF4-FFF2-40B4-BE49-F238E27FC236}">
                      <a16:creationId xmlns:a16="http://schemas.microsoft.com/office/drawing/2014/main" id="{23EBC5AF-A839-4739-8436-65B10AD1D62D}"/>
                    </a:ext>
                  </a:extLst>
                </p:cNvPr>
                <p:cNvSpPr>
                  <a:spLocks/>
                </p:cNvSpPr>
                <p:nvPr/>
              </p:nvSpPr>
              <p:spPr bwMode="auto">
                <a:xfrm>
                  <a:off x="6983413" y="5641975"/>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69" name="Freeform 744">
                  <a:extLst>
                    <a:ext uri="{FF2B5EF4-FFF2-40B4-BE49-F238E27FC236}">
                      <a16:creationId xmlns:a16="http://schemas.microsoft.com/office/drawing/2014/main" id="{9A4D6B35-2C34-4724-B88F-73E50823C786}"/>
                    </a:ext>
                  </a:extLst>
                </p:cNvPr>
                <p:cNvSpPr>
                  <a:spLocks/>
                </p:cNvSpPr>
                <p:nvPr/>
              </p:nvSpPr>
              <p:spPr bwMode="auto">
                <a:xfrm>
                  <a:off x="6743701" y="541972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70" name="Freeform 745">
                  <a:extLst>
                    <a:ext uri="{FF2B5EF4-FFF2-40B4-BE49-F238E27FC236}">
                      <a16:creationId xmlns:a16="http://schemas.microsoft.com/office/drawing/2014/main" id="{1D509D44-36C6-4C98-8C6C-CEC83BD7F887}"/>
                    </a:ext>
                  </a:extLst>
                </p:cNvPr>
                <p:cNvSpPr>
                  <a:spLocks/>
                </p:cNvSpPr>
                <p:nvPr/>
              </p:nvSpPr>
              <p:spPr bwMode="auto">
                <a:xfrm>
                  <a:off x="6743701" y="5530850"/>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71" name="Freeform 746">
                  <a:extLst>
                    <a:ext uri="{FF2B5EF4-FFF2-40B4-BE49-F238E27FC236}">
                      <a16:creationId xmlns:a16="http://schemas.microsoft.com/office/drawing/2014/main" id="{F663054B-3F63-4184-A001-2BF5AC229D4B}"/>
                    </a:ext>
                  </a:extLst>
                </p:cNvPr>
                <p:cNvSpPr>
                  <a:spLocks/>
                </p:cNvSpPr>
                <p:nvPr/>
              </p:nvSpPr>
              <p:spPr bwMode="auto">
                <a:xfrm>
                  <a:off x="6743701" y="564197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72" name="Freeform 747">
                  <a:extLst>
                    <a:ext uri="{FF2B5EF4-FFF2-40B4-BE49-F238E27FC236}">
                      <a16:creationId xmlns:a16="http://schemas.microsoft.com/office/drawing/2014/main" id="{D01F07E1-B168-41D4-97BB-F079451B0F3A}"/>
                    </a:ext>
                  </a:extLst>
                </p:cNvPr>
                <p:cNvSpPr>
                  <a:spLocks/>
                </p:cNvSpPr>
                <p:nvPr/>
              </p:nvSpPr>
              <p:spPr bwMode="auto">
                <a:xfrm>
                  <a:off x="6784976" y="541972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73" name="Freeform 748">
                  <a:extLst>
                    <a:ext uri="{FF2B5EF4-FFF2-40B4-BE49-F238E27FC236}">
                      <a16:creationId xmlns:a16="http://schemas.microsoft.com/office/drawing/2014/main" id="{AC6CA463-8E80-4F8D-B6A7-3313FDC05D60}"/>
                    </a:ext>
                  </a:extLst>
                </p:cNvPr>
                <p:cNvSpPr>
                  <a:spLocks/>
                </p:cNvSpPr>
                <p:nvPr/>
              </p:nvSpPr>
              <p:spPr bwMode="auto">
                <a:xfrm>
                  <a:off x="6784976" y="5530850"/>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74" name="Freeform 749">
                  <a:extLst>
                    <a:ext uri="{FF2B5EF4-FFF2-40B4-BE49-F238E27FC236}">
                      <a16:creationId xmlns:a16="http://schemas.microsoft.com/office/drawing/2014/main" id="{5AF85E3D-FC0E-4A1D-85A7-5538C226972D}"/>
                    </a:ext>
                  </a:extLst>
                </p:cNvPr>
                <p:cNvSpPr>
                  <a:spLocks/>
                </p:cNvSpPr>
                <p:nvPr/>
              </p:nvSpPr>
              <p:spPr bwMode="auto">
                <a:xfrm>
                  <a:off x="6784976" y="564197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grpSp>
          <p:cxnSp>
            <p:nvCxnSpPr>
              <p:cNvPr id="355" name="Straight Connector 354">
                <a:extLst>
                  <a:ext uri="{FF2B5EF4-FFF2-40B4-BE49-F238E27FC236}">
                    <a16:creationId xmlns:a16="http://schemas.microsoft.com/office/drawing/2014/main" id="{6F2701F3-3D27-4F38-B343-AC9DBF64301E}"/>
                  </a:ext>
                </a:extLst>
              </p:cNvPr>
              <p:cNvCxnSpPr>
                <a:cxnSpLocks/>
                <a:endCxn id="358" idx="4"/>
              </p:cNvCxnSpPr>
              <p:nvPr/>
            </p:nvCxnSpPr>
            <p:spPr bwMode="auto">
              <a:xfrm>
                <a:off x="7925100" y="5115863"/>
                <a:ext cx="0" cy="127878"/>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6" name="Straight Connector 355">
                <a:extLst>
                  <a:ext uri="{FF2B5EF4-FFF2-40B4-BE49-F238E27FC236}">
                    <a16:creationId xmlns:a16="http://schemas.microsoft.com/office/drawing/2014/main" id="{885936BE-2553-486E-AE25-8965445D2418}"/>
                  </a:ext>
                </a:extLst>
              </p:cNvPr>
              <p:cNvCxnSpPr/>
              <p:nvPr/>
            </p:nvCxnSpPr>
            <p:spPr bwMode="auto">
              <a:xfrm>
                <a:off x="7760977" y="5195789"/>
                <a:ext cx="334126" cy="0"/>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8" name="Oval 357">
                <a:extLst>
                  <a:ext uri="{FF2B5EF4-FFF2-40B4-BE49-F238E27FC236}">
                    <a16:creationId xmlns:a16="http://schemas.microsoft.com/office/drawing/2014/main" id="{8794E17C-5D73-4ECE-9D74-F0046D4FFD34}"/>
                  </a:ext>
                </a:extLst>
              </p:cNvPr>
              <p:cNvSpPr/>
              <p:nvPr/>
            </p:nvSpPr>
            <p:spPr bwMode="auto">
              <a:xfrm>
                <a:off x="7882187" y="515791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lnSpc>
                    <a:spcPct val="80000"/>
                  </a:lnSpc>
                  <a:spcBef>
                    <a:spcPts val="1200"/>
                  </a:spcBef>
                  <a:buClr>
                    <a:srgbClr val="FF0000"/>
                  </a:buClr>
                  <a:buSzPct val="115000"/>
                  <a:defRPr/>
                </a:pPr>
                <a:endParaRPr lang="en-US" kern="1200" dirty="0">
                  <a:solidFill>
                    <a:srgbClr val="4D4D4F"/>
                  </a:solidFill>
                  <a:latin typeface="Calibri"/>
                  <a:ea typeface="+mn-ea"/>
                  <a:cs typeface="Calibri" panose="020F0502020204030204" pitchFamily="34" charset="0"/>
                </a:endParaRPr>
              </a:p>
            </p:txBody>
          </p:sp>
        </p:grpSp>
      </p:grpSp>
      <p:grpSp>
        <p:nvGrpSpPr>
          <p:cNvPr id="7" name="Group 6"/>
          <p:cNvGrpSpPr/>
          <p:nvPr/>
        </p:nvGrpSpPr>
        <p:grpSpPr>
          <a:xfrm>
            <a:off x="9482841" y="2150189"/>
            <a:ext cx="1995108" cy="609789"/>
            <a:chOff x="9688515" y="2273915"/>
            <a:chExt cx="1996148" cy="610107"/>
          </a:xfrm>
        </p:grpSpPr>
        <p:sp>
          <p:nvSpPr>
            <p:cNvPr id="193" name="Rectangle: Rounded Corners 192">
              <a:extLst>
                <a:ext uri="{FF2B5EF4-FFF2-40B4-BE49-F238E27FC236}">
                  <a16:creationId xmlns:a16="http://schemas.microsoft.com/office/drawing/2014/main" id="{BD2797BB-294E-497C-BF40-2BF0AAAA9E80}"/>
                </a:ext>
              </a:extLst>
            </p:cNvPr>
            <p:cNvSpPr/>
            <p:nvPr/>
          </p:nvSpPr>
          <p:spPr bwMode="auto">
            <a:xfrm>
              <a:off x="9688515" y="2273915"/>
              <a:ext cx="1996148"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grpSp>
          <p:nvGrpSpPr>
            <p:cNvPr id="375" name="Group 374">
              <a:extLst>
                <a:ext uri="{FF2B5EF4-FFF2-40B4-BE49-F238E27FC236}">
                  <a16:creationId xmlns:a16="http://schemas.microsoft.com/office/drawing/2014/main" id="{C1A35DCB-7180-48DB-AE48-B65FDABED766}"/>
                </a:ext>
              </a:extLst>
            </p:cNvPr>
            <p:cNvGrpSpPr/>
            <p:nvPr/>
          </p:nvGrpSpPr>
          <p:grpSpPr>
            <a:xfrm>
              <a:off x="9864563" y="2405048"/>
              <a:ext cx="1820100" cy="350020"/>
              <a:chOff x="8536119" y="930602"/>
              <a:chExt cx="1790575" cy="346337"/>
            </a:xfrm>
          </p:grpSpPr>
          <p:sp>
            <p:nvSpPr>
              <p:cNvPr id="376" name="TextBox 375">
                <a:extLst>
                  <a:ext uri="{FF2B5EF4-FFF2-40B4-BE49-F238E27FC236}">
                    <a16:creationId xmlns:a16="http://schemas.microsoft.com/office/drawing/2014/main" id="{91642B42-99D0-42AF-92C8-CB337CD1BC0E}"/>
                  </a:ext>
                </a:extLst>
              </p:cNvPr>
              <p:cNvSpPr txBox="1"/>
              <p:nvPr/>
            </p:nvSpPr>
            <p:spPr bwMode="auto">
              <a:xfrm>
                <a:off x="8792855" y="941109"/>
                <a:ext cx="1533839" cy="304459"/>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SAAS</a:t>
                </a:r>
              </a:p>
            </p:txBody>
          </p:sp>
          <p:grpSp>
            <p:nvGrpSpPr>
              <p:cNvPr id="377" name="Graphic 70">
                <a:extLst>
                  <a:ext uri="{FF2B5EF4-FFF2-40B4-BE49-F238E27FC236}">
                    <a16:creationId xmlns:a16="http://schemas.microsoft.com/office/drawing/2014/main" id="{A0583EF9-8D0E-4BDC-9B06-E1B84618AE0C}"/>
                  </a:ext>
                </a:extLst>
              </p:cNvPr>
              <p:cNvGrpSpPr/>
              <p:nvPr/>
            </p:nvGrpSpPr>
            <p:grpSpPr>
              <a:xfrm>
                <a:off x="8536119" y="930602"/>
                <a:ext cx="430583" cy="346337"/>
                <a:chOff x="10366196" y="3234979"/>
                <a:chExt cx="370537" cy="298040"/>
              </a:xfrm>
              <a:noFill/>
            </p:grpSpPr>
            <p:sp>
              <p:nvSpPr>
                <p:cNvPr id="380" name="Freeform: Shape 72">
                  <a:extLst>
                    <a:ext uri="{FF2B5EF4-FFF2-40B4-BE49-F238E27FC236}">
                      <a16:creationId xmlns:a16="http://schemas.microsoft.com/office/drawing/2014/main" id="{FA74EFEA-5526-4EBF-9FCE-CED713E9AB6B}"/>
                    </a:ext>
                  </a:extLst>
                </p:cNvPr>
                <p:cNvSpPr/>
                <p:nvPr/>
              </p:nvSpPr>
              <p:spPr>
                <a:xfrm>
                  <a:off x="10366196" y="3234979"/>
                  <a:ext cx="370537" cy="217488"/>
                </a:xfrm>
                <a:custGeom>
                  <a:avLst/>
                  <a:gdLst>
                    <a:gd name="connsiteX0" fmla="*/ 306097 w 370538"/>
                    <a:gd name="connsiteY0" fmla="*/ 217490 h 217489"/>
                    <a:gd name="connsiteX1" fmla="*/ 314152 w 370538"/>
                    <a:gd name="connsiteY1" fmla="*/ 217490 h 217489"/>
                    <a:gd name="connsiteX2" fmla="*/ 370539 w 370538"/>
                    <a:gd name="connsiteY2" fmla="*/ 161104 h 217489"/>
                    <a:gd name="connsiteX3" fmla="*/ 314152 w 370538"/>
                    <a:gd name="connsiteY3" fmla="*/ 104717 h 217489"/>
                    <a:gd name="connsiteX4" fmla="*/ 297236 w 370538"/>
                    <a:gd name="connsiteY4" fmla="*/ 107134 h 217489"/>
                    <a:gd name="connsiteX5" fmla="*/ 298042 w 370538"/>
                    <a:gd name="connsiteY5" fmla="*/ 96662 h 217489"/>
                    <a:gd name="connsiteX6" fmla="*/ 241656 w 370538"/>
                    <a:gd name="connsiteY6" fmla="*/ 40276 h 217489"/>
                    <a:gd name="connsiteX7" fmla="*/ 204602 w 370538"/>
                    <a:gd name="connsiteY7" fmla="*/ 53970 h 217489"/>
                    <a:gd name="connsiteX8" fmla="*/ 128883 w 370538"/>
                    <a:gd name="connsiteY8" fmla="*/ 0 h 217489"/>
                    <a:gd name="connsiteX9" fmla="*/ 48331 w 370538"/>
                    <a:gd name="connsiteY9" fmla="*/ 80552 h 217489"/>
                    <a:gd name="connsiteX10" fmla="*/ 52359 w 370538"/>
                    <a:gd name="connsiteY10" fmla="*/ 104717 h 217489"/>
                    <a:gd name="connsiteX11" fmla="*/ 0 w 370538"/>
                    <a:gd name="connsiteY11" fmla="*/ 161104 h 217489"/>
                    <a:gd name="connsiteX12" fmla="*/ 56386 w 370538"/>
                    <a:gd name="connsiteY12" fmla="*/ 217490 h 217489"/>
                    <a:gd name="connsiteX13" fmla="*/ 64442 w 370538"/>
                    <a:gd name="connsiteY13" fmla="*/ 217490 h 21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38" h="217489">
                      <a:moveTo>
                        <a:pt x="306097" y="217490"/>
                      </a:moveTo>
                      <a:lnTo>
                        <a:pt x="314152" y="217490"/>
                      </a:lnTo>
                      <a:cubicBezTo>
                        <a:pt x="345568" y="217490"/>
                        <a:pt x="370539" y="192519"/>
                        <a:pt x="370539" y="161104"/>
                      </a:cubicBezTo>
                      <a:cubicBezTo>
                        <a:pt x="370539" y="129688"/>
                        <a:pt x="345568" y="104717"/>
                        <a:pt x="314152" y="104717"/>
                      </a:cubicBezTo>
                      <a:cubicBezTo>
                        <a:pt x="308514" y="104717"/>
                        <a:pt x="302070" y="105523"/>
                        <a:pt x="297236" y="107134"/>
                      </a:cubicBezTo>
                      <a:cubicBezTo>
                        <a:pt x="298042" y="103912"/>
                        <a:pt x="298042" y="100690"/>
                        <a:pt x="298042" y="96662"/>
                      </a:cubicBezTo>
                      <a:cubicBezTo>
                        <a:pt x="298042" y="65247"/>
                        <a:pt x="273071" y="40276"/>
                        <a:pt x="241656" y="40276"/>
                      </a:cubicBezTo>
                      <a:cubicBezTo>
                        <a:pt x="227962" y="40276"/>
                        <a:pt x="215074" y="45109"/>
                        <a:pt x="204602" y="53970"/>
                      </a:cubicBezTo>
                      <a:cubicBezTo>
                        <a:pt x="194130" y="22555"/>
                        <a:pt x="164326" y="0"/>
                        <a:pt x="128883" y="0"/>
                      </a:cubicBezTo>
                      <a:cubicBezTo>
                        <a:pt x="84579" y="0"/>
                        <a:pt x="48331" y="36248"/>
                        <a:pt x="48331" y="80552"/>
                      </a:cubicBezTo>
                      <a:cubicBezTo>
                        <a:pt x="48331" y="89412"/>
                        <a:pt x="49942" y="97468"/>
                        <a:pt x="52359" y="104717"/>
                      </a:cubicBezTo>
                      <a:cubicBezTo>
                        <a:pt x="22555" y="107134"/>
                        <a:pt x="0" y="131299"/>
                        <a:pt x="0" y="161104"/>
                      </a:cubicBezTo>
                      <a:cubicBezTo>
                        <a:pt x="0" y="192519"/>
                        <a:pt x="24971" y="217490"/>
                        <a:pt x="56386" y="217490"/>
                      </a:cubicBezTo>
                      <a:lnTo>
                        <a:pt x="64442" y="217490"/>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2" name="Freeform: Shape 73">
                  <a:extLst>
                    <a:ext uri="{FF2B5EF4-FFF2-40B4-BE49-F238E27FC236}">
                      <a16:creationId xmlns:a16="http://schemas.microsoft.com/office/drawing/2014/main" id="{9F5FF97E-D21A-4C31-9D87-8B26A4951581}"/>
                    </a:ext>
                  </a:extLst>
                </p:cNvPr>
                <p:cNvSpPr/>
                <p:nvPr/>
              </p:nvSpPr>
              <p:spPr>
                <a:xfrm>
                  <a:off x="10570796" y="3288946"/>
                  <a:ext cx="4027" cy="18526"/>
                </a:xfrm>
                <a:custGeom>
                  <a:avLst/>
                  <a:gdLst>
                    <a:gd name="connsiteX0" fmla="*/ 0 w 4027"/>
                    <a:gd name="connsiteY0" fmla="*/ 0 h 18526"/>
                    <a:gd name="connsiteX1" fmla="*/ 4028 w 4027"/>
                    <a:gd name="connsiteY1" fmla="*/ 18527 h 18526"/>
                  </a:gdLst>
                  <a:ahLst/>
                  <a:cxnLst>
                    <a:cxn ang="0">
                      <a:pos x="connsiteX0" y="connsiteY0"/>
                    </a:cxn>
                    <a:cxn ang="0">
                      <a:pos x="connsiteX1" y="connsiteY1"/>
                    </a:cxn>
                  </a:cxnLst>
                  <a:rect l="l" t="t" r="r" b="b"/>
                  <a:pathLst>
                    <a:path w="4027" h="18526">
                      <a:moveTo>
                        <a:pt x="0" y="0"/>
                      </a:moveTo>
                      <a:cubicBezTo>
                        <a:pt x="2417" y="5639"/>
                        <a:pt x="3222" y="12083"/>
                        <a:pt x="4028" y="18527"/>
                      </a:cubicBez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3" name="Freeform: Shape 74">
                  <a:extLst>
                    <a:ext uri="{FF2B5EF4-FFF2-40B4-BE49-F238E27FC236}">
                      <a16:creationId xmlns:a16="http://schemas.microsoft.com/office/drawing/2014/main" id="{49FE44F8-9FBC-4E5F-A40E-D5FEAC5EC293}"/>
                    </a:ext>
                  </a:extLst>
                </p:cNvPr>
                <p:cNvSpPr/>
                <p:nvPr/>
              </p:nvSpPr>
              <p:spPr>
                <a:xfrm>
                  <a:off x="10656188" y="3342112"/>
                  <a:ext cx="7249" cy="18526"/>
                </a:xfrm>
                <a:custGeom>
                  <a:avLst/>
                  <a:gdLst>
                    <a:gd name="connsiteX0" fmla="*/ 7250 w 7249"/>
                    <a:gd name="connsiteY0" fmla="*/ 0 h 18526"/>
                    <a:gd name="connsiteX1" fmla="*/ 0 w 7249"/>
                    <a:gd name="connsiteY1" fmla="*/ 18527 h 18526"/>
                  </a:gdLst>
                  <a:ahLst/>
                  <a:cxnLst>
                    <a:cxn ang="0">
                      <a:pos x="connsiteX0" y="connsiteY0"/>
                    </a:cxn>
                    <a:cxn ang="0">
                      <a:pos x="connsiteX1" y="connsiteY1"/>
                    </a:cxn>
                  </a:cxnLst>
                  <a:rect l="l" t="t" r="r" b="b"/>
                  <a:pathLst>
                    <a:path w="7249" h="18526">
                      <a:moveTo>
                        <a:pt x="7250" y="0"/>
                      </a:moveTo>
                      <a:cubicBezTo>
                        <a:pt x="5639" y="6444"/>
                        <a:pt x="3222" y="12888"/>
                        <a:pt x="0" y="18527"/>
                      </a:cubicBez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5" name="Freeform: Shape 75">
                  <a:extLst>
                    <a:ext uri="{FF2B5EF4-FFF2-40B4-BE49-F238E27FC236}">
                      <a16:creationId xmlns:a16="http://schemas.microsoft.com/office/drawing/2014/main" id="{FF2E8521-38A0-4A11-8143-685FC33D5838}"/>
                    </a:ext>
                  </a:extLst>
                </p:cNvPr>
                <p:cNvSpPr/>
                <p:nvPr/>
              </p:nvSpPr>
              <p:spPr>
                <a:xfrm>
                  <a:off x="10418569" y="3339394"/>
                  <a:ext cx="20943" cy="2718"/>
                </a:xfrm>
                <a:custGeom>
                  <a:avLst/>
                  <a:gdLst>
                    <a:gd name="connsiteX0" fmla="*/ 0 w 20943"/>
                    <a:gd name="connsiteY0" fmla="*/ 302 h 2718"/>
                    <a:gd name="connsiteX1" fmla="*/ 20943 w 20943"/>
                    <a:gd name="connsiteY1" fmla="*/ 2719 h 2718"/>
                  </a:gdLst>
                  <a:ahLst/>
                  <a:cxnLst>
                    <a:cxn ang="0">
                      <a:pos x="connsiteX0" y="connsiteY0"/>
                    </a:cxn>
                    <a:cxn ang="0">
                      <a:pos x="connsiteX1" y="connsiteY1"/>
                    </a:cxn>
                  </a:cxnLst>
                  <a:rect l="l" t="t" r="r" b="b"/>
                  <a:pathLst>
                    <a:path w="20943" h="2718">
                      <a:moveTo>
                        <a:pt x="0" y="302"/>
                      </a:moveTo>
                      <a:cubicBezTo>
                        <a:pt x="7250" y="-503"/>
                        <a:pt x="13694" y="302"/>
                        <a:pt x="20943" y="2719"/>
                      </a:cubicBez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6" name="Freeform: Shape 76">
                  <a:extLst>
                    <a:ext uri="{FF2B5EF4-FFF2-40B4-BE49-F238E27FC236}">
                      <a16:creationId xmlns:a16="http://schemas.microsoft.com/office/drawing/2014/main" id="{B81F8686-DD50-47C7-ABB1-339B26F87218}"/>
                    </a:ext>
                  </a:extLst>
                </p:cNvPr>
                <p:cNvSpPr/>
                <p:nvPr/>
              </p:nvSpPr>
              <p:spPr>
                <a:xfrm>
                  <a:off x="10551480" y="3371917"/>
                  <a:ext cx="80551" cy="104717"/>
                </a:xfrm>
                <a:custGeom>
                  <a:avLst/>
                  <a:gdLst>
                    <a:gd name="connsiteX0" fmla="*/ 0 w 80551"/>
                    <a:gd name="connsiteY0" fmla="*/ 0 h 104717"/>
                    <a:gd name="connsiteX1" fmla="*/ 80552 w 80551"/>
                    <a:gd name="connsiteY1" fmla="*/ 80552 h 104717"/>
                    <a:gd name="connsiteX2" fmla="*/ 80552 w 80551"/>
                    <a:gd name="connsiteY2" fmla="*/ 104717 h 104717"/>
                  </a:gdLst>
                  <a:ahLst/>
                  <a:cxnLst>
                    <a:cxn ang="0">
                      <a:pos x="connsiteX0" y="connsiteY0"/>
                    </a:cxn>
                    <a:cxn ang="0">
                      <a:pos x="connsiteX1" y="connsiteY1"/>
                    </a:cxn>
                    <a:cxn ang="0">
                      <a:pos x="connsiteX2" y="connsiteY2"/>
                    </a:cxn>
                  </a:cxnLst>
                  <a:rect l="l" t="t" r="r" b="b"/>
                  <a:pathLst>
                    <a:path w="80551" h="104717">
                      <a:moveTo>
                        <a:pt x="0" y="0"/>
                      </a:moveTo>
                      <a:cubicBezTo>
                        <a:pt x="44304" y="0"/>
                        <a:pt x="80552" y="36248"/>
                        <a:pt x="80552" y="80552"/>
                      </a:cubicBezTo>
                      <a:lnTo>
                        <a:pt x="80552" y="104717"/>
                      </a:lnTo>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7" name="Freeform: Shape 77">
                  <a:extLst>
                    <a:ext uri="{FF2B5EF4-FFF2-40B4-BE49-F238E27FC236}">
                      <a16:creationId xmlns:a16="http://schemas.microsoft.com/office/drawing/2014/main" id="{21A845DF-AED9-4151-8101-9BD06E7541FD}"/>
                    </a:ext>
                  </a:extLst>
                </p:cNvPr>
                <p:cNvSpPr/>
                <p:nvPr/>
              </p:nvSpPr>
              <p:spPr>
                <a:xfrm>
                  <a:off x="10551480" y="3492743"/>
                  <a:ext cx="70080" cy="40275"/>
                </a:xfrm>
                <a:custGeom>
                  <a:avLst/>
                  <a:gdLst>
                    <a:gd name="connsiteX0" fmla="*/ 70080 w 70080"/>
                    <a:gd name="connsiteY0" fmla="*/ 0 h 40275"/>
                    <a:gd name="connsiteX1" fmla="*/ 0 w 70080"/>
                    <a:gd name="connsiteY1" fmla="*/ 40276 h 40275"/>
                  </a:gdLst>
                  <a:ahLst/>
                  <a:cxnLst>
                    <a:cxn ang="0">
                      <a:pos x="connsiteX0" y="connsiteY0"/>
                    </a:cxn>
                    <a:cxn ang="0">
                      <a:pos x="connsiteX1" y="connsiteY1"/>
                    </a:cxn>
                  </a:cxnLst>
                  <a:rect l="l" t="t" r="r" b="b"/>
                  <a:pathLst>
                    <a:path w="70080" h="40275">
                      <a:moveTo>
                        <a:pt x="70080" y="0"/>
                      </a:moveTo>
                      <a:cubicBezTo>
                        <a:pt x="56386" y="24166"/>
                        <a:pt x="29804" y="40276"/>
                        <a:pt x="0" y="40276"/>
                      </a:cubicBezTo>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8" name="Freeform: Shape 78">
                  <a:extLst>
                    <a:ext uri="{FF2B5EF4-FFF2-40B4-BE49-F238E27FC236}">
                      <a16:creationId xmlns:a16="http://schemas.microsoft.com/office/drawing/2014/main" id="{26A874DC-D12B-46FE-AD26-5ABF92B06978}"/>
                    </a:ext>
                  </a:extLst>
                </p:cNvPr>
                <p:cNvSpPr/>
                <p:nvPr/>
              </p:nvSpPr>
              <p:spPr>
                <a:xfrm>
                  <a:off x="10607850" y="3452468"/>
                  <a:ext cx="48331" cy="24165"/>
                </a:xfrm>
                <a:custGeom>
                  <a:avLst/>
                  <a:gdLst>
                    <a:gd name="connsiteX0" fmla="*/ 48331 w 48331"/>
                    <a:gd name="connsiteY0" fmla="*/ 0 h 24165"/>
                    <a:gd name="connsiteX1" fmla="*/ 24166 w 48331"/>
                    <a:gd name="connsiteY1" fmla="*/ 24166 h 24165"/>
                    <a:gd name="connsiteX2" fmla="*/ 0 w 48331"/>
                    <a:gd name="connsiteY2" fmla="*/ 0 h 24165"/>
                  </a:gdLst>
                  <a:ahLst/>
                  <a:cxnLst>
                    <a:cxn ang="0">
                      <a:pos x="connsiteX0" y="connsiteY0"/>
                    </a:cxn>
                    <a:cxn ang="0">
                      <a:pos x="connsiteX1" y="connsiteY1"/>
                    </a:cxn>
                    <a:cxn ang="0">
                      <a:pos x="connsiteX2" y="connsiteY2"/>
                    </a:cxn>
                  </a:cxnLst>
                  <a:rect l="l" t="t" r="r" b="b"/>
                  <a:pathLst>
                    <a:path w="48331" h="24165">
                      <a:moveTo>
                        <a:pt x="48331" y="0"/>
                      </a:moveTo>
                      <a:lnTo>
                        <a:pt x="24166" y="24166"/>
                      </a:lnTo>
                      <a:lnTo>
                        <a:pt x="0" y="0"/>
                      </a:lnTo>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89" name="Freeform: Shape 79">
                  <a:extLst>
                    <a:ext uri="{FF2B5EF4-FFF2-40B4-BE49-F238E27FC236}">
                      <a16:creationId xmlns:a16="http://schemas.microsoft.com/office/drawing/2014/main" id="{CB896116-1A98-4E60-99FF-3BE629328416}"/>
                    </a:ext>
                  </a:extLst>
                </p:cNvPr>
                <p:cNvSpPr/>
                <p:nvPr/>
              </p:nvSpPr>
              <p:spPr>
                <a:xfrm>
                  <a:off x="10470912" y="3428302"/>
                  <a:ext cx="80551" cy="104717"/>
                </a:xfrm>
                <a:custGeom>
                  <a:avLst/>
                  <a:gdLst>
                    <a:gd name="connsiteX0" fmla="*/ 80552 w 80551"/>
                    <a:gd name="connsiteY0" fmla="*/ 104717 h 104717"/>
                    <a:gd name="connsiteX1" fmla="*/ 0 w 80551"/>
                    <a:gd name="connsiteY1" fmla="*/ 24166 h 104717"/>
                    <a:gd name="connsiteX2" fmla="*/ 0 w 80551"/>
                    <a:gd name="connsiteY2" fmla="*/ 0 h 104717"/>
                  </a:gdLst>
                  <a:ahLst/>
                  <a:cxnLst>
                    <a:cxn ang="0">
                      <a:pos x="connsiteX0" y="connsiteY0"/>
                    </a:cxn>
                    <a:cxn ang="0">
                      <a:pos x="connsiteX1" y="connsiteY1"/>
                    </a:cxn>
                    <a:cxn ang="0">
                      <a:pos x="connsiteX2" y="connsiteY2"/>
                    </a:cxn>
                  </a:cxnLst>
                  <a:rect l="l" t="t" r="r" b="b"/>
                  <a:pathLst>
                    <a:path w="80551" h="104717">
                      <a:moveTo>
                        <a:pt x="80552" y="104717"/>
                      </a:moveTo>
                      <a:cubicBezTo>
                        <a:pt x="36248" y="104717"/>
                        <a:pt x="0" y="68469"/>
                        <a:pt x="0" y="24166"/>
                      </a:cubicBezTo>
                      <a:lnTo>
                        <a:pt x="0" y="0"/>
                      </a:lnTo>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0" name="Freeform: Shape 80">
                  <a:extLst>
                    <a:ext uri="{FF2B5EF4-FFF2-40B4-BE49-F238E27FC236}">
                      <a16:creationId xmlns:a16="http://schemas.microsoft.com/office/drawing/2014/main" id="{27AC7F2D-7A29-4A1A-A641-18F8D5EB3E10}"/>
                    </a:ext>
                  </a:extLst>
                </p:cNvPr>
                <p:cNvSpPr/>
                <p:nvPr/>
              </p:nvSpPr>
              <p:spPr>
                <a:xfrm>
                  <a:off x="10481397" y="3371908"/>
                  <a:ext cx="70080" cy="40274"/>
                </a:xfrm>
                <a:custGeom>
                  <a:avLst/>
                  <a:gdLst>
                    <a:gd name="connsiteX0" fmla="*/ 0 w 70080"/>
                    <a:gd name="connsiteY0" fmla="*/ 40276 h 40275"/>
                    <a:gd name="connsiteX1" fmla="*/ 70080 w 70080"/>
                    <a:gd name="connsiteY1" fmla="*/ 0 h 40275"/>
                  </a:gdLst>
                  <a:ahLst/>
                  <a:cxnLst>
                    <a:cxn ang="0">
                      <a:pos x="connsiteX0" y="connsiteY0"/>
                    </a:cxn>
                    <a:cxn ang="0">
                      <a:pos x="connsiteX1" y="connsiteY1"/>
                    </a:cxn>
                  </a:cxnLst>
                  <a:rect l="l" t="t" r="r" b="b"/>
                  <a:pathLst>
                    <a:path w="70080" h="40275">
                      <a:moveTo>
                        <a:pt x="0" y="40276"/>
                      </a:moveTo>
                      <a:cubicBezTo>
                        <a:pt x="13694" y="16110"/>
                        <a:pt x="40276" y="0"/>
                        <a:pt x="70080" y="0"/>
                      </a:cubicBezTo>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1" name="Freeform: Shape 81">
                  <a:extLst>
                    <a:ext uri="{FF2B5EF4-FFF2-40B4-BE49-F238E27FC236}">
                      <a16:creationId xmlns:a16="http://schemas.microsoft.com/office/drawing/2014/main" id="{0FA4BB5F-AC94-41C2-B00A-F241814AFE54}"/>
                    </a:ext>
                  </a:extLst>
                </p:cNvPr>
                <p:cNvSpPr/>
                <p:nvPr/>
              </p:nvSpPr>
              <p:spPr>
                <a:xfrm>
                  <a:off x="10446769" y="3428317"/>
                  <a:ext cx="48331" cy="24165"/>
                </a:xfrm>
                <a:custGeom>
                  <a:avLst/>
                  <a:gdLst>
                    <a:gd name="connsiteX0" fmla="*/ 0 w 48331"/>
                    <a:gd name="connsiteY0" fmla="*/ 24166 h 24165"/>
                    <a:gd name="connsiteX1" fmla="*/ 24166 w 48331"/>
                    <a:gd name="connsiteY1" fmla="*/ 0 h 24165"/>
                    <a:gd name="connsiteX2" fmla="*/ 48331 w 48331"/>
                    <a:gd name="connsiteY2" fmla="*/ 24166 h 24165"/>
                  </a:gdLst>
                  <a:ahLst/>
                  <a:cxnLst>
                    <a:cxn ang="0">
                      <a:pos x="connsiteX0" y="connsiteY0"/>
                    </a:cxn>
                    <a:cxn ang="0">
                      <a:pos x="connsiteX1" y="connsiteY1"/>
                    </a:cxn>
                    <a:cxn ang="0">
                      <a:pos x="connsiteX2" y="connsiteY2"/>
                    </a:cxn>
                  </a:cxnLst>
                  <a:rect l="l" t="t" r="r" b="b"/>
                  <a:pathLst>
                    <a:path w="48331" h="24165">
                      <a:moveTo>
                        <a:pt x="0" y="24166"/>
                      </a:moveTo>
                      <a:lnTo>
                        <a:pt x="24166" y="0"/>
                      </a:lnTo>
                      <a:lnTo>
                        <a:pt x="48331" y="24166"/>
                      </a:lnTo>
                    </a:path>
                  </a:pathLst>
                </a:custGeom>
                <a:noFill/>
                <a:ln w="15875" cap="flat">
                  <a:solidFill>
                    <a:schemeClr val="tx1">
                      <a:lumMod val="75000"/>
                    </a:schemeClr>
                  </a:solidFill>
                  <a:prstDash val="solid"/>
                  <a:round/>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grpSp>
          <p:sp>
            <p:nvSpPr>
              <p:cNvPr id="379" name="Oval 378">
                <a:extLst>
                  <a:ext uri="{FF2B5EF4-FFF2-40B4-BE49-F238E27FC236}">
                    <a16:creationId xmlns:a16="http://schemas.microsoft.com/office/drawing/2014/main" id="{763A7B7C-68B1-43D5-8818-8207362A2C44}"/>
                  </a:ext>
                </a:extLst>
              </p:cNvPr>
              <p:cNvSpPr/>
              <p:nvPr/>
            </p:nvSpPr>
            <p:spPr bwMode="auto">
              <a:xfrm>
                <a:off x="8709078" y="114020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a:lnSpc>
                    <a:spcPct val="80000"/>
                  </a:lnSpc>
                  <a:spcBef>
                    <a:spcPts val="1200"/>
                  </a:spcBef>
                  <a:buClr>
                    <a:srgbClr val="FF0000"/>
                  </a:buClr>
                  <a:buSzPct val="115000"/>
                  <a:defRPr/>
                </a:pPr>
                <a:endParaRPr lang="en-US" kern="1200" dirty="0">
                  <a:solidFill>
                    <a:srgbClr val="4D4D4F"/>
                  </a:solidFill>
                  <a:latin typeface="Calibri"/>
                  <a:ea typeface="+mn-ea"/>
                  <a:cs typeface="Calibri" panose="020F0502020204030204" pitchFamily="34" charset="0"/>
                </a:endParaRPr>
              </a:p>
            </p:txBody>
          </p:sp>
        </p:grpSp>
      </p:grpSp>
      <p:grpSp>
        <p:nvGrpSpPr>
          <p:cNvPr id="5" name="Group 4"/>
          <p:cNvGrpSpPr/>
          <p:nvPr/>
        </p:nvGrpSpPr>
        <p:grpSpPr>
          <a:xfrm>
            <a:off x="9482843" y="1324282"/>
            <a:ext cx="1995109" cy="609789"/>
            <a:chOff x="9688516" y="2966720"/>
            <a:chExt cx="1996149" cy="610107"/>
          </a:xfrm>
        </p:grpSpPr>
        <p:sp>
          <p:nvSpPr>
            <p:cNvPr id="194" name="Rectangle: Rounded Corners 193">
              <a:extLst>
                <a:ext uri="{FF2B5EF4-FFF2-40B4-BE49-F238E27FC236}">
                  <a16:creationId xmlns:a16="http://schemas.microsoft.com/office/drawing/2014/main" id="{20BE177B-3FCA-49C0-88C7-F5C55DC47EF5}"/>
                </a:ext>
              </a:extLst>
            </p:cNvPr>
            <p:cNvSpPr/>
            <p:nvPr/>
          </p:nvSpPr>
          <p:spPr bwMode="auto">
            <a:xfrm>
              <a:off x="9688516" y="2966720"/>
              <a:ext cx="1996149" cy="610107"/>
            </a:xfrm>
            <a:prstGeom prst="roundRect">
              <a:avLst/>
            </a:prstGeom>
            <a:gradFill flip="none" rotWithShape="1">
              <a:gsLst>
                <a:gs pos="100000">
                  <a:schemeClr val="bg1">
                    <a:lumMod val="85000"/>
                  </a:schemeClr>
                </a:gs>
                <a:gs pos="0">
                  <a:schemeClr val="bg1"/>
                </a:gs>
              </a:gsLst>
              <a:lin ang="13500000" scaled="1"/>
              <a:tileRect/>
            </a:gradFill>
            <a:ln w="57150" algn="ctr">
              <a:solidFill>
                <a:schemeClr val="accent1"/>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grpSp>
          <p:nvGrpSpPr>
            <p:cNvPr id="392" name="Group 391">
              <a:extLst>
                <a:ext uri="{FF2B5EF4-FFF2-40B4-BE49-F238E27FC236}">
                  <a16:creationId xmlns:a16="http://schemas.microsoft.com/office/drawing/2014/main" id="{42FF0A0B-CFEF-489D-AAF4-BE77840503E3}"/>
                </a:ext>
              </a:extLst>
            </p:cNvPr>
            <p:cNvGrpSpPr/>
            <p:nvPr/>
          </p:nvGrpSpPr>
          <p:grpSpPr>
            <a:xfrm>
              <a:off x="9871815" y="3024347"/>
              <a:ext cx="1812845" cy="511474"/>
              <a:chOff x="6033979" y="1347240"/>
              <a:chExt cx="1813317" cy="511607"/>
            </a:xfrm>
          </p:grpSpPr>
          <p:sp>
            <p:nvSpPr>
              <p:cNvPr id="393" name="TextBox 392">
                <a:extLst>
                  <a:ext uri="{FF2B5EF4-FFF2-40B4-BE49-F238E27FC236}">
                    <a16:creationId xmlns:a16="http://schemas.microsoft.com/office/drawing/2014/main" id="{F77BA6B0-F0C8-4094-9D69-EA22211F0930}"/>
                  </a:ext>
                </a:extLst>
              </p:cNvPr>
              <p:cNvSpPr txBox="1"/>
              <p:nvPr/>
            </p:nvSpPr>
            <p:spPr bwMode="auto">
              <a:xfrm>
                <a:off x="6382142" y="1440597"/>
                <a:ext cx="1465154" cy="307777"/>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WWW</a:t>
                </a:r>
              </a:p>
            </p:txBody>
          </p:sp>
          <p:sp>
            <p:nvSpPr>
              <p:cNvPr id="394" name="Freeform: Shape 29">
                <a:extLst>
                  <a:ext uri="{FF2B5EF4-FFF2-40B4-BE49-F238E27FC236}">
                    <a16:creationId xmlns:a16="http://schemas.microsoft.com/office/drawing/2014/main" id="{9944BD7E-9B93-4FA0-A158-A3B3CD25F529}"/>
                  </a:ext>
                </a:extLst>
              </p:cNvPr>
              <p:cNvSpPr/>
              <p:nvPr/>
            </p:nvSpPr>
            <p:spPr>
              <a:xfrm>
                <a:off x="6309164" y="1409522"/>
                <a:ext cx="91728" cy="54496"/>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5" name="Freeform: Shape 30">
                <a:extLst>
                  <a:ext uri="{FF2B5EF4-FFF2-40B4-BE49-F238E27FC236}">
                    <a16:creationId xmlns:a16="http://schemas.microsoft.com/office/drawing/2014/main" id="{6EC57326-56D8-4EF3-821A-CEE9EF95A197}"/>
                  </a:ext>
                </a:extLst>
              </p:cNvPr>
              <p:cNvSpPr/>
              <p:nvPr/>
            </p:nvSpPr>
            <p:spPr>
              <a:xfrm>
                <a:off x="6447876" y="1547434"/>
                <a:ext cx="11186" cy="111219"/>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6" name="Freeform: Shape 31">
                <a:extLst>
                  <a:ext uri="{FF2B5EF4-FFF2-40B4-BE49-F238E27FC236}">
                    <a16:creationId xmlns:a16="http://schemas.microsoft.com/office/drawing/2014/main" id="{B272364B-F875-4B3A-BB91-292796089377}"/>
                  </a:ext>
                </a:extLst>
              </p:cNvPr>
              <p:cNvSpPr/>
              <p:nvPr/>
            </p:nvSpPr>
            <p:spPr>
              <a:xfrm>
                <a:off x="6067538" y="1547434"/>
                <a:ext cx="11186" cy="111219"/>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7" name="Freeform: Shape 32">
                <a:extLst>
                  <a:ext uri="{FF2B5EF4-FFF2-40B4-BE49-F238E27FC236}">
                    <a16:creationId xmlns:a16="http://schemas.microsoft.com/office/drawing/2014/main" id="{2A74E3AA-5E29-4CA1-B687-44FCD4124974}"/>
                  </a:ext>
                </a:extLst>
              </p:cNvPr>
              <p:cNvSpPr/>
              <p:nvPr/>
            </p:nvSpPr>
            <p:spPr>
              <a:xfrm>
                <a:off x="6114522" y="1409522"/>
                <a:ext cx="91729" cy="54496"/>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8" name="Freeform: Shape 33">
                <a:extLst>
                  <a:ext uri="{FF2B5EF4-FFF2-40B4-BE49-F238E27FC236}">
                    <a16:creationId xmlns:a16="http://schemas.microsoft.com/office/drawing/2014/main" id="{5C467E6E-135D-46DB-BC9B-C134D9464C75}"/>
                  </a:ext>
                </a:extLst>
              </p:cNvPr>
              <p:cNvSpPr/>
              <p:nvPr/>
            </p:nvSpPr>
            <p:spPr>
              <a:xfrm>
                <a:off x="6309164" y="1743180"/>
                <a:ext cx="91728" cy="54496"/>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99" name="Freeform: Shape 34">
                <a:extLst>
                  <a:ext uri="{FF2B5EF4-FFF2-40B4-BE49-F238E27FC236}">
                    <a16:creationId xmlns:a16="http://schemas.microsoft.com/office/drawing/2014/main" id="{E63AB3AF-3392-479D-830B-128AD866E6BA}"/>
                  </a:ext>
                </a:extLst>
              </p:cNvPr>
              <p:cNvSpPr/>
              <p:nvPr/>
            </p:nvSpPr>
            <p:spPr>
              <a:xfrm>
                <a:off x="6114522" y="1743180"/>
                <a:ext cx="91729" cy="54496"/>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0" name="Freeform: Shape 35">
                <a:extLst>
                  <a:ext uri="{FF2B5EF4-FFF2-40B4-BE49-F238E27FC236}">
                    <a16:creationId xmlns:a16="http://schemas.microsoft.com/office/drawing/2014/main" id="{994C1072-41E1-42D0-9ECE-C95141C71F00}"/>
                  </a:ext>
                </a:extLst>
              </p:cNvPr>
              <p:cNvSpPr/>
              <p:nvPr/>
            </p:nvSpPr>
            <p:spPr>
              <a:xfrm>
                <a:off x="6224148" y="1347240"/>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1" name="Freeform: Shape 36">
                <a:extLst>
                  <a:ext uri="{FF2B5EF4-FFF2-40B4-BE49-F238E27FC236}">
                    <a16:creationId xmlns:a16="http://schemas.microsoft.com/office/drawing/2014/main" id="{9641CC1E-03E0-446D-83C5-F9BC662B5838}"/>
                  </a:ext>
                </a:extLst>
              </p:cNvPr>
              <p:cNvSpPr/>
              <p:nvPr/>
            </p:nvSpPr>
            <p:spPr>
              <a:xfrm>
                <a:off x="6224087" y="1792116"/>
                <a:ext cx="67238" cy="66731"/>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2" name="Freeform: Shape 37">
                <a:extLst>
                  <a:ext uri="{FF2B5EF4-FFF2-40B4-BE49-F238E27FC236}">
                    <a16:creationId xmlns:a16="http://schemas.microsoft.com/office/drawing/2014/main" id="{38077D82-7E41-4ECC-A30E-462FC825657B}"/>
                  </a:ext>
                </a:extLst>
              </p:cNvPr>
              <p:cNvSpPr/>
              <p:nvPr/>
            </p:nvSpPr>
            <p:spPr>
              <a:xfrm>
                <a:off x="6414317"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3" name="Freeform: Shape 38">
                <a:extLst>
                  <a:ext uri="{FF2B5EF4-FFF2-40B4-BE49-F238E27FC236}">
                    <a16:creationId xmlns:a16="http://schemas.microsoft.com/office/drawing/2014/main" id="{70F87242-66D2-4C92-866C-D4EB854A6F9F}"/>
                  </a:ext>
                </a:extLst>
              </p:cNvPr>
              <p:cNvSpPr/>
              <p:nvPr/>
            </p:nvSpPr>
            <p:spPr>
              <a:xfrm>
                <a:off x="6033979"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4" name="Freeform: Shape 39">
                <a:extLst>
                  <a:ext uri="{FF2B5EF4-FFF2-40B4-BE49-F238E27FC236}">
                    <a16:creationId xmlns:a16="http://schemas.microsoft.com/office/drawing/2014/main" id="{A470986A-7961-4CBA-ABA9-70AFCC95C32D}"/>
                  </a:ext>
                </a:extLst>
              </p:cNvPr>
              <p:cNvSpPr/>
              <p:nvPr/>
            </p:nvSpPr>
            <p:spPr>
              <a:xfrm>
                <a:off x="6033979"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5" name="Freeform: Shape 40">
                <a:extLst>
                  <a:ext uri="{FF2B5EF4-FFF2-40B4-BE49-F238E27FC236}">
                    <a16:creationId xmlns:a16="http://schemas.microsoft.com/office/drawing/2014/main" id="{40F2ADF2-0E1F-408A-BDED-CB6AB1A3E8B3}"/>
                  </a:ext>
                </a:extLst>
              </p:cNvPr>
              <p:cNvSpPr/>
              <p:nvPr/>
            </p:nvSpPr>
            <p:spPr>
              <a:xfrm>
                <a:off x="6123470" y="1469581"/>
                <a:ext cx="268474" cy="266926"/>
              </a:xfrm>
              <a:custGeom>
                <a:avLst/>
                <a:gdLst>
                  <a:gd name="connsiteX0" fmla="*/ 114300 w 228600"/>
                  <a:gd name="connsiteY0" fmla="*/ 228600 h 228600"/>
                  <a:gd name="connsiteX1" fmla="*/ 228600 w 228600"/>
                  <a:gd name="connsiteY1" fmla="*/ 114300 h 228600"/>
                  <a:gd name="connsiteX2" fmla="*/ 114300 w 228600"/>
                  <a:gd name="connsiteY2" fmla="*/ 0 h 228600"/>
                  <a:gd name="connsiteX3" fmla="*/ 0 w 228600"/>
                  <a:gd name="connsiteY3" fmla="*/ 114300 h 228600"/>
                  <a:gd name="connsiteX4" fmla="*/ 114300 w 228600"/>
                  <a:gd name="connsiteY4" fmla="*/ 2286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228600"/>
                    </a:moveTo>
                    <a:cubicBezTo>
                      <a:pt x="177165" y="228600"/>
                      <a:pt x="228600" y="177165"/>
                      <a:pt x="228600" y="114300"/>
                    </a:cubicBezTo>
                    <a:cubicBezTo>
                      <a:pt x="228600" y="51435"/>
                      <a:pt x="177165" y="0"/>
                      <a:pt x="114300" y="0"/>
                    </a:cubicBezTo>
                    <a:cubicBezTo>
                      <a:pt x="51435" y="0"/>
                      <a:pt x="0" y="51435"/>
                      <a:pt x="0" y="114300"/>
                    </a:cubicBezTo>
                    <a:cubicBezTo>
                      <a:pt x="0" y="177165"/>
                      <a:pt x="51435" y="228600"/>
                      <a:pt x="114300" y="228600"/>
                    </a:cubicBezTo>
                    <a:close/>
                  </a:path>
                </a:pathLst>
              </a:custGeom>
              <a:solidFill>
                <a:schemeClr val="bg1"/>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6" name="Freeform: Shape 41">
                <a:extLst>
                  <a:ext uri="{FF2B5EF4-FFF2-40B4-BE49-F238E27FC236}">
                    <a16:creationId xmlns:a16="http://schemas.microsoft.com/office/drawing/2014/main" id="{4E31B966-4FA2-47C3-ADC6-1D1C48D2D576}"/>
                  </a:ext>
                </a:extLst>
              </p:cNvPr>
              <p:cNvSpPr/>
              <p:nvPr/>
            </p:nvSpPr>
            <p:spPr>
              <a:xfrm>
                <a:off x="6190589" y="1469581"/>
                <a:ext cx="134237" cy="266926"/>
              </a:xfrm>
              <a:custGeom>
                <a:avLst/>
                <a:gdLst>
                  <a:gd name="connsiteX0" fmla="*/ 57150 w 114300"/>
                  <a:gd name="connsiteY0" fmla="*/ 0 h 228600"/>
                  <a:gd name="connsiteX1" fmla="*/ 0 w 114300"/>
                  <a:gd name="connsiteY1" fmla="*/ 114300 h 228600"/>
                  <a:gd name="connsiteX2" fmla="*/ 57150 w 114300"/>
                  <a:gd name="connsiteY2" fmla="*/ 228600 h 228600"/>
                  <a:gd name="connsiteX3" fmla="*/ 114300 w 114300"/>
                  <a:gd name="connsiteY3" fmla="*/ 114300 h 228600"/>
                  <a:gd name="connsiteX4" fmla="*/ 57150 w 1143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28600">
                    <a:moveTo>
                      <a:pt x="57150" y="0"/>
                    </a:moveTo>
                    <a:cubicBezTo>
                      <a:pt x="25718" y="0"/>
                      <a:pt x="0" y="51435"/>
                      <a:pt x="0" y="114300"/>
                    </a:cubicBezTo>
                    <a:cubicBezTo>
                      <a:pt x="0" y="177165"/>
                      <a:pt x="25718" y="228600"/>
                      <a:pt x="57150" y="228600"/>
                    </a:cubicBezTo>
                    <a:cubicBezTo>
                      <a:pt x="88582" y="228600"/>
                      <a:pt x="114300" y="177165"/>
                      <a:pt x="114300" y="114300"/>
                    </a:cubicBezTo>
                    <a:cubicBezTo>
                      <a:pt x="114300" y="51435"/>
                      <a:pt x="88582" y="0"/>
                      <a:pt x="57150" y="0"/>
                    </a:cubicBezTo>
                    <a:close/>
                  </a:path>
                </a:pathLst>
              </a:custGeom>
              <a:no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7" name="Freeform: Shape 42">
                <a:extLst>
                  <a:ext uri="{FF2B5EF4-FFF2-40B4-BE49-F238E27FC236}">
                    <a16:creationId xmlns:a16="http://schemas.microsoft.com/office/drawing/2014/main" id="{24C16153-6934-467A-84C4-C89B84623FF2}"/>
                  </a:ext>
                </a:extLst>
              </p:cNvPr>
              <p:cNvSpPr/>
              <p:nvPr/>
            </p:nvSpPr>
            <p:spPr>
              <a:xfrm>
                <a:off x="6134656" y="1558556"/>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8" name="Freeform: Shape 43">
                <a:extLst>
                  <a:ext uri="{FF2B5EF4-FFF2-40B4-BE49-F238E27FC236}">
                    <a16:creationId xmlns:a16="http://schemas.microsoft.com/office/drawing/2014/main" id="{91840EE9-27D2-4EDB-87B9-BEC38AF11DBF}"/>
                  </a:ext>
                </a:extLst>
              </p:cNvPr>
              <p:cNvSpPr/>
              <p:nvPr/>
            </p:nvSpPr>
            <p:spPr>
              <a:xfrm>
                <a:off x="6134656" y="1647532"/>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09" name="Freeform: Shape 44">
                <a:extLst>
                  <a:ext uri="{FF2B5EF4-FFF2-40B4-BE49-F238E27FC236}">
                    <a16:creationId xmlns:a16="http://schemas.microsoft.com/office/drawing/2014/main" id="{5637FA39-9EE5-42BD-BC7E-DB87A41570B9}"/>
                  </a:ext>
                </a:extLst>
              </p:cNvPr>
              <p:cNvSpPr/>
              <p:nvPr/>
            </p:nvSpPr>
            <p:spPr>
              <a:xfrm>
                <a:off x="6257707" y="1469581"/>
                <a:ext cx="11186" cy="266926"/>
              </a:xfrm>
              <a:custGeom>
                <a:avLst/>
                <a:gdLst>
                  <a:gd name="connsiteX0" fmla="*/ 0 w 9525"/>
                  <a:gd name="connsiteY0" fmla="*/ 0 h 228600"/>
                  <a:gd name="connsiteX1" fmla="*/ 0 w 9525"/>
                  <a:gd name="connsiteY1" fmla="*/ 228600 h 228600"/>
                </a:gdLst>
                <a:ahLst/>
                <a:cxnLst>
                  <a:cxn ang="0">
                    <a:pos x="connsiteX0" y="connsiteY0"/>
                  </a:cxn>
                  <a:cxn ang="0">
                    <a:pos x="connsiteX1" y="connsiteY1"/>
                  </a:cxn>
                </a:cxnLst>
                <a:rect l="l" t="t" r="r" b="b"/>
                <a:pathLst>
                  <a:path w="9525" h="228600">
                    <a:moveTo>
                      <a:pt x="0" y="0"/>
                    </a:moveTo>
                    <a:lnTo>
                      <a:pt x="0" y="22860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0" name="Freeform: Shape 45">
                <a:extLst>
                  <a:ext uri="{FF2B5EF4-FFF2-40B4-BE49-F238E27FC236}">
                    <a16:creationId xmlns:a16="http://schemas.microsoft.com/office/drawing/2014/main" id="{96C2CFF1-7644-497B-A31F-D64F86AD6063}"/>
                  </a:ext>
                </a:extLst>
              </p:cNvPr>
              <p:cNvSpPr/>
              <p:nvPr/>
            </p:nvSpPr>
            <p:spPr>
              <a:xfrm>
                <a:off x="6096623" y="1678673"/>
                <a:ext cx="25728" cy="1668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1" name="Freeform: Shape 46">
                <a:extLst>
                  <a:ext uri="{FF2B5EF4-FFF2-40B4-BE49-F238E27FC236}">
                    <a16:creationId xmlns:a16="http://schemas.microsoft.com/office/drawing/2014/main" id="{22E3463B-86CB-4E0E-8776-60C8595739BD}"/>
                  </a:ext>
                </a:extLst>
              </p:cNvPr>
              <p:cNvSpPr/>
              <p:nvPr/>
            </p:nvSpPr>
            <p:spPr>
              <a:xfrm>
                <a:off x="6393062" y="1678673"/>
                <a:ext cx="24609" cy="1668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2" name="Freeform: Shape 47">
                <a:extLst>
                  <a:ext uri="{FF2B5EF4-FFF2-40B4-BE49-F238E27FC236}">
                    <a16:creationId xmlns:a16="http://schemas.microsoft.com/office/drawing/2014/main" id="{C663E5FA-A946-49ED-B156-2EF5ABA70D2E}"/>
                  </a:ext>
                </a:extLst>
              </p:cNvPr>
              <p:cNvSpPr/>
              <p:nvPr/>
            </p:nvSpPr>
            <p:spPr>
              <a:xfrm>
                <a:off x="6393062" y="1510731"/>
                <a:ext cx="24609" cy="1668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3" name="Freeform: Shape 48">
                <a:extLst>
                  <a:ext uri="{FF2B5EF4-FFF2-40B4-BE49-F238E27FC236}">
                    <a16:creationId xmlns:a16="http://schemas.microsoft.com/office/drawing/2014/main" id="{19817207-07CA-469D-9B7F-62431848C245}"/>
                  </a:ext>
                </a:extLst>
              </p:cNvPr>
              <p:cNvSpPr/>
              <p:nvPr/>
            </p:nvSpPr>
            <p:spPr>
              <a:xfrm>
                <a:off x="6096623" y="1510731"/>
                <a:ext cx="25728" cy="1668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4" name="Freeform: Shape 49">
                <a:extLst>
                  <a:ext uri="{FF2B5EF4-FFF2-40B4-BE49-F238E27FC236}">
                    <a16:creationId xmlns:a16="http://schemas.microsoft.com/office/drawing/2014/main" id="{0CB100A4-BF60-49A1-AA43-83D07B0E62DB}"/>
                  </a:ext>
                </a:extLst>
              </p:cNvPr>
              <p:cNvSpPr/>
              <p:nvPr/>
            </p:nvSpPr>
            <p:spPr>
              <a:xfrm>
                <a:off x="6414317"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5" name="Freeform: Shape 50">
                <a:extLst>
                  <a:ext uri="{FF2B5EF4-FFF2-40B4-BE49-F238E27FC236}">
                    <a16:creationId xmlns:a16="http://schemas.microsoft.com/office/drawing/2014/main" id="{E20B8C80-0DB2-465A-A11C-4A6CCC1EEDDF}"/>
                  </a:ext>
                </a:extLst>
              </p:cNvPr>
              <p:cNvSpPr/>
              <p:nvPr/>
            </p:nvSpPr>
            <p:spPr>
              <a:xfrm>
                <a:off x="6257707" y="1413971"/>
                <a:ext cx="11186" cy="3336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416" name="Freeform: Shape 51">
                <a:extLst>
                  <a:ext uri="{FF2B5EF4-FFF2-40B4-BE49-F238E27FC236}">
                    <a16:creationId xmlns:a16="http://schemas.microsoft.com/office/drawing/2014/main" id="{F2A7C72E-F59C-4D59-B311-688A0621899D}"/>
                  </a:ext>
                </a:extLst>
              </p:cNvPr>
              <p:cNvSpPr/>
              <p:nvPr/>
            </p:nvSpPr>
            <p:spPr>
              <a:xfrm>
                <a:off x="6257707" y="1758751"/>
                <a:ext cx="11186" cy="3336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grpSp>
      </p:grpSp>
      <p:grpSp>
        <p:nvGrpSpPr>
          <p:cNvPr id="11" name="Group 10"/>
          <p:cNvGrpSpPr/>
          <p:nvPr/>
        </p:nvGrpSpPr>
        <p:grpSpPr>
          <a:xfrm>
            <a:off x="9482842" y="5453818"/>
            <a:ext cx="2046956" cy="609789"/>
            <a:chOff x="9673791" y="5082071"/>
            <a:chExt cx="2023634" cy="610107"/>
          </a:xfrm>
        </p:grpSpPr>
        <p:sp>
          <p:nvSpPr>
            <p:cNvPr id="418" name="Rectangle: Rounded Corners 417">
              <a:extLst>
                <a:ext uri="{FF2B5EF4-FFF2-40B4-BE49-F238E27FC236}">
                  <a16:creationId xmlns:a16="http://schemas.microsoft.com/office/drawing/2014/main" id="{C46A7504-1C41-4EC9-8E5D-820CA9CF0628}"/>
                </a:ext>
              </a:extLst>
            </p:cNvPr>
            <p:cNvSpPr/>
            <p:nvPr/>
          </p:nvSpPr>
          <p:spPr bwMode="auto">
            <a:xfrm>
              <a:off x="9673791" y="5082071"/>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grpSp>
          <p:nvGrpSpPr>
            <p:cNvPr id="419" name="Group 418">
              <a:extLst>
                <a:ext uri="{FF2B5EF4-FFF2-40B4-BE49-F238E27FC236}">
                  <a16:creationId xmlns:a16="http://schemas.microsoft.com/office/drawing/2014/main" id="{37A10922-E7CE-4EDC-A190-08842B11D4D7}"/>
                </a:ext>
              </a:extLst>
            </p:cNvPr>
            <p:cNvGrpSpPr/>
            <p:nvPr/>
          </p:nvGrpSpPr>
          <p:grpSpPr>
            <a:xfrm>
              <a:off x="9832675" y="5155486"/>
              <a:ext cx="447339" cy="511475"/>
              <a:chOff x="2602899" y="5149856"/>
              <a:chExt cx="440082" cy="506093"/>
            </a:xfrm>
          </p:grpSpPr>
          <p:sp>
            <p:nvSpPr>
              <p:cNvPr id="420" name="Freeform: Shape 29">
                <a:extLst>
                  <a:ext uri="{FF2B5EF4-FFF2-40B4-BE49-F238E27FC236}">
                    <a16:creationId xmlns:a16="http://schemas.microsoft.com/office/drawing/2014/main" id="{8245B637-CA34-42CD-AF1E-60682DA7890F}"/>
                  </a:ext>
                </a:extLst>
              </p:cNvPr>
              <p:cNvSpPr/>
              <p:nvPr/>
            </p:nvSpPr>
            <p:spPr>
              <a:xfrm>
                <a:off x="2873549" y="5211467"/>
                <a:ext cx="90216" cy="53909"/>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1" name="Freeform: Shape 30">
                <a:extLst>
                  <a:ext uri="{FF2B5EF4-FFF2-40B4-BE49-F238E27FC236}">
                    <a16:creationId xmlns:a16="http://schemas.microsoft.com/office/drawing/2014/main" id="{C32D1BDB-032B-4DED-A2DA-6FE4C7EE49EA}"/>
                  </a:ext>
                </a:extLst>
              </p:cNvPr>
              <p:cNvSpPr/>
              <p:nvPr/>
            </p:nvSpPr>
            <p:spPr>
              <a:xfrm>
                <a:off x="3009975" y="5347892"/>
                <a:ext cx="11002" cy="110020"/>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2" name="Freeform: Shape 31">
                <a:extLst>
                  <a:ext uri="{FF2B5EF4-FFF2-40B4-BE49-F238E27FC236}">
                    <a16:creationId xmlns:a16="http://schemas.microsoft.com/office/drawing/2014/main" id="{5284D388-056E-49FF-AD65-C854200F3098}"/>
                  </a:ext>
                </a:extLst>
              </p:cNvPr>
              <p:cNvSpPr/>
              <p:nvPr/>
            </p:nvSpPr>
            <p:spPr>
              <a:xfrm>
                <a:off x="2635905" y="5347892"/>
                <a:ext cx="11002" cy="110020"/>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3" name="Freeform: Shape 32">
                <a:extLst>
                  <a:ext uri="{FF2B5EF4-FFF2-40B4-BE49-F238E27FC236}">
                    <a16:creationId xmlns:a16="http://schemas.microsoft.com/office/drawing/2014/main" id="{A21C3D99-DCEE-48F7-B7EE-587A57901359}"/>
                  </a:ext>
                </a:extLst>
              </p:cNvPr>
              <p:cNvSpPr/>
              <p:nvPr/>
            </p:nvSpPr>
            <p:spPr>
              <a:xfrm>
                <a:off x="2682114" y="5211467"/>
                <a:ext cx="90217" cy="53909"/>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4" name="Freeform: Shape 33">
                <a:extLst>
                  <a:ext uri="{FF2B5EF4-FFF2-40B4-BE49-F238E27FC236}">
                    <a16:creationId xmlns:a16="http://schemas.microsoft.com/office/drawing/2014/main" id="{4A7C643C-B416-4A72-A58C-76CA48DFB22F}"/>
                  </a:ext>
                </a:extLst>
              </p:cNvPr>
              <p:cNvSpPr/>
              <p:nvPr/>
            </p:nvSpPr>
            <p:spPr>
              <a:xfrm>
                <a:off x="2873549" y="5541528"/>
                <a:ext cx="90216" cy="53909"/>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5" name="Freeform: Shape 34">
                <a:extLst>
                  <a:ext uri="{FF2B5EF4-FFF2-40B4-BE49-F238E27FC236}">
                    <a16:creationId xmlns:a16="http://schemas.microsoft.com/office/drawing/2014/main" id="{C2DC16D5-BE4D-4907-93D8-E3FB88470157}"/>
                  </a:ext>
                </a:extLst>
              </p:cNvPr>
              <p:cNvSpPr/>
              <p:nvPr/>
            </p:nvSpPr>
            <p:spPr>
              <a:xfrm>
                <a:off x="2682114" y="5541528"/>
                <a:ext cx="90217" cy="53909"/>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6" name="Freeform: Shape 35">
                <a:extLst>
                  <a:ext uri="{FF2B5EF4-FFF2-40B4-BE49-F238E27FC236}">
                    <a16:creationId xmlns:a16="http://schemas.microsoft.com/office/drawing/2014/main" id="{CB45A2DD-82D2-4A0B-8DEB-A469A0477CAA}"/>
                  </a:ext>
                </a:extLst>
              </p:cNvPr>
              <p:cNvSpPr/>
              <p:nvPr/>
            </p:nvSpPr>
            <p:spPr>
              <a:xfrm>
                <a:off x="2789934" y="514985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7" name="Freeform: Shape 36">
                <a:extLst>
                  <a:ext uri="{FF2B5EF4-FFF2-40B4-BE49-F238E27FC236}">
                    <a16:creationId xmlns:a16="http://schemas.microsoft.com/office/drawing/2014/main" id="{2A842E54-4220-450E-98A7-32D302D783B4}"/>
                  </a:ext>
                </a:extLst>
              </p:cNvPr>
              <p:cNvSpPr/>
              <p:nvPr/>
            </p:nvSpPr>
            <p:spPr>
              <a:xfrm>
                <a:off x="2789874" y="5589937"/>
                <a:ext cx="66130" cy="66012"/>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8" name="Freeform: Shape 37">
                <a:extLst>
                  <a:ext uri="{FF2B5EF4-FFF2-40B4-BE49-F238E27FC236}">
                    <a16:creationId xmlns:a16="http://schemas.microsoft.com/office/drawing/2014/main" id="{575A9593-10C1-4EE7-98C2-7BFCC445CB3B}"/>
                  </a:ext>
                </a:extLst>
              </p:cNvPr>
              <p:cNvSpPr/>
              <p:nvPr/>
            </p:nvSpPr>
            <p:spPr>
              <a:xfrm>
                <a:off x="297696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29" name="Freeform: Shape 38">
                <a:extLst>
                  <a:ext uri="{FF2B5EF4-FFF2-40B4-BE49-F238E27FC236}">
                    <a16:creationId xmlns:a16="http://schemas.microsoft.com/office/drawing/2014/main" id="{8F3A1232-E0E7-48FC-835C-EAB4428C0628}"/>
                  </a:ext>
                </a:extLst>
              </p:cNvPr>
              <p:cNvSpPr/>
              <p:nvPr/>
            </p:nvSpPr>
            <p:spPr>
              <a:xfrm>
                <a:off x="260289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0" name="Freeform: Shape 39">
                <a:extLst>
                  <a:ext uri="{FF2B5EF4-FFF2-40B4-BE49-F238E27FC236}">
                    <a16:creationId xmlns:a16="http://schemas.microsoft.com/office/drawing/2014/main" id="{A04B1511-3697-406B-ACFF-A806AA3275AB}"/>
                  </a:ext>
                </a:extLst>
              </p:cNvPr>
              <p:cNvSpPr/>
              <p:nvPr/>
            </p:nvSpPr>
            <p:spPr>
              <a:xfrm>
                <a:off x="260289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1" name="Freeform: Shape 45">
                <a:extLst>
                  <a:ext uri="{FF2B5EF4-FFF2-40B4-BE49-F238E27FC236}">
                    <a16:creationId xmlns:a16="http://schemas.microsoft.com/office/drawing/2014/main" id="{5CCB0879-4509-48FD-880F-D3083B4E906E}"/>
                  </a:ext>
                </a:extLst>
              </p:cNvPr>
              <p:cNvSpPr/>
              <p:nvPr/>
            </p:nvSpPr>
            <p:spPr>
              <a:xfrm>
                <a:off x="2664510" y="5477716"/>
                <a:ext cx="25304" cy="1650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2" name="Freeform: Shape 46">
                <a:extLst>
                  <a:ext uri="{FF2B5EF4-FFF2-40B4-BE49-F238E27FC236}">
                    <a16:creationId xmlns:a16="http://schemas.microsoft.com/office/drawing/2014/main" id="{C55D314E-01FB-4687-95A9-63A231F3C2A9}"/>
                  </a:ext>
                </a:extLst>
              </p:cNvPr>
              <p:cNvSpPr/>
              <p:nvPr/>
            </p:nvSpPr>
            <p:spPr>
              <a:xfrm>
                <a:off x="2956064" y="5477716"/>
                <a:ext cx="24203" cy="1650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3" name="Freeform: Shape 47">
                <a:extLst>
                  <a:ext uri="{FF2B5EF4-FFF2-40B4-BE49-F238E27FC236}">
                    <a16:creationId xmlns:a16="http://schemas.microsoft.com/office/drawing/2014/main" id="{41E56D8F-B5C1-41F1-9A19-7F137A850BB9}"/>
                  </a:ext>
                </a:extLst>
              </p:cNvPr>
              <p:cNvSpPr/>
              <p:nvPr/>
            </p:nvSpPr>
            <p:spPr>
              <a:xfrm>
                <a:off x="2956064" y="5311585"/>
                <a:ext cx="24203" cy="1650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4" name="Freeform: Shape 48">
                <a:extLst>
                  <a:ext uri="{FF2B5EF4-FFF2-40B4-BE49-F238E27FC236}">
                    <a16:creationId xmlns:a16="http://schemas.microsoft.com/office/drawing/2014/main" id="{51EEBFD5-E7C5-47B5-B93A-E88C61424518}"/>
                  </a:ext>
                </a:extLst>
              </p:cNvPr>
              <p:cNvSpPr/>
              <p:nvPr/>
            </p:nvSpPr>
            <p:spPr>
              <a:xfrm>
                <a:off x="2664510" y="5311585"/>
                <a:ext cx="25304" cy="1650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5" name="Freeform: Shape 49">
                <a:extLst>
                  <a:ext uri="{FF2B5EF4-FFF2-40B4-BE49-F238E27FC236}">
                    <a16:creationId xmlns:a16="http://schemas.microsoft.com/office/drawing/2014/main" id="{F67D7364-3D6B-409B-9FC2-D9460CC6645D}"/>
                  </a:ext>
                </a:extLst>
              </p:cNvPr>
              <p:cNvSpPr/>
              <p:nvPr/>
            </p:nvSpPr>
            <p:spPr>
              <a:xfrm>
                <a:off x="297696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6" name="Freeform: Shape 50">
                <a:extLst>
                  <a:ext uri="{FF2B5EF4-FFF2-40B4-BE49-F238E27FC236}">
                    <a16:creationId xmlns:a16="http://schemas.microsoft.com/office/drawing/2014/main" id="{B5F93D10-D050-49A8-98B5-EFAB8FA98316}"/>
                  </a:ext>
                </a:extLst>
              </p:cNvPr>
              <p:cNvSpPr/>
              <p:nvPr/>
            </p:nvSpPr>
            <p:spPr>
              <a:xfrm>
                <a:off x="2822940" y="5215868"/>
                <a:ext cx="11002" cy="3300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37" name="Freeform: Shape 51">
                <a:extLst>
                  <a:ext uri="{FF2B5EF4-FFF2-40B4-BE49-F238E27FC236}">
                    <a16:creationId xmlns:a16="http://schemas.microsoft.com/office/drawing/2014/main" id="{EB9C4585-9282-493D-81E2-F408914FA25B}"/>
                  </a:ext>
                </a:extLst>
              </p:cNvPr>
              <p:cNvSpPr/>
              <p:nvPr/>
            </p:nvSpPr>
            <p:spPr>
              <a:xfrm>
                <a:off x="2822940" y="5556931"/>
                <a:ext cx="11002" cy="3300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grpSp>
            <p:nvGrpSpPr>
              <p:cNvPr id="438" name="Graphic 52">
                <a:extLst>
                  <a:ext uri="{FF2B5EF4-FFF2-40B4-BE49-F238E27FC236}">
                    <a16:creationId xmlns:a16="http://schemas.microsoft.com/office/drawing/2014/main" id="{507CF272-CA77-4C99-81D0-025E97E6DEDA}"/>
                  </a:ext>
                </a:extLst>
              </p:cNvPr>
              <p:cNvGrpSpPr/>
              <p:nvPr/>
            </p:nvGrpSpPr>
            <p:grpSpPr>
              <a:xfrm>
                <a:off x="2724318" y="5292882"/>
                <a:ext cx="199973" cy="269194"/>
                <a:chOff x="9334200" y="1398702"/>
                <a:chExt cx="247650" cy="333375"/>
              </a:xfrm>
              <a:noFill/>
            </p:grpSpPr>
            <p:sp>
              <p:nvSpPr>
                <p:cNvPr id="439" name="Freeform: Shape 54">
                  <a:extLst>
                    <a:ext uri="{FF2B5EF4-FFF2-40B4-BE49-F238E27FC236}">
                      <a16:creationId xmlns:a16="http://schemas.microsoft.com/office/drawing/2014/main" id="{C5644662-C654-4DED-99FC-4FBD1D1F2ECD}"/>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algn="r" defTabSz="913578" rtl="1">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0" name="Freeform: Shape 55">
                  <a:extLst>
                    <a:ext uri="{FF2B5EF4-FFF2-40B4-BE49-F238E27FC236}">
                      <a16:creationId xmlns:a16="http://schemas.microsoft.com/office/drawing/2014/main" id="{7532CCB2-716B-415B-B9C3-A352BE9A9B78}"/>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578" rtl="1">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1" name="Freeform: Shape 56">
                  <a:extLst>
                    <a:ext uri="{FF2B5EF4-FFF2-40B4-BE49-F238E27FC236}">
                      <a16:creationId xmlns:a16="http://schemas.microsoft.com/office/drawing/2014/main" id="{2D7CE9B2-8243-446C-846D-3869A2E7D61B}"/>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2" name="Freeform: Shape 57">
                  <a:extLst>
                    <a:ext uri="{FF2B5EF4-FFF2-40B4-BE49-F238E27FC236}">
                      <a16:creationId xmlns:a16="http://schemas.microsoft.com/office/drawing/2014/main" id="{862A44A7-D869-441C-B1F8-FE698F753FF5}"/>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3" name="Freeform: Shape 58">
                  <a:extLst>
                    <a:ext uri="{FF2B5EF4-FFF2-40B4-BE49-F238E27FC236}">
                      <a16:creationId xmlns:a16="http://schemas.microsoft.com/office/drawing/2014/main" id="{133E45F4-F813-42E7-99B1-4B79EC574E04}"/>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4" name="Freeform: Shape 59">
                  <a:extLst>
                    <a:ext uri="{FF2B5EF4-FFF2-40B4-BE49-F238E27FC236}">
                      <a16:creationId xmlns:a16="http://schemas.microsoft.com/office/drawing/2014/main" id="{66D86444-0490-4D09-9CD3-AAA2196D0DCE}"/>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5" name="Freeform: Shape 60">
                  <a:extLst>
                    <a:ext uri="{FF2B5EF4-FFF2-40B4-BE49-F238E27FC236}">
                      <a16:creationId xmlns:a16="http://schemas.microsoft.com/office/drawing/2014/main" id="{3027EF53-6D53-4C1D-824D-8343F679794E}"/>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6" name="Freeform: Shape 61">
                  <a:extLst>
                    <a:ext uri="{FF2B5EF4-FFF2-40B4-BE49-F238E27FC236}">
                      <a16:creationId xmlns:a16="http://schemas.microsoft.com/office/drawing/2014/main" id="{63973E57-8308-4B8C-B272-A0FDEFF9C7B2}"/>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7" name="Freeform: Shape 66">
                  <a:extLst>
                    <a:ext uri="{FF2B5EF4-FFF2-40B4-BE49-F238E27FC236}">
                      <a16:creationId xmlns:a16="http://schemas.microsoft.com/office/drawing/2014/main" id="{5D82B998-2F89-40E6-B3B3-C8DC1AAB6A69}"/>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8" name="Freeform: Shape 67">
                  <a:extLst>
                    <a:ext uri="{FF2B5EF4-FFF2-40B4-BE49-F238E27FC236}">
                      <a16:creationId xmlns:a16="http://schemas.microsoft.com/office/drawing/2014/main" id="{DFF42C9B-E3B9-4589-806B-F40D46234D4F}"/>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49" name="Freeform: Shape 68">
                  <a:extLst>
                    <a:ext uri="{FF2B5EF4-FFF2-40B4-BE49-F238E27FC236}">
                      <a16:creationId xmlns:a16="http://schemas.microsoft.com/office/drawing/2014/main" id="{4960DFFE-794C-406E-B99F-393C1D3363A5}"/>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sp>
              <p:nvSpPr>
                <p:cNvPr id="450" name="Freeform: Shape 69">
                  <a:extLst>
                    <a:ext uri="{FF2B5EF4-FFF2-40B4-BE49-F238E27FC236}">
                      <a16:creationId xmlns:a16="http://schemas.microsoft.com/office/drawing/2014/main" id="{49E0D5B5-5ACF-46F4-9C68-73C8139C7B66}"/>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sz="2797" kern="1200" dirty="0">
                    <a:solidFill>
                      <a:srgbClr val="4D4D4F"/>
                    </a:solidFill>
                    <a:latin typeface="Calibri"/>
                    <a:ea typeface="+mn-ea"/>
                    <a:cs typeface="Calibri" panose="020F0502020204030204" pitchFamily="34" charset="0"/>
                  </a:endParaRPr>
                </a:p>
              </p:txBody>
            </p:sp>
          </p:grpSp>
        </p:grpSp>
        <p:sp>
          <p:nvSpPr>
            <p:cNvPr id="451" name="TextBox 450">
              <a:extLst>
                <a:ext uri="{FF2B5EF4-FFF2-40B4-BE49-F238E27FC236}">
                  <a16:creationId xmlns:a16="http://schemas.microsoft.com/office/drawing/2014/main" id="{F7CF893B-59BC-4088-B8C4-226CA90F1D13}"/>
                </a:ext>
              </a:extLst>
            </p:cNvPr>
            <p:cNvSpPr txBox="1"/>
            <p:nvPr/>
          </p:nvSpPr>
          <p:spPr bwMode="auto">
            <a:xfrm>
              <a:off x="10117658" y="5241074"/>
              <a:ext cx="1579767" cy="307697"/>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INTRANET</a:t>
              </a:r>
            </a:p>
          </p:txBody>
        </p:sp>
      </p:grpSp>
      <p:grpSp>
        <p:nvGrpSpPr>
          <p:cNvPr id="18" name="Group 17"/>
          <p:cNvGrpSpPr/>
          <p:nvPr/>
        </p:nvGrpSpPr>
        <p:grpSpPr>
          <a:xfrm>
            <a:off x="9482842" y="4627909"/>
            <a:ext cx="2046956" cy="609789"/>
            <a:chOff x="9673791" y="4360076"/>
            <a:chExt cx="2048022" cy="610107"/>
          </a:xfrm>
        </p:grpSpPr>
        <p:sp>
          <p:nvSpPr>
            <p:cNvPr id="196" name="Rectangle: Rounded Corners 195">
              <a:extLst>
                <a:ext uri="{FF2B5EF4-FFF2-40B4-BE49-F238E27FC236}">
                  <a16:creationId xmlns:a16="http://schemas.microsoft.com/office/drawing/2014/main" id="{91DF2152-D28B-4B7D-87F0-4FD808371D65}"/>
                </a:ext>
              </a:extLst>
            </p:cNvPr>
            <p:cNvSpPr/>
            <p:nvPr/>
          </p:nvSpPr>
          <p:spPr bwMode="auto">
            <a:xfrm>
              <a:off x="9673791" y="4360076"/>
              <a:ext cx="2048022"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grpSp>
          <p:nvGrpSpPr>
            <p:cNvPr id="9" name="Group 8"/>
            <p:cNvGrpSpPr/>
            <p:nvPr/>
          </p:nvGrpSpPr>
          <p:grpSpPr>
            <a:xfrm>
              <a:off x="9725664" y="4421203"/>
              <a:ext cx="1953314" cy="547627"/>
              <a:chOff x="9795983" y="4421203"/>
              <a:chExt cx="1953314" cy="547627"/>
            </a:xfrm>
          </p:grpSpPr>
          <p:grpSp>
            <p:nvGrpSpPr>
              <p:cNvPr id="160" name="Group 159">
                <a:extLst>
                  <a:ext uri="{FF2B5EF4-FFF2-40B4-BE49-F238E27FC236}">
                    <a16:creationId xmlns:a16="http://schemas.microsoft.com/office/drawing/2014/main" id="{083DB3FB-2099-4337-AB30-C5E27BC6D019}"/>
                  </a:ext>
                </a:extLst>
              </p:cNvPr>
              <p:cNvGrpSpPr/>
              <p:nvPr/>
            </p:nvGrpSpPr>
            <p:grpSpPr>
              <a:xfrm>
                <a:off x="9795983" y="4421203"/>
                <a:ext cx="478403" cy="478403"/>
                <a:chOff x="9733030" y="4421460"/>
                <a:chExt cx="478528" cy="478528"/>
              </a:xfrm>
            </p:grpSpPr>
            <p:sp>
              <p:nvSpPr>
                <p:cNvPr id="164" name="Oval 163">
                  <a:extLst>
                    <a:ext uri="{FF2B5EF4-FFF2-40B4-BE49-F238E27FC236}">
                      <a16:creationId xmlns:a16="http://schemas.microsoft.com/office/drawing/2014/main" id="{23965E66-E6FF-433B-A0B4-4A91DCB1E49D}"/>
                    </a:ext>
                  </a:extLst>
                </p:cNvPr>
                <p:cNvSpPr/>
                <p:nvPr/>
              </p:nvSpPr>
              <p:spPr bwMode="auto">
                <a:xfrm>
                  <a:off x="9868294" y="4556750"/>
                  <a:ext cx="212099" cy="212099"/>
                </a:xfrm>
                <a:prstGeom prst="ellipse">
                  <a:avLst/>
                </a:prstGeom>
                <a:solidFill>
                  <a:schemeClr val="bg2"/>
                </a:soli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852">
                    <a:lnSpc>
                      <a:spcPct val="80000"/>
                    </a:lnSpc>
                    <a:spcBef>
                      <a:spcPts val="1200"/>
                    </a:spcBef>
                    <a:buClr>
                      <a:srgbClr val="FF0000"/>
                    </a:buClr>
                    <a:buSzPct val="115000"/>
                    <a:defRPr/>
                  </a:pPr>
                  <a:endParaRPr lang="en-US" sz="2397" kern="1200" dirty="0" err="1">
                    <a:solidFill>
                      <a:srgbClr val="4D4D4F"/>
                    </a:solidFill>
                    <a:latin typeface="Calibri"/>
                    <a:ea typeface="+mn-ea"/>
                    <a:cs typeface="Calibri" panose="020F0502020204030204" pitchFamily="34" charset="0"/>
                  </a:endParaRPr>
                </a:p>
              </p:txBody>
            </p:sp>
            <p:pic>
              <p:nvPicPr>
                <p:cNvPr id="166" name="Graphic 165">
                  <a:extLst>
                    <a:ext uri="{FF2B5EF4-FFF2-40B4-BE49-F238E27FC236}">
                      <a16:creationId xmlns:a16="http://schemas.microsoft.com/office/drawing/2014/main" id="{3FC4EB70-B6A7-44CF-BC3C-FA8BFA9DC2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33030" y="4421460"/>
                  <a:ext cx="478528" cy="478528"/>
                </a:xfrm>
                <a:prstGeom prst="rect">
                  <a:avLst/>
                </a:prstGeom>
              </p:spPr>
            </p:pic>
          </p:grpSp>
          <p:sp>
            <p:nvSpPr>
              <p:cNvPr id="189" name="TextBox 188">
                <a:extLst>
                  <a:ext uri="{FF2B5EF4-FFF2-40B4-BE49-F238E27FC236}">
                    <a16:creationId xmlns:a16="http://schemas.microsoft.com/office/drawing/2014/main" id="{3E21AF7F-BCF5-44DF-B2AD-6E3F9D1D0998}"/>
                  </a:ext>
                </a:extLst>
              </p:cNvPr>
              <p:cNvSpPr txBox="1"/>
              <p:nvPr/>
            </p:nvSpPr>
            <p:spPr bwMode="auto">
              <a:xfrm>
                <a:off x="10285282" y="4445411"/>
                <a:ext cx="1464015" cy="523419"/>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REMOTE DESKTOP</a:t>
                </a:r>
              </a:p>
            </p:txBody>
          </p:sp>
        </p:grpSp>
      </p:grpSp>
      <p:grpSp>
        <p:nvGrpSpPr>
          <p:cNvPr id="6" name="Group 5"/>
          <p:cNvGrpSpPr/>
          <p:nvPr/>
        </p:nvGrpSpPr>
        <p:grpSpPr>
          <a:xfrm>
            <a:off x="9482842" y="2976096"/>
            <a:ext cx="2004140" cy="609789"/>
            <a:chOff x="9688518" y="1581109"/>
            <a:chExt cx="2005185" cy="610107"/>
          </a:xfrm>
        </p:grpSpPr>
        <p:sp>
          <p:nvSpPr>
            <p:cNvPr id="192" name="Rectangle: Rounded Corners 191">
              <a:extLst>
                <a:ext uri="{FF2B5EF4-FFF2-40B4-BE49-F238E27FC236}">
                  <a16:creationId xmlns:a16="http://schemas.microsoft.com/office/drawing/2014/main" id="{076AF032-900F-42E8-8F14-21A9FE6A317F}"/>
                </a:ext>
              </a:extLst>
            </p:cNvPr>
            <p:cNvSpPr/>
            <p:nvPr/>
          </p:nvSpPr>
          <p:spPr bwMode="auto">
            <a:xfrm>
              <a:off x="9688518" y="1581109"/>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lnSpc>
                  <a:spcPct val="80000"/>
                </a:lnSpc>
                <a:buClr>
                  <a:srgbClr val="FF0000"/>
                </a:buClr>
                <a:buSzPct val="115000"/>
                <a:defRPr/>
              </a:pPr>
              <a:endParaRPr lang="aa-ET" kern="1200" dirty="0" err="1">
                <a:solidFill>
                  <a:srgbClr val="FFFFFF"/>
                </a:solidFill>
                <a:latin typeface="Calibri"/>
                <a:ea typeface="+mn-ea"/>
                <a:cs typeface="Calibri" panose="020F0502020204030204" pitchFamily="34" charset="0"/>
              </a:endParaRPr>
            </a:p>
          </p:txBody>
        </p:sp>
        <p:grpSp>
          <p:nvGrpSpPr>
            <p:cNvPr id="199" name="Graphic 52">
              <a:extLst>
                <a:ext uri="{FF2B5EF4-FFF2-40B4-BE49-F238E27FC236}">
                  <a16:creationId xmlns:a16="http://schemas.microsoft.com/office/drawing/2014/main" id="{4EB51446-F139-4905-AE56-B12EEEDA68AB}"/>
                </a:ext>
              </a:extLst>
            </p:cNvPr>
            <p:cNvGrpSpPr/>
            <p:nvPr/>
          </p:nvGrpSpPr>
          <p:grpSpPr>
            <a:xfrm>
              <a:off x="9823929" y="1681273"/>
              <a:ext cx="440895" cy="447883"/>
              <a:chOff x="9248475" y="1284402"/>
              <a:chExt cx="438150" cy="447675"/>
            </a:xfrm>
            <a:noFill/>
          </p:grpSpPr>
          <p:sp>
            <p:nvSpPr>
              <p:cNvPr id="200" name="Freeform: Shape 54">
                <a:extLst>
                  <a:ext uri="{FF2B5EF4-FFF2-40B4-BE49-F238E27FC236}">
                    <a16:creationId xmlns:a16="http://schemas.microsoft.com/office/drawing/2014/main" id="{94E30462-CC4F-4BE5-A52F-DFD67917C0E5}"/>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201" name="Freeform: Shape 55">
                <a:extLst>
                  <a:ext uri="{FF2B5EF4-FFF2-40B4-BE49-F238E27FC236}">
                    <a16:creationId xmlns:a16="http://schemas.microsoft.com/office/drawing/2014/main" id="{CF6323B9-4C34-409B-B7CC-03C437A245D2}"/>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202" name="Freeform: Shape 56">
                <a:extLst>
                  <a:ext uri="{FF2B5EF4-FFF2-40B4-BE49-F238E27FC236}">
                    <a16:creationId xmlns:a16="http://schemas.microsoft.com/office/drawing/2014/main" id="{F19B9C41-504C-4777-9D9D-9895C08E95FC}"/>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286" name="Freeform: Shape 57">
                <a:extLst>
                  <a:ext uri="{FF2B5EF4-FFF2-40B4-BE49-F238E27FC236}">
                    <a16:creationId xmlns:a16="http://schemas.microsoft.com/office/drawing/2014/main" id="{6016843C-6AE0-4393-AAC8-CF878353C899}"/>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3" name="Freeform: Shape 58">
                <a:extLst>
                  <a:ext uri="{FF2B5EF4-FFF2-40B4-BE49-F238E27FC236}">
                    <a16:creationId xmlns:a16="http://schemas.microsoft.com/office/drawing/2014/main" id="{B46645A2-1172-4C80-99DF-17DBDDDAF8FE}"/>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4" name="Freeform: Shape 59">
                <a:extLst>
                  <a:ext uri="{FF2B5EF4-FFF2-40B4-BE49-F238E27FC236}">
                    <a16:creationId xmlns:a16="http://schemas.microsoft.com/office/drawing/2014/main" id="{8491C85D-1CD1-4794-B77C-5B6F2D78F848}"/>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5" name="Freeform: Shape 60">
                <a:extLst>
                  <a:ext uri="{FF2B5EF4-FFF2-40B4-BE49-F238E27FC236}">
                    <a16:creationId xmlns:a16="http://schemas.microsoft.com/office/drawing/2014/main" id="{DD70E446-DEA4-444E-A5EC-4115937AA8BC}"/>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6" name="Freeform: Shape 61">
                <a:extLst>
                  <a:ext uri="{FF2B5EF4-FFF2-40B4-BE49-F238E27FC236}">
                    <a16:creationId xmlns:a16="http://schemas.microsoft.com/office/drawing/2014/main" id="{B5FB915A-5970-4EF2-9EC2-7DECFC8E54A4}"/>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7" name="Freeform: Shape 62">
                <a:extLst>
                  <a:ext uri="{FF2B5EF4-FFF2-40B4-BE49-F238E27FC236}">
                    <a16:creationId xmlns:a16="http://schemas.microsoft.com/office/drawing/2014/main" id="{2195C3ED-C374-4E91-8A52-BA355ECC5EA7}"/>
                  </a:ext>
                </a:extLst>
              </p:cNvPr>
              <p:cNvSpPr/>
              <p:nvPr/>
            </p:nvSpPr>
            <p:spPr>
              <a:xfrm>
                <a:off x="9248475" y="1284402"/>
                <a:ext cx="438150" cy="257175"/>
              </a:xfrm>
              <a:custGeom>
                <a:avLst/>
                <a:gdLst>
                  <a:gd name="connsiteX0" fmla="*/ 361950 w 438150"/>
                  <a:gd name="connsiteY0" fmla="*/ 257175 h 257175"/>
                  <a:gd name="connsiteX1" fmla="*/ 371475 w 438150"/>
                  <a:gd name="connsiteY1" fmla="*/ 257175 h 257175"/>
                  <a:gd name="connsiteX2" fmla="*/ 438150 w 438150"/>
                  <a:gd name="connsiteY2" fmla="*/ 190500 h 257175"/>
                  <a:gd name="connsiteX3" fmla="*/ 371475 w 438150"/>
                  <a:gd name="connsiteY3" fmla="*/ 123825 h 257175"/>
                  <a:gd name="connsiteX4" fmla="*/ 351473 w 438150"/>
                  <a:gd name="connsiteY4" fmla="*/ 126683 h 257175"/>
                  <a:gd name="connsiteX5" fmla="*/ 352425 w 438150"/>
                  <a:gd name="connsiteY5" fmla="*/ 114300 h 257175"/>
                  <a:gd name="connsiteX6" fmla="*/ 285750 w 438150"/>
                  <a:gd name="connsiteY6" fmla="*/ 47625 h 257175"/>
                  <a:gd name="connsiteX7" fmla="*/ 241935 w 438150"/>
                  <a:gd name="connsiteY7" fmla="*/ 63818 h 257175"/>
                  <a:gd name="connsiteX8" fmla="*/ 152400 w 438150"/>
                  <a:gd name="connsiteY8" fmla="*/ 0 h 257175"/>
                  <a:gd name="connsiteX9" fmla="*/ 57150 w 438150"/>
                  <a:gd name="connsiteY9" fmla="*/ 95250 h 257175"/>
                  <a:gd name="connsiteX10" fmla="*/ 61913 w 438150"/>
                  <a:gd name="connsiteY10" fmla="*/ 123825 h 257175"/>
                  <a:gd name="connsiteX11" fmla="*/ 0 w 438150"/>
                  <a:gd name="connsiteY11" fmla="*/ 190500 h 257175"/>
                  <a:gd name="connsiteX12" fmla="*/ 66675 w 438150"/>
                  <a:gd name="connsiteY12" fmla="*/ 257175 h 257175"/>
                  <a:gd name="connsiteX13" fmla="*/ 142875 w 438150"/>
                  <a:gd name="connsiteY13"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50" h="257175">
                    <a:moveTo>
                      <a:pt x="361950" y="257175"/>
                    </a:moveTo>
                    <a:lnTo>
                      <a:pt x="371475" y="257175"/>
                    </a:lnTo>
                    <a:cubicBezTo>
                      <a:pt x="408623" y="257175"/>
                      <a:pt x="438150" y="227648"/>
                      <a:pt x="438150" y="190500"/>
                    </a:cubicBezTo>
                    <a:cubicBezTo>
                      <a:pt x="438150" y="153353"/>
                      <a:pt x="408623" y="123825"/>
                      <a:pt x="371475" y="123825"/>
                    </a:cubicBezTo>
                    <a:cubicBezTo>
                      <a:pt x="364808" y="123825"/>
                      <a:pt x="357188" y="124778"/>
                      <a:pt x="351473" y="126683"/>
                    </a:cubicBezTo>
                    <a:cubicBezTo>
                      <a:pt x="352425" y="122873"/>
                      <a:pt x="352425" y="119063"/>
                      <a:pt x="352425" y="114300"/>
                    </a:cubicBezTo>
                    <a:cubicBezTo>
                      <a:pt x="352425" y="77153"/>
                      <a:pt x="322898" y="47625"/>
                      <a:pt x="285750" y="47625"/>
                    </a:cubicBezTo>
                    <a:cubicBezTo>
                      <a:pt x="269558" y="47625"/>
                      <a:pt x="254318" y="53340"/>
                      <a:pt x="241935" y="63818"/>
                    </a:cubicBezTo>
                    <a:cubicBezTo>
                      <a:pt x="229553" y="26670"/>
                      <a:pt x="194310" y="0"/>
                      <a:pt x="152400" y="0"/>
                    </a:cubicBezTo>
                    <a:cubicBezTo>
                      <a:pt x="100013" y="0"/>
                      <a:pt x="57150" y="42863"/>
                      <a:pt x="57150" y="95250"/>
                    </a:cubicBezTo>
                    <a:cubicBezTo>
                      <a:pt x="57150" y="105728"/>
                      <a:pt x="59055" y="115253"/>
                      <a:pt x="61913" y="123825"/>
                    </a:cubicBezTo>
                    <a:cubicBezTo>
                      <a:pt x="26670" y="126683"/>
                      <a:pt x="0" y="155258"/>
                      <a:pt x="0" y="190500"/>
                    </a:cubicBezTo>
                    <a:cubicBezTo>
                      <a:pt x="0" y="227648"/>
                      <a:pt x="29528" y="257175"/>
                      <a:pt x="66675" y="257175"/>
                    </a:cubicBezTo>
                    <a:lnTo>
                      <a:pt x="142875" y="257175"/>
                    </a:lnTo>
                  </a:path>
                </a:pathLst>
              </a:custGeom>
              <a:noFill/>
              <a:ln w="15875" cap="flat">
                <a:solidFill>
                  <a:schemeClr val="tx1">
                    <a:lumMod val="75000"/>
                  </a:schemeClr>
                </a:solidFill>
                <a:prstDash val="solid"/>
                <a:miter/>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8" name="Freeform: Shape 63">
                <a:extLst>
                  <a:ext uri="{FF2B5EF4-FFF2-40B4-BE49-F238E27FC236}">
                    <a16:creationId xmlns:a16="http://schemas.microsoft.com/office/drawing/2014/main" id="{B6834A96-EC62-4E65-B31F-057D2F95B56F}"/>
                  </a:ext>
                </a:extLst>
              </p:cNvPr>
              <p:cNvSpPr/>
              <p:nvPr/>
            </p:nvSpPr>
            <p:spPr>
              <a:xfrm>
                <a:off x="9490409" y="1348219"/>
                <a:ext cx="4762" cy="21907"/>
              </a:xfrm>
              <a:custGeom>
                <a:avLst/>
                <a:gdLst>
                  <a:gd name="connsiteX0" fmla="*/ 0 w 4762"/>
                  <a:gd name="connsiteY0" fmla="*/ 0 h 21907"/>
                  <a:gd name="connsiteX1" fmla="*/ 4763 w 4762"/>
                  <a:gd name="connsiteY1" fmla="*/ 21908 h 21907"/>
                </a:gdLst>
                <a:ahLst/>
                <a:cxnLst>
                  <a:cxn ang="0">
                    <a:pos x="connsiteX0" y="connsiteY0"/>
                  </a:cxn>
                  <a:cxn ang="0">
                    <a:pos x="connsiteX1" y="connsiteY1"/>
                  </a:cxn>
                </a:cxnLst>
                <a:rect l="l" t="t" r="r" b="b"/>
                <a:pathLst>
                  <a:path w="4762" h="21907">
                    <a:moveTo>
                      <a:pt x="0" y="0"/>
                    </a:moveTo>
                    <a:cubicBezTo>
                      <a:pt x="2858" y="6667"/>
                      <a:pt x="3810" y="14288"/>
                      <a:pt x="4763" y="21908"/>
                    </a:cubicBezTo>
                  </a:path>
                </a:pathLst>
              </a:custGeom>
              <a:noFill/>
              <a:ln w="15875" cap="flat">
                <a:solidFill>
                  <a:schemeClr val="tx1">
                    <a:lumMod val="75000"/>
                  </a:schemeClr>
                </a:solidFill>
                <a:prstDash val="solid"/>
                <a:miter/>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39" name="Freeform: Shape 64">
                <a:extLst>
                  <a:ext uri="{FF2B5EF4-FFF2-40B4-BE49-F238E27FC236}">
                    <a16:creationId xmlns:a16="http://schemas.microsoft.com/office/drawing/2014/main" id="{20F9784A-6FBC-41FB-9FC6-BAB96F8DACCD}"/>
                  </a:ext>
                </a:extLst>
              </p:cNvPr>
              <p:cNvSpPr/>
              <p:nvPr/>
            </p:nvSpPr>
            <p:spPr>
              <a:xfrm>
                <a:off x="9591375" y="1411084"/>
                <a:ext cx="8572" cy="21907"/>
              </a:xfrm>
              <a:custGeom>
                <a:avLst/>
                <a:gdLst>
                  <a:gd name="connsiteX0" fmla="*/ 8573 w 8572"/>
                  <a:gd name="connsiteY0" fmla="*/ 0 h 21907"/>
                  <a:gd name="connsiteX1" fmla="*/ 0 w 8572"/>
                  <a:gd name="connsiteY1" fmla="*/ 21908 h 21907"/>
                </a:gdLst>
                <a:ahLst/>
                <a:cxnLst>
                  <a:cxn ang="0">
                    <a:pos x="connsiteX0" y="connsiteY0"/>
                  </a:cxn>
                  <a:cxn ang="0">
                    <a:pos x="connsiteX1" y="connsiteY1"/>
                  </a:cxn>
                </a:cxnLst>
                <a:rect l="l" t="t" r="r" b="b"/>
                <a:pathLst>
                  <a:path w="8572" h="21907">
                    <a:moveTo>
                      <a:pt x="8573" y="0"/>
                    </a:moveTo>
                    <a:cubicBezTo>
                      <a:pt x="6668" y="7620"/>
                      <a:pt x="3810" y="15240"/>
                      <a:pt x="0" y="21908"/>
                    </a:cubicBez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40" name="Freeform: Shape 65">
                <a:extLst>
                  <a:ext uri="{FF2B5EF4-FFF2-40B4-BE49-F238E27FC236}">
                    <a16:creationId xmlns:a16="http://schemas.microsoft.com/office/drawing/2014/main" id="{F73D9E2B-29C9-429C-8BDF-A8B1ED8754EC}"/>
                  </a:ext>
                </a:extLst>
              </p:cNvPr>
              <p:cNvSpPr/>
              <p:nvPr/>
            </p:nvSpPr>
            <p:spPr>
              <a:xfrm>
                <a:off x="9310387" y="1407869"/>
                <a:ext cx="24765" cy="3214"/>
              </a:xfrm>
              <a:custGeom>
                <a:avLst/>
                <a:gdLst>
                  <a:gd name="connsiteX0" fmla="*/ 0 w 24765"/>
                  <a:gd name="connsiteY0" fmla="*/ 357 h 3214"/>
                  <a:gd name="connsiteX1" fmla="*/ 24765 w 24765"/>
                  <a:gd name="connsiteY1" fmla="*/ 3215 h 3214"/>
                </a:gdLst>
                <a:ahLst/>
                <a:cxnLst>
                  <a:cxn ang="0">
                    <a:pos x="connsiteX0" y="connsiteY0"/>
                  </a:cxn>
                  <a:cxn ang="0">
                    <a:pos x="connsiteX1" y="connsiteY1"/>
                  </a:cxn>
                </a:cxnLst>
                <a:rect l="l" t="t" r="r" b="b"/>
                <a:pathLst>
                  <a:path w="24765" h="3214">
                    <a:moveTo>
                      <a:pt x="0" y="357"/>
                    </a:moveTo>
                    <a:cubicBezTo>
                      <a:pt x="8572" y="-595"/>
                      <a:pt x="16192" y="357"/>
                      <a:pt x="24765" y="3215"/>
                    </a:cubicBezTo>
                  </a:path>
                </a:pathLst>
              </a:custGeom>
              <a:noFill/>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41" name="Freeform: Shape 66">
                <a:extLst>
                  <a:ext uri="{FF2B5EF4-FFF2-40B4-BE49-F238E27FC236}">
                    <a16:creationId xmlns:a16="http://schemas.microsoft.com/office/drawing/2014/main" id="{DD64FBDD-E327-46E2-91AC-20C634A66368}"/>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46" name="Freeform: Shape 67">
                <a:extLst>
                  <a:ext uri="{FF2B5EF4-FFF2-40B4-BE49-F238E27FC236}">
                    <a16:creationId xmlns:a16="http://schemas.microsoft.com/office/drawing/2014/main" id="{A45DAF7B-58B0-416A-AA81-AB64EB94EA03}"/>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49" name="Freeform: Shape 68">
                <a:extLst>
                  <a:ext uri="{FF2B5EF4-FFF2-40B4-BE49-F238E27FC236}">
                    <a16:creationId xmlns:a16="http://schemas.microsoft.com/office/drawing/2014/main" id="{CC8F0058-F4D8-4DB6-B5C9-9F6BF9490446}"/>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578">
                  <a:buClr>
                    <a:srgbClr val="FF0000"/>
                  </a:buClr>
                  <a:defRPr/>
                </a:pPr>
                <a:endParaRPr lang="en-US" kern="1200" dirty="0">
                  <a:solidFill>
                    <a:srgbClr val="4D4D4F"/>
                  </a:solidFill>
                  <a:latin typeface="Calibri"/>
                  <a:ea typeface="+mn-ea"/>
                  <a:cs typeface="Calibri" panose="020F0502020204030204" pitchFamily="34" charset="0"/>
                </a:endParaRPr>
              </a:p>
            </p:txBody>
          </p:sp>
          <p:sp>
            <p:nvSpPr>
              <p:cNvPr id="350" name="Freeform: Shape 69">
                <a:extLst>
                  <a:ext uri="{FF2B5EF4-FFF2-40B4-BE49-F238E27FC236}">
                    <a16:creationId xmlns:a16="http://schemas.microsoft.com/office/drawing/2014/main" id="{2FFB1F9A-CCCF-442D-B983-C91C1BC94292}"/>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algn="r" defTabSz="913578" rtl="1">
                  <a:buClr>
                    <a:srgbClr val="FF0000"/>
                  </a:buClr>
                  <a:defRPr/>
                </a:pPr>
                <a:endParaRPr lang="en-US" kern="1200" dirty="0">
                  <a:solidFill>
                    <a:srgbClr val="4D4D4F"/>
                  </a:solidFill>
                  <a:latin typeface="Calibri"/>
                  <a:ea typeface="+mn-ea"/>
                  <a:cs typeface="Calibri" panose="020F0502020204030204" pitchFamily="34" charset="0"/>
                </a:endParaRPr>
              </a:p>
            </p:txBody>
          </p:sp>
        </p:grpSp>
        <p:sp>
          <p:nvSpPr>
            <p:cNvPr id="190" name="TextBox 189">
              <a:extLst>
                <a:ext uri="{FF2B5EF4-FFF2-40B4-BE49-F238E27FC236}">
                  <a16:creationId xmlns:a16="http://schemas.microsoft.com/office/drawing/2014/main" id="{A1655CB5-CDFF-4C39-91A1-51496BDFC4CD}"/>
                </a:ext>
              </a:extLst>
            </p:cNvPr>
            <p:cNvSpPr txBox="1"/>
            <p:nvPr/>
          </p:nvSpPr>
          <p:spPr bwMode="auto">
            <a:xfrm>
              <a:off x="10149890" y="1736132"/>
              <a:ext cx="1543813" cy="307696"/>
            </a:xfrm>
            <a:prstGeom prst="rect">
              <a:avLst/>
            </a:prstGeom>
            <a:noFill/>
            <a:ln>
              <a:noFill/>
            </a:ln>
            <a:effectLst/>
          </p:spPr>
          <p:txBody>
            <a:bodyPr vert="horz" wrap="square" lIns="91368" tIns="45684" rIns="91368" bIns="45684" numCol="1" rtlCol="0" anchor="t" anchorCtr="0" compatLnSpc="1">
              <a:prstTxWarp prst="textNoShape">
                <a:avLst/>
              </a:prstTxWarp>
              <a:spAutoFit/>
            </a:bodyPr>
            <a:lstStyle/>
            <a:p>
              <a:pPr algn="ctr" defTabSz="913578">
                <a:buClr>
                  <a:srgbClr val="FF0000"/>
                </a:buClr>
                <a:defRPr/>
              </a:pPr>
              <a:r>
                <a:rPr lang="en-US" b="1" kern="1200" dirty="0">
                  <a:solidFill>
                    <a:srgbClr val="4D4D4F"/>
                  </a:solidFill>
                  <a:latin typeface="Calibri"/>
                  <a:ea typeface="+mn-ea"/>
                  <a:cs typeface="Calibri" panose="020F0502020204030204" pitchFamily="34" charset="0"/>
                </a:rPr>
                <a:t>CLOUD</a:t>
              </a:r>
            </a:p>
          </p:txBody>
        </p:sp>
      </p:grpSp>
      <p:sp>
        <p:nvSpPr>
          <p:cNvPr id="191" name="TextBox 190">
            <a:extLst>
              <a:ext uri="{FF2B5EF4-FFF2-40B4-BE49-F238E27FC236}">
                <a16:creationId xmlns:a16="http://schemas.microsoft.com/office/drawing/2014/main" id="{364E3CFB-73B8-437F-97D1-50D91A69D2DB}"/>
              </a:ext>
            </a:extLst>
          </p:cNvPr>
          <p:cNvSpPr txBox="1"/>
          <p:nvPr/>
        </p:nvSpPr>
        <p:spPr bwMode="auto">
          <a:xfrm rot="5400000">
            <a:off x="11038792" y="4797011"/>
            <a:ext cx="1560432" cy="369140"/>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defTabSz="913852">
              <a:buClrTx/>
              <a:defRPr/>
            </a:pPr>
            <a:r>
              <a:rPr lang="en-US" sz="1798" b="1" kern="1200" dirty="0">
                <a:solidFill>
                  <a:srgbClr val="4D4D4F"/>
                </a:solidFill>
                <a:latin typeface="Calibri" panose="020F0502020204030204" pitchFamily="34" charset="0"/>
                <a:ea typeface="+mn-ea"/>
                <a:cs typeface="Calibri" panose="020F0502020204030204" pitchFamily="34" charset="0"/>
              </a:rPr>
              <a:t>On-Premise</a:t>
            </a:r>
            <a:endParaRPr lang="aa-ET" sz="1798" b="1" kern="1200" dirty="0">
              <a:solidFill>
                <a:srgbClr val="4D4D4F"/>
              </a:solidFill>
              <a:latin typeface="Calibri" panose="020F0502020204030204" pitchFamily="34" charset="0"/>
              <a:ea typeface="+mn-ea"/>
              <a:cs typeface="Calibri" panose="020F0502020204030204" pitchFamily="34" charset="0"/>
            </a:endParaRPr>
          </a:p>
        </p:txBody>
      </p:sp>
      <p:sp>
        <p:nvSpPr>
          <p:cNvPr id="197" name="TextBox 196">
            <a:extLst>
              <a:ext uri="{FF2B5EF4-FFF2-40B4-BE49-F238E27FC236}">
                <a16:creationId xmlns:a16="http://schemas.microsoft.com/office/drawing/2014/main" id="{8D518139-1C51-4AD7-B845-E6D0A7E8C904}"/>
              </a:ext>
            </a:extLst>
          </p:cNvPr>
          <p:cNvSpPr txBox="1"/>
          <p:nvPr/>
        </p:nvSpPr>
        <p:spPr bwMode="auto">
          <a:xfrm rot="5400000">
            <a:off x="11353942" y="2722485"/>
            <a:ext cx="930130" cy="369140"/>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defTabSz="913852">
              <a:buClrTx/>
              <a:defRPr/>
            </a:pPr>
            <a:r>
              <a:rPr lang="en-US" sz="1798" b="1" kern="1200" dirty="0">
                <a:solidFill>
                  <a:srgbClr val="4D4D4F"/>
                </a:solidFill>
                <a:latin typeface="Calibri" panose="020F0502020204030204" pitchFamily="34" charset="0"/>
                <a:ea typeface="+mn-ea"/>
                <a:cs typeface="Calibri" panose="020F0502020204030204" pitchFamily="34" charset="0"/>
              </a:rPr>
              <a:t>Cloud</a:t>
            </a:r>
            <a:endParaRPr lang="aa-ET" sz="1798" b="1" kern="1200" dirty="0">
              <a:solidFill>
                <a:srgbClr val="4D4D4F"/>
              </a:solidFill>
              <a:latin typeface="Calibri" panose="020F0502020204030204" pitchFamily="34" charset="0"/>
              <a:ea typeface="+mn-ea"/>
              <a:cs typeface="Calibri" panose="020F0502020204030204" pitchFamily="34" charset="0"/>
            </a:endParaRPr>
          </a:p>
        </p:txBody>
      </p:sp>
      <p:sp>
        <p:nvSpPr>
          <p:cNvPr id="198" name="TextBox 197">
            <a:extLst>
              <a:ext uri="{FF2B5EF4-FFF2-40B4-BE49-F238E27FC236}">
                <a16:creationId xmlns:a16="http://schemas.microsoft.com/office/drawing/2014/main" id="{8D518139-1C51-4AD7-B845-E6D0A7E8C904}"/>
              </a:ext>
            </a:extLst>
          </p:cNvPr>
          <p:cNvSpPr txBox="1"/>
          <p:nvPr/>
        </p:nvSpPr>
        <p:spPr bwMode="auto">
          <a:xfrm rot="5400000">
            <a:off x="11440421" y="1495060"/>
            <a:ext cx="757173" cy="369140"/>
          </a:xfrm>
          <a:prstGeom prst="rect">
            <a:avLst/>
          </a:prstGeom>
          <a:noFill/>
          <a:ln>
            <a:noFill/>
          </a:ln>
          <a:effectLst/>
        </p:spPr>
        <p:txBody>
          <a:bodyPr vert="horz" wrap="square" lIns="91392" tIns="45696" rIns="91392" bIns="45696" numCol="1" rtlCol="0" anchor="ctr" anchorCtr="0" compatLnSpc="1">
            <a:prstTxWarp prst="textNoShape">
              <a:avLst/>
            </a:prstTxWarp>
            <a:spAutoFit/>
          </a:bodyPr>
          <a:lstStyle/>
          <a:p>
            <a:pPr defTabSz="913852">
              <a:buClrTx/>
              <a:defRPr/>
            </a:pPr>
            <a:r>
              <a:rPr lang="en-US" sz="1798" b="1" kern="1200" dirty="0">
                <a:solidFill>
                  <a:srgbClr val="4D4D4F"/>
                </a:solidFill>
                <a:latin typeface="Calibri" panose="020F0502020204030204" pitchFamily="34" charset="0"/>
                <a:ea typeface="+mn-ea"/>
                <a:cs typeface="Calibri" panose="020F0502020204030204" pitchFamily="34" charset="0"/>
              </a:rPr>
              <a:t>Web</a:t>
            </a:r>
            <a:endParaRPr lang="aa-ET" sz="1798" b="1" kern="1200" dirty="0">
              <a:solidFill>
                <a:srgbClr val="4D4D4F"/>
              </a:solidFill>
              <a:latin typeface="Calibri" panose="020F0502020204030204" pitchFamily="34" charset="0"/>
              <a:ea typeface="+mn-ea"/>
              <a:cs typeface="Calibri" panose="020F0502020204030204" pitchFamily="34" charset="0"/>
            </a:endParaRPr>
          </a:p>
        </p:txBody>
      </p:sp>
      <p:cxnSp>
        <p:nvCxnSpPr>
          <p:cNvPr id="203" name="Straight Connector 202">
            <a:extLst>
              <a:ext uri="{FF2B5EF4-FFF2-40B4-BE49-F238E27FC236}">
                <a16:creationId xmlns:a16="http://schemas.microsoft.com/office/drawing/2014/main" id="{9C1E3CE3-E9A6-4D63-A2C0-BB15062AC84D}"/>
              </a:ext>
            </a:extLst>
          </p:cNvPr>
          <p:cNvCxnSpPr>
            <a:cxnSpLocks/>
            <a:endCxn id="193" idx="1"/>
          </p:cNvCxnSpPr>
          <p:nvPr/>
        </p:nvCxnSpPr>
        <p:spPr bwMode="auto">
          <a:xfrm flipV="1">
            <a:off x="2567508" y="2455085"/>
            <a:ext cx="6915333" cy="130608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 name="Oval 203">
            <a:extLst>
              <a:ext uri="{FF2B5EF4-FFF2-40B4-BE49-F238E27FC236}">
                <a16:creationId xmlns:a16="http://schemas.microsoft.com/office/drawing/2014/main" id="{D73C17D9-61F8-44C1-8654-4DD663478F34}"/>
              </a:ext>
            </a:extLst>
          </p:cNvPr>
          <p:cNvSpPr/>
          <p:nvPr/>
        </p:nvSpPr>
        <p:spPr bwMode="auto">
          <a:xfrm>
            <a:off x="4032160" y="1564555"/>
            <a:ext cx="4154284" cy="4108928"/>
          </a:xfrm>
          <a:prstGeom prst="ellipse">
            <a:avLst/>
          </a:prstGeom>
          <a:ln>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852">
              <a:lnSpc>
                <a:spcPct val="80000"/>
              </a:lnSpc>
              <a:spcBef>
                <a:spcPts val="1200"/>
              </a:spcBef>
              <a:buClr>
                <a:srgbClr val="FF0000"/>
              </a:buClr>
              <a:buSzPct val="115000"/>
              <a:defRPr/>
            </a:pPr>
            <a:endParaRPr lang="en-US" sz="2397" b="1"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marL="342591" indent="-342591" defTabSz="913852">
              <a:lnSpc>
                <a:spcPct val="80000"/>
              </a:lnSpc>
              <a:spcBef>
                <a:spcPts val="1200"/>
              </a:spcBef>
              <a:buClr>
                <a:srgbClr val="FF0000"/>
              </a:buClr>
              <a:buSzPct val="115000"/>
              <a:buFont typeface="Arial" panose="020B0604020202020204" pitchFamily="34" charset="0"/>
              <a:buChar char="•"/>
              <a:defRPr/>
            </a:pPr>
            <a:endParaRPr lang="en-US" kern="1200" dirty="0">
              <a:solidFill>
                <a:srgbClr val="4D4D4F"/>
              </a:solidFill>
              <a:latin typeface="+mj-lt"/>
            </a:endParaRPr>
          </a:p>
        </p:txBody>
      </p:sp>
      <p:sp>
        <p:nvSpPr>
          <p:cNvPr id="205" name="Rectangle 204">
            <a:extLst>
              <a:ext uri="{FF2B5EF4-FFF2-40B4-BE49-F238E27FC236}">
                <a16:creationId xmlns:a16="http://schemas.microsoft.com/office/drawing/2014/main" id="{1EBBBFC9-9C1A-4776-8862-AFA752CDB682}"/>
              </a:ext>
            </a:extLst>
          </p:cNvPr>
          <p:cNvSpPr/>
          <p:nvPr/>
        </p:nvSpPr>
        <p:spPr>
          <a:xfrm>
            <a:off x="5244166" y="2638018"/>
            <a:ext cx="2367732" cy="268984"/>
          </a:xfrm>
          <a:prstGeom prst="rect">
            <a:avLst/>
          </a:prstGeom>
        </p:spPr>
        <p:txBody>
          <a:bodyPr wrap="square">
            <a:spAutoFit/>
          </a:bodyPr>
          <a:lstStyle/>
          <a:p>
            <a:pPr defTabSz="913852">
              <a:lnSpc>
                <a:spcPct val="80000"/>
              </a:lnSpc>
              <a:spcBef>
                <a:spcPts val="1200"/>
              </a:spcBef>
              <a:buClr>
                <a:srgbClr val="700046"/>
              </a:buClr>
              <a:buSzPct val="115000"/>
              <a:defRPr/>
            </a:pPr>
            <a:r>
              <a:rPr lang="en-US" kern="1200" dirty="0">
                <a:solidFill>
                  <a:srgbClr val="4D4D4F"/>
                </a:solidFill>
                <a:latin typeface="+mj-lt"/>
                <a:ea typeface="+mn-ea"/>
                <a:cs typeface="Calibri" panose="020F0502020204030204" pitchFamily="34" charset="0"/>
              </a:rPr>
              <a:t>Secure Internet Browsing </a:t>
            </a:r>
          </a:p>
        </p:txBody>
      </p:sp>
      <p:sp>
        <p:nvSpPr>
          <p:cNvPr id="12" name="Rectangle 11"/>
          <p:cNvSpPr/>
          <p:nvPr/>
        </p:nvSpPr>
        <p:spPr>
          <a:xfrm>
            <a:off x="5047522" y="5118951"/>
            <a:ext cx="1764394"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Secure Endpoint</a:t>
            </a:r>
          </a:p>
        </p:txBody>
      </p:sp>
      <p:sp>
        <p:nvSpPr>
          <p:cNvPr id="15" name="Rectangle 14"/>
          <p:cNvSpPr/>
          <p:nvPr/>
        </p:nvSpPr>
        <p:spPr>
          <a:xfrm>
            <a:off x="4962339" y="3442084"/>
            <a:ext cx="1586460"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Secure Mobile </a:t>
            </a:r>
          </a:p>
        </p:txBody>
      </p:sp>
      <p:sp>
        <p:nvSpPr>
          <p:cNvPr id="19" name="Rectangle 18"/>
          <p:cNvSpPr/>
          <p:nvPr/>
        </p:nvSpPr>
        <p:spPr>
          <a:xfrm>
            <a:off x="4334862" y="4375787"/>
            <a:ext cx="1713418"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Remote Desktop</a:t>
            </a:r>
          </a:p>
        </p:txBody>
      </p:sp>
      <p:sp>
        <p:nvSpPr>
          <p:cNvPr id="21" name="Rectangle 20"/>
          <p:cNvSpPr/>
          <p:nvPr/>
        </p:nvSpPr>
        <p:spPr>
          <a:xfrm>
            <a:off x="5964671" y="4251224"/>
            <a:ext cx="1662828"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Device Posture </a:t>
            </a:r>
            <a:endParaRPr lang="aa-ET" sz="1600" kern="1200" cap="all" dirty="0">
              <a:solidFill>
                <a:srgbClr val="4D4D4F">
                  <a:lumMod val="50000"/>
                </a:srgbClr>
              </a:solidFill>
              <a:latin typeface="+mj-lt"/>
              <a:ea typeface="+mn-ea"/>
              <a:cs typeface="Calibri" panose="020F0502020204030204" pitchFamily="34" charset="0"/>
            </a:endParaRPr>
          </a:p>
        </p:txBody>
      </p:sp>
      <p:sp>
        <p:nvSpPr>
          <p:cNvPr id="23" name="Rectangle 22"/>
          <p:cNvSpPr/>
          <p:nvPr/>
        </p:nvSpPr>
        <p:spPr>
          <a:xfrm>
            <a:off x="4165060" y="3843493"/>
            <a:ext cx="1833387"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Prevent Zero-Day</a:t>
            </a:r>
          </a:p>
        </p:txBody>
      </p:sp>
      <p:sp>
        <p:nvSpPr>
          <p:cNvPr id="26" name="Rectangle 25"/>
          <p:cNvSpPr/>
          <p:nvPr/>
        </p:nvSpPr>
        <p:spPr>
          <a:xfrm>
            <a:off x="6671903" y="3861445"/>
            <a:ext cx="1605696"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Email Security </a:t>
            </a:r>
          </a:p>
        </p:txBody>
      </p:sp>
      <p:sp>
        <p:nvSpPr>
          <p:cNvPr id="28" name="Rectangle 27"/>
          <p:cNvSpPr/>
          <p:nvPr/>
        </p:nvSpPr>
        <p:spPr>
          <a:xfrm>
            <a:off x="6065484" y="4707501"/>
            <a:ext cx="1822935"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Prevent Phishing</a:t>
            </a:r>
          </a:p>
        </p:txBody>
      </p:sp>
      <p:sp>
        <p:nvSpPr>
          <p:cNvPr id="30" name="Rectangle 29"/>
          <p:cNvSpPr/>
          <p:nvPr/>
        </p:nvSpPr>
        <p:spPr>
          <a:xfrm>
            <a:off x="6180057" y="3068818"/>
            <a:ext cx="1485343"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dirty="0">
                <a:solidFill>
                  <a:srgbClr val="4D4D4F"/>
                </a:solidFill>
                <a:latin typeface="+mj-lt"/>
                <a:ea typeface="+mn-ea"/>
                <a:cs typeface="Calibri" panose="020F0502020204030204" pitchFamily="34" charset="0"/>
              </a:rPr>
              <a:t>Remote Access </a:t>
            </a:r>
          </a:p>
        </p:txBody>
      </p:sp>
      <p:sp>
        <p:nvSpPr>
          <p:cNvPr id="207" name="Freeform: Shape 206">
            <a:extLst>
              <a:ext uri="{FF2B5EF4-FFF2-40B4-BE49-F238E27FC236}">
                <a16:creationId xmlns:a16="http://schemas.microsoft.com/office/drawing/2014/main" id="{7575308D-1AB7-475D-B5EE-3560CAE507D2}"/>
              </a:ext>
            </a:extLst>
          </p:cNvPr>
          <p:cNvSpPr/>
          <p:nvPr/>
        </p:nvSpPr>
        <p:spPr bwMode="auto">
          <a:xfrm>
            <a:off x="4048713" y="2374589"/>
            <a:ext cx="4113313" cy="984989"/>
          </a:xfrm>
          <a:custGeom>
            <a:avLst/>
            <a:gdLst>
              <a:gd name="connsiteX0" fmla="*/ 417255 w 4114384"/>
              <a:gd name="connsiteY0" fmla="*/ 0 h 985246"/>
              <a:gd name="connsiteX1" fmla="*/ 3697129 w 4114384"/>
              <a:gd name="connsiteY1" fmla="*/ 0 h 985246"/>
              <a:gd name="connsiteX2" fmla="*/ 3780039 w 4114384"/>
              <a:gd name="connsiteY2" fmla="*/ 109664 h 985246"/>
              <a:gd name="connsiteX3" fmla="*/ 4092664 w 4114384"/>
              <a:gd name="connsiteY3" fmla="*/ 844480 h 985246"/>
              <a:gd name="connsiteX4" fmla="*/ 4114384 w 4114384"/>
              <a:gd name="connsiteY4" fmla="*/ 985246 h 985246"/>
              <a:gd name="connsiteX5" fmla="*/ 0 w 4114384"/>
              <a:gd name="connsiteY5" fmla="*/ 985246 h 985246"/>
              <a:gd name="connsiteX6" fmla="*/ 21720 w 4114384"/>
              <a:gd name="connsiteY6" fmla="*/ 844480 h 985246"/>
              <a:gd name="connsiteX7" fmla="*/ 334345 w 4114384"/>
              <a:gd name="connsiteY7" fmla="*/ 109664 h 98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84" h="985246">
                <a:moveTo>
                  <a:pt x="417255" y="0"/>
                </a:moveTo>
                <a:lnTo>
                  <a:pt x="3697129" y="0"/>
                </a:lnTo>
                <a:lnTo>
                  <a:pt x="3780039" y="109664"/>
                </a:lnTo>
                <a:cubicBezTo>
                  <a:pt x="3929389" y="328318"/>
                  <a:pt x="4037311" y="576929"/>
                  <a:pt x="4092664" y="844480"/>
                </a:cubicBezTo>
                <a:lnTo>
                  <a:pt x="4114384" y="985246"/>
                </a:lnTo>
                <a:lnTo>
                  <a:pt x="0" y="985246"/>
                </a:lnTo>
                <a:lnTo>
                  <a:pt x="21720" y="844480"/>
                </a:lnTo>
                <a:cubicBezTo>
                  <a:pt x="77074" y="576929"/>
                  <a:pt x="184995" y="328318"/>
                  <a:pt x="334345" y="109664"/>
                </a:cubicBezTo>
                <a:close/>
              </a:path>
            </a:pathLst>
          </a:custGeom>
          <a:solidFill>
            <a:schemeClr val="tx2"/>
          </a:solid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852">
              <a:lnSpc>
                <a:spcPct val="80000"/>
              </a:lnSpc>
              <a:spcBef>
                <a:spcPts val="1200"/>
              </a:spcBef>
              <a:buClr>
                <a:srgbClr val="FF0000"/>
              </a:buClr>
              <a:buSzPct val="115000"/>
              <a:defRPr/>
            </a:pPr>
            <a:endParaRPr lang="en-US" sz="2397" b="1"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b="1" kern="1200" dirty="0">
              <a:solidFill>
                <a:srgbClr val="4D4D4F"/>
              </a:solidFill>
              <a:latin typeface="+mj-lt"/>
            </a:endParaRPr>
          </a:p>
          <a:p>
            <a:pPr algn="ctr" defTabSz="913852">
              <a:lnSpc>
                <a:spcPct val="80000"/>
              </a:lnSpc>
              <a:spcBef>
                <a:spcPts val="1200"/>
              </a:spcBef>
              <a:buClr>
                <a:srgbClr val="FF0000"/>
              </a:buClr>
              <a:buSzPct val="115000"/>
              <a:defRPr/>
            </a:pPr>
            <a:r>
              <a:rPr lang="en-GB" sz="2799" b="1" kern="1200" dirty="0">
                <a:solidFill>
                  <a:srgbClr val="FFFFFF"/>
                </a:solidFill>
                <a:latin typeface="+mj-lt"/>
              </a:rPr>
              <a:t>IT IS WAY </a:t>
            </a:r>
            <a:br>
              <a:rPr lang="en-GB" sz="2799" b="1" kern="1200" dirty="0">
                <a:solidFill>
                  <a:srgbClr val="FFFFFF"/>
                </a:solidFill>
                <a:latin typeface="+mj-lt"/>
              </a:rPr>
            </a:br>
            <a:r>
              <a:rPr lang="en-GB" sz="2799" b="1" kern="1200" dirty="0">
                <a:solidFill>
                  <a:srgbClr val="FFFFFF"/>
                </a:solidFill>
                <a:latin typeface="+mj-lt"/>
              </a:rPr>
              <a:t>TOO COMPLEX!</a:t>
            </a:r>
            <a:endParaRPr lang="en-US" sz="2799" b="1" kern="1200" dirty="0">
              <a:solidFill>
                <a:srgbClr val="FFFFFF"/>
              </a:solidFill>
              <a:latin typeface="+mj-lt"/>
            </a:endParaRPr>
          </a:p>
          <a:p>
            <a:pPr algn="ctr" defTabSz="913852">
              <a:lnSpc>
                <a:spcPct val="80000"/>
              </a:lnSpc>
              <a:spcBef>
                <a:spcPts val="1200"/>
              </a:spcBef>
              <a:buClr>
                <a:srgbClr val="FF0000"/>
              </a:buClr>
              <a:buSzPct val="115000"/>
              <a:defRPr/>
            </a:pPr>
            <a:endParaRPr lang="en-US" sz="2799" b="1" kern="1200" dirty="0">
              <a:solidFill>
                <a:srgbClr val="FFFFFF"/>
              </a:solidFill>
              <a:latin typeface="+mj-lt"/>
            </a:endParaRPr>
          </a:p>
          <a:p>
            <a:pPr marL="342591" indent="-342591" defTabSz="913852">
              <a:lnSpc>
                <a:spcPct val="80000"/>
              </a:lnSpc>
              <a:spcBef>
                <a:spcPts val="1200"/>
              </a:spcBef>
              <a:buClr>
                <a:srgbClr val="FF0000"/>
              </a:buClr>
              <a:buSzPct val="115000"/>
              <a:buFont typeface="Arial" panose="020B0604020202020204" pitchFamily="34" charset="0"/>
              <a:buChar char="•"/>
              <a:defRPr/>
            </a:pPr>
            <a:endParaRPr lang="en-US" b="1" kern="1200" dirty="0">
              <a:solidFill>
                <a:srgbClr val="4D4D4F"/>
              </a:solidFill>
              <a:latin typeface="+mj-lt"/>
            </a:endParaRPr>
          </a:p>
        </p:txBody>
      </p:sp>
      <p:sp>
        <p:nvSpPr>
          <p:cNvPr id="206" name="Rectangle 205"/>
          <p:cNvSpPr/>
          <p:nvPr/>
        </p:nvSpPr>
        <p:spPr>
          <a:xfrm>
            <a:off x="5081863" y="4746820"/>
            <a:ext cx="674287"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NGAV</a:t>
            </a:r>
          </a:p>
        </p:txBody>
      </p:sp>
      <p:sp>
        <p:nvSpPr>
          <p:cNvPr id="208" name="Rectangle 207"/>
          <p:cNvSpPr/>
          <p:nvPr/>
        </p:nvSpPr>
        <p:spPr>
          <a:xfrm>
            <a:off x="6558420" y="3475473"/>
            <a:ext cx="1573508" cy="289310"/>
          </a:xfrm>
          <a:prstGeom prst="rect">
            <a:avLst/>
          </a:prstGeom>
        </p:spPr>
        <p:txBody>
          <a:bodyPr wrap="none">
            <a:spAutoFit/>
          </a:bodyPr>
          <a:lstStyle/>
          <a:p>
            <a:pPr defTabSz="913852">
              <a:lnSpc>
                <a:spcPct val="80000"/>
              </a:lnSpc>
              <a:spcBef>
                <a:spcPts val="1200"/>
              </a:spcBef>
              <a:buClr>
                <a:srgbClr val="700046"/>
              </a:buClr>
              <a:buSzPct val="115000"/>
              <a:defRPr/>
            </a:pPr>
            <a:r>
              <a:rPr lang="en-US" sz="1600" kern="1200" cap="all" dirty="0">
                <a:solidFill>
                  <a:srgbClr val="4D4D4F">
                    <a:lumMod val="50000"/>
                  </a:srgbClr>
                </a:solidFill>
                <a:latin typeface="+mj-lt"/>
                <a:ea typeface="+mn-ea"/>
                <a:cs typeface="Calibri" panose="020F0502020204030204" pitchFamily="34" charset="0"/>
              </a:rPr>
              <a:t>remote access</a:t>
            </a:r>
          </a:p>
        </p:txBody>
      </p:sp>
    </p:spTree>
    <p:extLst>
      <p:ext uri="{BB962C8B-B14F-4D97-AF65-F5344CB8AC3E}">
        <p14:creationId xmlns:p14="http://schemas.microsoft.com/office/powerpoint/2010/main" val="9200670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Freeform: Shape 206">
            <a:extLst>
              <a:ext uri="{FF2B5EF4-FFF2-40B4-BE49-F238E27FC236}">
                <a16:creationId xmlns:a16="http://schemas.microsoft.com/office/drawing/2014/main" id="{7575308D-1AB7-475D-B5EE-3560CAE507D2}"/>
              </a:ext>
            </a:extLst>
          </p:cNvPr>
          <p:cNvSpPr/>
          <p:nvPr/>
        </p:nvSpPr>
        <p:spPr bwMode="auto">
          <a:xfrm>
            <a:off x="4047125" y="2374589"/>
            <a:ext cx="4113313" cy="984989"/>
          </a:xfrm>
          <a:custGeom>
            <a:avLst/>
            <a:gdLst>
              <a:gd name="connsiteX0" fmla="*/ 417255 w 4114384"/>
              <a:gd name="connsiteY0" fmla="*/ 0 h 985246"/>
              <a:gd name="connsiteX1" fmla="*/ 3697129 w 4114384"/>
              <a:gd name="connsiteY1" fmla="*/ 0 h 985246"/>
              <a:gd name="connsiteX2" fmla="*/ 3780039 w 4114384"/>
              <a:gd name="connsiteY2" fmla="*/ 109664 h 985246"/>
              <a:gd name="connsiteX3" fmla="*/ 4092664 w 4114384"/>
              <a:gd name="connsiteY3" fmla="*/ 844480 h 985246"/>
              <a:gd name="connsiteX4" fmla="*/ 4114384 w 4114384"/>
              <a:gd name="connsiteY4" fmla="*/ 985246 h 985246"/>
              <a:gd name="connsiteX5" fmla="*/ 0 w 4114384"/>
              <a:gd name="connsiteY5" fmla="*/ 985246 h 985246"/>
              <a:gd name="connsiteX6" fmla="*/ 21720 w 4114384"/>
              <a:gd name="connsiteY6" fmla="*/ 844480 h 985246"/>
              <a:gd name="connsiteX7" fmla="*/ 334345 w 4114384"/>
              <a:gd name="connsiteY7" fmla="*/ 109664 h 98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84" h="985246">
                <a:moveTo>
                  <a:pt x="417255" y="0"/>
                </a:moveTo>
                <a:lnTo>
                  <a:pt x="3697129" y="0"/>
                </a:lnTo>
                <a:lnTo>
                  <a:pt x="3780039" y="109664"/>
                </a:lnTo>
                <a:cubicBezTo>
                  <a:pt x="3929389" y="328318"/>
                  <a:pt x="4037311" y="576929"/>
                  <a:pt x="4092664" y="844480"/>
                </a:cubicBezTo>
                <a:lnTo>
                  <a:pt x="4114384" y="985246"/>
                </a:lnTo>
                <a:lnTo>
                  <a:pt x="0" y="985246"/>
                </a:lnTo>
                <a:lnTo>
                  <a:pt x="21720" y="844480"/>
                </a:lnTo>
                <a:cubicBezTo>
                  <a:pt x="77074" y="576929"/>
                  <a:pt x="184995" y="328318"/>
                  <a:pt x="334345" y="109664"/>
                </a:cubicBezTo>
                <a:close/>
              </a:path>
            </a:pathLst>
          </a:custGeom>
          <a:solidFill>
            <a:schemeClr val="tx2"/>
          </a:solid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algn="ctr" defTabSz="913852">
              <a:lnSpc>
                <a:spcPct val="80000"/>
              </a:lnSpc>
              <a:spcBef>
                <a:spcPts val="1200"/>
              </a:spcBef>
              <a:buClr>
                <a:srgbClr val="FF0000"/>
              </a:buClr>
              <a:buSzPct val="115000"/>
              <a:defRPr/>
            </a:pPr>
            <a:endParaRPr lang="en-US" sz="2397" kern="1200" dirty="0">
              <a:solidFill>
                <a:srgbClr val="4D4D4F"/>
              </a:solidFill>
              <a:latin typeface="+mj-lt"/>
            </a:endParaRPr>
          </a:p>
          <a:p>
            <a:pPr algn="ctr" defTabSz="913852">
              <a:lnSpc>
                <a:spcPct val="80000"/>
              </a:lnSpc>
              <a:spcBef>
                <a:spcPts val="1200"/>
              </a:spcBef>
              <a:buClr>
                <a:srgbClr val="FF0000"/>
              </a:buClr>
              <a:buSzPct val="115000"/>
              <a:defRPr/>
            </a:pPr>
            <a:r>
              <a:rPr lang="en-GB" sz="2799" kern="1200" dirty="0">
                <a:solidFill>
                  <a:srgbClr val="FFFFFF"/>
                </a:solidFill>
                <a:latin typeface="+mj-lt"/>
              </a:rPr>
              <a:t>IT IS WAY </a:t>
            </a:r>
            <a:br>
              <a:rPr lang="en-GB" sz="2799" kern="1200" dirty="0">
                <a:solidFill>
                  <a:srgbClr val="FFFFFF"/>
                </a:solidFill>
                <a:latin typeface="+mj-lt"/>
              </a:rPr>
            </a:br>
            <a:r>
              <a:rPr lang="en-GB" sz="2799" kern="1200" dirty="0">
                <a:solidFill>
                  <a:srgbClr val="FFFFFF"/>
                </a:solidFill>
                <a:latin typeface="+mj-lt"/>
              </a:rPr>
              <a:t>TOO COMPLEX!</a:t>
            </a:r>
            <a:endParaRPr lang="en-US" sz="2799" kern="1200" dirty="0">
              <a:solidFill>
                <a:srgbClr val="FFFFFF"/>
              </a:solidFill>
              <a:latin typeface="+mj-lt"/>
            </a:endParaRPr>
          </a:p>
          <a:p>
            <a:pPr algn="ctr" defTabSz="913852">
              <a:lnSpc>
                <a:spcPct val="80000"/>
              </a:lnSpc>
              <a:spcBef>
                <a:spcPts val="1200"/>
              </a:spcBef>
              <a:buClr>
                <a:srgbClr val="FF0000"/>
              </a:buClr>
              <a:buSzPct val="115000"/>
              <a:defRPr/>
            </a:pPr>
            <a:endParaRPr lang="en-US" sz="2799" kern="1200" dirty="0">
              <a:solidFill>
                <a:srgbClr val="FFFFFF"/>
              </a:solidFill>
              <a:latin typeface="+mj-lt"/>
            </a:endParaRPr>
          </a:p>
          <a:p>
            <a:pPr marL="342591" indent="-342591" defTabSz="913852">
              <a:lnSpc>
                <a:spcPct val="80000"/>
              </a:lnSpc>
              <a:spcBef>
                <a:spcPts val="1200"/>
              </a:spcBef>
              <a:buClr>
                <a:srgbClr val="FF0000"/>
              </a:buClr>
              <a:buSzPct val="115000"/>
              <a:buFont typeface="Arial" panose="020B0604020202020204" pitchFamily="34" charset="0"/>
              <a:buChar char="•"/>
              <a:defRPr/>
            </a:pPr>
            <a:endParaRPr lang="en-US" kern="1200" dirty="0">
              <a:solidFill>
                <a:srgbClr val="4D4D4F"/>
              </a:solidFill>
              <a:latin typeface="+mj-lt"/>
            </a:endParaRPr>
          </a:p>
        </p:txBody>
      </p:sp>
      <p:pic>
        <p:nvPicPr>
          <p:cNvPr id="163" name="Picture 162">
            <a:extLst>
              <a:ext uri="{FF2B5EF4-FFF2-40B4-BE49-F238E27FC236}">
                <a16:creationId xmlns:a16="http://schemas.microsoft.com/office/drawing/2014/main" id="{39A06D36-55A2-4EC2-A041-0ACA0E11DC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7722" y="4611585"/>
            <a:ext cx="1547194" cy="1547194"/>
          </a:xfrm>
          <a:prstGeom prst="ellipse">
            <a:avLst/>
          </a:prstGeom>
          <a:effectLst>
            <a:outerShdw blurRad="50800" dist="38100" dir="2700000" algn="tl" rotWithShape="0">
              <a:prstClr val="black">
                <a:alpha val="40000"/>
              </a:prstClr>
            </a:outerShdw>
          </a:effectLst>
        </p:spPr>
      </p:pic>
      <p:cxnSp>
        <p:nvCxnSpPr>
          <p:cNvPr id="529" name="Straight Connector 528">
            <a:extLst>
              <a:ext uri="{FF2B5EF4-FFF2-40B4-BE49-F238E27FC236}">
                <a16:creationId xmlns:a16="http://schemas.microsoft.com/office/drawing/2014/main" id="{4DC92645-E5C2-4304-A620-52FD8D0371D5}"/>
              </a:ext>
            </a:extLst>
          </p:cNvPr>
          <p:cNvCxnSpPr>
            <a:cxnSpLocks/>
            <a:stCxn id="188" idx="2"/>
            <a:endCxn id="192" idx="1"/>
          </p:cNvCxnSpPr>
          <p:nvPr/>
        </p:nvCxnSpPr>
        <p:spPr bwMode="auto">
          <a:xfrm>
            <a:off x="2545346" y="1802209"/>
            <a:ext cx="6938378" cy="147874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id="{8EC96505-7679-4AFD-87E4-C9E4A210692C}"/>
              </a:ext>
            </a:extLst>
          </p:cNvPr>
          <p:cNvCxnSpPr>
            <a:cxnSpLocks/>
            <a:stCxn id="173" idx="0"/>
            <a:endCxn id="418" idx="1"/>
          </p:cNvCxnSpPr>
          <p:nvPr/>
        </p:nvCxnSpPr>
        <p:spPr bwMode="auto">
          <a:xfrm>
            <a:off x="2736070" y="5494200"/>
            <a:ext cx="6747653" cy="26512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itle 1">
            <a:extLst>
              <a:ext uri="{FF2B5EF4-FFF2-40B4-BE49-F238E27FC236}">
                <a16:creationId xmlns:a16="http://schemas.microsoft.com/office/drawing/2014/main" id="{D1436F6B-6078-47C2-96EF-122E14779BCF}"/>
              </a:ext>
            </a:extLst>
          </p:cNvPr>
          <p:cNvSpPr>
            <a:spLocks noGrp="1"/>
          </p:cNvSpPr>
          <p:nvPr>
            <p:ph type="title"/>
          </p:nvPr>
        </p:nvSpPr>
        <p:spPr>
          <a:xfrm>
            <a:off x="513263" y="253308"/>
            <a:ext cx="11209619" cy="711127"/>
          </a:xfrm>
        </p:spPr>
        <p:txBody>
          <a:bodyPr/>
          <a:lstStyle/>
          <a:p>
            <a:r>
              <a:rPr lang="en-GB" sz="3200" b="1" cap="all" dirty="0"/>
              <a:t>IN THE NEW WORLD </a:t>
            </a:r>
            <a:br>
              <a:rPr lang="en-GB" sz="3200" b="1" cap="all" dirty="0"/>
            </a:br>
            <a:r>
              <a:rPr lang="en-GB" sz="3200" b="1" cap="all" dirty="0">
                <a:solidFill>
                  <a:schemeClr val="tx1"/>
                </a:solidFill>
              </a:rPr>
              <a:t>WE WANT TO USE ANY DEVICE TO ACCESS ANY APPLICATION</a:t>
            </a:r>
          </a:p>
        </p:txBody>
      </p:sp>
      <p:sp>
        <p:nvSpPr>
          <p:cNvPr id="3" name="Footer Placeholder 2" hidden="1"/>
          <p:cNvSpPr>
            <a:spLocks noGrp="1"/>
          </p:cNvSpPr>
          <p:nvPr>
            <p:ph type="ftr" sz="quarter" idx="11"/>
          </p:nvPr>
        </p:nvSpPr>
        <p:spPr/>
        <p:txBody>
          <a:bodyPr/>
          <a:lstStyle/>
          <a:p>
            <a:pPr defTabSz="913852">
              <a:buClrTx/>
              <a:defRPr/>
            </a:pPr>
            <a:r>
              <a:rPr lang="en-US" kern="1200" dirty="0">
                <a:solidFill>
                  <a:srgbClr val="FFFFFF">
                    <a:lumMod val="75000"/>
                  </a:srgbClr>
                </a:solidFill>
                <a:latin typeface="Calibri"/>
                <a:ea typeface="+mn-ea"/>
                <a:cs typeface="+mn-cs"/>
              </a:rPr>
              <a:t> [Internal Use] for Check Point employees​</a:t>
            </a:r>
          </a:p>
        </p:txBody>
      </p:sp>
      <p:sp>
        <p:nvSpPr>
          <p:cNvPr id="4" name="Date Placeholder 3" hidden="1"/>
          <p:cNvSpPr>
            <a:spLocks noGrp="1"/>
          </p:cNvSpPr>
          <p:nvPr>
            <p:ph type="dt" sz="half" idx="12"/>
          </p:nvPr>
        </p:nvSpPr>
        <p:spPr/>
        <p:txBody>
          <a:bodyPr/>
          <a:lstStyle/>
          <a:p>
            <a:pPr defTabSz="913852" fontAlgn="base">
              <a:spcBef>
                <a:spcPct val="20000"/>
              </a:spcBef>
              <a:spcAft>
                <a:spcPct val="0"/>
              </a:spcAft>
              <a:buClr>
                <a:srgbClr val="FF0000"/>
              </a:buClr>
              <a:buSzPct val="65000"/>
              <a:defRPr/>
            </a:pPr>
            <a:endParaRPr lang="en-US" kern="1200" dirty="0">
              <a:solidFill>
                <a:srgbClr val="4D4D4F">
                  <a:tint val="75000"/>
                </a:srgbClr>
              </a:solidFill>
              <a:latin typeface="Helvetica" pitchFamily="34" charset="0"/>
              <a:ea typeface="+mn-ea"/>
              <a:cs typeface="+mn-cs"/>
            </a:endParaRPr>
          </a:p>
        </p:txBody>
      </p:sp>
      <p:cxnSp>
        <p:nvCxnSpPr>
          <p:cNvPr id="146" name="Straight Connector 145">
            <a:extLst>
              <a:ext uri="{FF2B5EF4-FFF2-40B4-BE49-F238E27FC236}">
                <a16:creationId xmlns:a16="http://schemas.microsoft.com/office/drawing/2014/main" id="{2E1F98DC-9CE4-4E9C-BE85-ECFCD25FD9FB}"/>
              </a:ext>
            </a:extLst>
          </p:cNvPr>
          <p:cNvCxnSpPr>
            <a:cxnSpLocks/>
            <a:endCxn id="193" idx="1"/>
          </p:cNvCxnSpPr>
          <p:nvPr/>
        </p:nvCxnSpPr>
        <p:spPr bwMode="auto">
          <a:xfrm>
            <a:off x="2553688" y="1938786"/>
            <a:ext cx="6930036" cy="516044"/>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Straight Connector 155">
            <a:extLst>
              <a:ext uri="{FF2B5EF4-FFF2-40B4-BE49-F238E27FC236}">
                <a16:creationId xmlns:a16="http://schemas.microsoft.com/office/drawing/2014/main" id="{C1DBE8D5-76C8-4860-9DF4-42CE15235B5E}"/>
              </a:ext>
            </a:extLst>
          </p:cNvPr>
          <p:cNvCxnSpPr>
            <a:cxnSpLocks/>
            <a:stCxn id="183" idx="0"/>
            <a:endCxn id="418" idx="1"/>
          </p:cNvCxnSpPr>
          <p:nvPr/>
        </p:nvCxnSpPr>
        <p:spPr bwMode="auto">
          <a:xfrm>
            <a:off x="2559143" y="3939998"/>
            <a:ext cx="6924580" cy="181932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Connector 158">
            <a:extLst>
              <a:ext uri="{FF2B5EF4-FFF2-40B4-BE49-F238E27FC236}">
                <a16:creationId xmlns:a16="http://schemas.microsoft.com/office/drawing/2014/main" id="{49C77106-0681-4493-B740-947CE0C5906F}"/>
              </a:ext>
            </a:extLst>
          </p:cNvPr>
          <p:cNvCxnSpPr>
            <a:cxnSpLocks/>
            <a:stCxn id="173" idx="2"/>
            <a:endCxn id="194" idx="1"/>
          </p:cNvCxnSpPr>
          <p:nvPr/>
        </p:nvCxnSpPr>
        <p:spPr bwMode="auto">
          <a:xfrm flipV="1">
            <a:off x="2736070" y="1628708"/>
            <a:ext cx="6747653" cy="358624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Straight Connector 321">
            <a:extLst>
              <a:ext uri="{FF2B5EF4-FFF2-40B4-BE49-F238E27FC236}">
                <a16:creationId xmlns:a16="http://schemas.microsoft.com/office/drawing/2014/main" id="{250FF296-2BB6-4D2C-8EA9-60752BD6ACC4}"/>
              </a:ext>
            </a:extLst>
          </p:cNvPr>
          <p:cNvCxnSpPr>
            <a:cxnSpLocks/>
            <a:stCxn id="188" idx="0"/>
            <a:endCxn id="195" idx="1"/>
          </p:cNvCxnSpPr>
          <p:nvPr/>
        </p:nvCxnSpPr>
        <p:spPr bwMode="auto">
          <a:xfrm>
            <a:off x="2545346" y="2102971"/>
            <a:ext cx="6938378" cy="200410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3" name="Straight Connector 322">
            <a:extLst>
              <a:ext uri="{FF2B5EF4-FFF2-40B4-BE49-F238E27FC236}">
                <a16:creationId xmlns:a16="http://schemas.microsoft.com/office/drawing/2014/main" id="{1BC946E2-7360-44AF-940E-57046AC4CDE2}"/>
              </a:ext>
            </a:extLst>
          </p:cNvPr>
          <p:cNvCxnSpPr>
            <a:cxnSpLocks/>
            <a:stCxn id="186" idx="0"/>
            <a:endCxn id="196" idx="1"/>
          </p:cNvCxnSpPr>
          <p:nvPr/>
        </p:nvCxnSpPr>
        <p:spPr bwMode="auto">
          <a:xfrm>
            <a:off x="2533443" y="2187474"/>
            <a:ext cx="6950281" cy="274572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Straight Connector 323">
            <a:extLst>
              <a:ext uri="{FF2B5EF4-FFF2-40B4-BE49-F238E27FC236}">
                <a16:creationId xmlns:a16="http://schemas.microsoft.com/office/drawing/2014/main" id="{2F22357C-5FB6-4357-9B73-9B840D23772A}"/>
              </a:ext>
            </a:extLst>
          </p:cNvPr>
          <p:cNvCxnSpPr/>
          <p:nvPr/>
        </p:nvCxnSpPr>
        <p:spPr bwMode="auto">
          <a:xfrm>
            <a:off x="2559141" y="3748206"/>
            <a:ext cx="7022683" cy="240137"/>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8" name="Straight Connector 377">
            <a:extLst>
              <a:ext uri="{FF2B5EF4-FFF2-40B4-BE49-F238E27FC236}">
                <a16:creationId xmlns:a16="http://schemas.microsoft.com/office/drawing/2014/main" id="{5692E782-4640-4B82-BBEB-32C72358EA96}"/>
              </a:ext>
            </a:extLst>
          </p:cNvPr>
          <p:cNvCxnSpPr>
            <a:cxnSpLocks/>
            <a:stCxn id="173" idx="2"/>
            <a:endCxn id="193" idx="1"/>
          </p:cNvCxnSpPr>
          <p:nvPr/>
        </p:nvCxnSpPr>
        <p:spPr bwMode="auto">
          <a:xfrm flipV="1">
            <a:off x="2736070" y="2454830"/>
            <a:ext cx="6747653" cy="2760123"/>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1" name="Straight Connector 380">
            <a:extLst>
              <a:ext uri="{FF2B5EF4-FFF2-40B4-BE49-F238E27FC236}">
                <a16:creationId xmlns:a16="http://schemas.microsoft.com/office/drawing/2014/main" id="{F0773E6B-A8A6-4F27-90CD-2E57D60085C0}"/>
              </a:ext>
            </a:extLst>
          </p:cNvPr>
          <p:cNvCxnSpPr>
            <a:cxnSpLocks/>
            <a:stCxn id="173" idx="0"/>
            <a:endCxn id="195" idx="1"/>
          </p:cNvCxnSpPr>
          <p:nvPr/>
        </p:nvCxnSpPr>
        <p:spPr bwMode="auto">
          <a:xfrm flipV="1">
            <a:off x="2736070" y="4107074"/>
            <a:ext cx="6747653" cy="1387126"/>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4" name="Straight Connector 383">
            <a:extLst>
              <a:ext uri="{FF2B5EF4-FFF2-40B4-BE49-F238E27FC236}">
                <a16:creationId xmlns:a16="http://schemas.microsoft.com/office/drawing/2014/main" id="{9C1E3CE3-E9A6-4D63-A2C0-BB15062AC84D}"/>
              </a:ext>
            </a:extLst>
          </p:cNvPr>
          <p:cNvCxnSpPr>
            <a:cxnSpLocks/>
            <a:stCxn id="179" idx="10"/>
            <a:endCxn id="194" idx="1"/>
          </p:cNvCxnSpPr>
          <p:nvPr/>
        </p:nvCxnSpPr>
        <p:spPr bwMode="auto">
          <a:xfrm flipV="1">
            <a:off x="2559143" y="1628708"/>
            <a:ext cx="6924580" cy="2003408"/>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1" name="Picture 160">
            <a:extLst>
              <a:ext uri="{FF2B5EF4-FFF2-40B4-BE49-F238E27FC236}">
                <a16:creationId xmlns:a16="http://schemas.microsoft.com/office/drawing/2014/main" id="{606CF04E-120A-4D2C-A9F6-765E4B84C44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25596" y="1117725"/>
            <a:ext cx="1547194" cy="1547194"/>
          </a:xfrm>
          <a:prstGeom prst="ellipse">
            <a:avLst/>
          </a:prstGeom>
          <a:effectLst>
            <a:outerShdw blurRad="50800" dist="38100" dir="2700000" algn="tl" rotWithShape="0">
              <a:prstClr val="black">
                <a:alpha val="40000"/>
              </a:prstClr>
            </a:outerShdw>
          </a:effectLst>
        </p:spPr>
      </p:pic>
      <p:pic>
        <p:nvPicPr>
          <p:cNvPr id="162" name="Picture 161">
            <a:extLst>
              <a:ext uri="{FF2B5EF4-FFF2-40B4-BE49-F238E27FC236}">
                <a16:creationId xmlns:a16="http://schemas.microsoft.com/office/drawing/2014/main" id="{31822D67-4F46-44DC-AAB1-F7E2E1877A3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736587" y="2884164"/>
            <a:ext cx="1547194" cy="1547194"/>
          </a:xfrm>
          <a:prstGeom prst="ellipse">
            <a:avLst/>
          </a:prstGeom>
          <a:effectLst>
            <a:outerShdw blurRad="50800" dist="38100" dir="2700000" algn="tl" rotWithShape="0">
              <a:prstClr val="black">
                <a:alpha val="40000"/>
              </a:prstClr>
            </a:outerShdw>
          </a:effectLst>
        </p:spPr>
      </p:pic>
      <p:sp>
        <p:nvSpPr>
          <p:cNvPr id="165" name="Freeform: Shape 164">
            <a:extLst>
              <a:ext uri="{FF2B5EF4-FFF2-40B4-BE49-F238E27FC236}">
                <a16:creationId xmlns:a16="http://schemas.microsoft.com/office/drawing/2014/main" id="{58CDD83C-B671-45C6-BA3D-85BCB8BED05D}"/>
              </a:ext>
            </a:extLst>
          </p:cNvPr>
          <p:cNvSpPr/>
          <p:nvPr/>
        </p:nvSpPr>
        <p:spPr bwMode="auto">
          <a:xfrm>
            <a:off x="749579" y="3830297"/>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n the go</a:t>
            </a:r>
            <a:endParaRPr lang="en-US" sz="1798" kern="1200" cap="all" dirty="0" err="1">
              <a:solidFill>
                <a:srgbClr val="FFFFFF"/>
              </a:solidFill>
              <a:latin typeface="+mj-lt"/>
              <a:ea typeface="+mn-ea"/>
              <a:cs typeface="Calibri" panose="020F0502020204030204" pitchFamily="34" charset="0"/>
            </a:endParaRPr>
          </a:p>
        </p:txBody>
      </p:sp>
      <p:sp>
        <p:nvSpPr>
          <p:cNvPr id="167" name="Freeform: Shape 166">
            <a:extLst>
              <a:ext uri="{FF2B5EF4-FFF2-40B4-BE49-F238E27FC236}">
                <a16:creationId xmlns:a16="http://schemas.microsoft.com/office/drawing/2014/main" id="{4A0BF7A1-EC1A-4D73-9702-AE42941CD3B6}"/>
              </a:ext>
            </a:extLst>
          </p:cNvPr>
          <p:cNvSpPr/>
          <p:nvPr/>
        </p:nvSpPr>
        <p:spPr bwMode="auto">
          <a:xfrm>
            <a:off x="756891" y="5572658"/>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ffice</a:t>
            </a:r>
            <a:endParaRPr lang="en-US" sz="1798" kern="1200" cap="all" dirty="0" err="1">
              <a:solidFill>
                <a:srgbClr val="FFFFFF"/>
              </a:solidFill>
              <a:latin typeface="+mj-lt"/>
              <a:ea typeface="+mn-ea"/>
              <a:cs typeface="Calibri" panose="020F0502020204030204" pitchFamily="34" charset="0"/>
            </a:endParaRPr>
          </a:p>
        </p:txBody>
      </p:sp>
      <p:sp>
        <p:nvSpPr>
          <p:cNvPr id="168" name="Freeform: Shape 167">
            <a:extLst>
              <a:ext uri="{FF2B5EF4-FFF2-40B4-BE49-F238E27FC236}">
                <a16:creationId xmlns:a16="http://schemas.microsoft.com/office/drawing/2014/main" id="{9438409D-7FAE-4E3D-85E1-1C8AD80A490C}"/>
              </a:ext>
            </a:extLst>
          </p:cNvPr>
          <p:cNvSpPr/>
          <p:nvPr/>
        </p:nvSpPr>
        <p:spPr bwMode="auto">
          <a:xfrm>
            <a:off x="747870" y="2064485"/>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Home</a:t>
            </a:r>
            <a:endParaRPr lang="en-US" sz="1798" kern="1200" cap="all" dirty="0" err="1">
              <a:solidFill>
                <a:srgbClr val="FFFFFF"/>
              </a:solidFill>
              <a:latin typeface="+mj-lt"/>
              <a:ea typeface="+mn-ea"/>
              <a:cs typeface="Calibri" panose="020F0502020204030204" pitchFamily="34" charset="0"/>
            </a:endParaRPr>
          </a:p>
        </p:txBody>
      </p:sp>
      <p:grpSp>
        <p:nvGrpSpPr>
          <p:cNvPr id="170" name="Group 169">
            <a:extLst>
              <a:ext uri="{FF2B5EF4-FFF2-40B4-BE49-F238E27FC236}">
                <a16:creationId xmlns:a16="http://schemas.microsoft.com/office/drawing/2014/main" id="{D7C06901-C66D-46A3-B9BE-6651CFFC7AEF}"/>
              </a:ext>
            </a:extLst>
          </p:cNvPr>
          <p:cNvGrpSpPr/>
          <p:nvPr/>
        </p:nvGrpSpPr>
        <p:grpSpPr>
          <a:xfrm>
            <a:off x="2233323" y="5132642"/>
            <a:ext cx="536264" cy="440015"/>
            <a:chOff x="2576513" y="1664174"/>
            <a:chExt cx="584200" cy="482127"/>
          </a:xfrm>
        </p:grpSpPr>
        <p:sp>
          <p:nvSpPr>
            <p:cNvPr id="171" name="Freeform 335">
              <a:extLst>
                <a:ext uri="{FF2B5EF4-FFF2-40B4-BE49-F238E27FC236}">
                  <a16:creationId xmlns:a16="http://schemas.microsoft.com/office/drawing/2014/main" id="{7B68A190-E010-4054-A4BE-6135728F6A29}"/>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1"/>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2" name="Freeform 336">
              <a:extLst>
                <a:ext uri="{FF2B5EF4-FFF2-40B4-BE49-F238E27FC236}">
                  <a16:creationId xmlns:a16="http://schemas.microsoft.com/office/drawing/2014/main" id="{C1B8187D-5C81-4A97-B725-0C10EA14454E}"/>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3" name="Freeform 337">
              <a:extLst>
                <a:ext uri="{FF2B5EF4-FFF2-40B4-BE49-F238E27FC236}">
                  <a16:creationId xmlns:a16="http://schemas.microsoft.com/office/drawing/2014/main" id="{1ACF60CE-7D05-4407-8203-D4B02902ED8E}"/>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4" name="Freeform 338">
              <a:extLst>
                <a:ext uri="{FF2B5EF4-FFF2-40B4-BE49-F238E27FC236}">
                  <a16:creationId xmlns:a16="http://schemas.microsoft.com/office/drawing/2014/main" id="{9CD83A47-D389-4EDE-8345-8E65719FB245}"/>
                </a:ext>
              </a:extLst>
            </p:cNvPr>
            <p:cNvSpPr>
              <a:spLocks/>
            </p:cNvSpPr>
            <p:nvPr/>
          </p:nvSpPr>
          <p:spPr bwMode="auto">
            <a:xfrm flipV="1">
              <a:off x="2906564" y="172295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5" name="Freeform 339">
              <a:extLst>
                <a:ext uri="{FF2B5EF4-FFF2-40B4-BE49-F238E27FC236}">
                  <a16:creationId xmlns:a16="http://schemas.microsoft.com/office/drawing/2014/main" id="{AC992AC2-91AD-4F10-A22F-4C55CDDCF7DD}"/>
                </a:ext>
              </a:extLst>
            </p:cNvPr>
            <p:cNvSpPr>
              <a:spLocks/>
            </p:cNvSpPr>
            <p:nvPr/>
          </p:nvSpPr>
          <p:spPr bwMode="auto">
            <a:xfrm flipV="1">
              <a:off x="2906564" y="1786592"/>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6" name="Freeform 340">
              <a:extLst>
                <a:ext uri="{FF2B5EF4-FFF2-40B4-BE49-F238E27FC236}">
                  <a16:creationId xmlns:a16="http://schemas.microsoft.com/office/drawing/2014/main" id="{6559EFCB-D7AB-420F-A375-348382F9FBCF}"/>
                </a:ext>
              </a:extLst>
            </p:cNvPr>
            <p:cNvSpPr>
              <a:spLocks/>
            </p:cNvSpPr>
            <p:nvPr/>
          </p:nvSpPr>
          <p:spPr bwMode="auto">
            <a:xfrm flipV="1">
              <a:off x="2906564" y="1664174"/>
              <a:ext cx="165100" cy="184431"/>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177" name="Freeform 341">
              <a:extLst>
                <a:ext uri="{FF2B5EF4-FFF2-40B4-BE49-F238E27FC236}">
                  <a16:creationId xmlns:a16="http://schemas.microsoft.com/office/drawing/2014/main" id="{4BA9F7CD-76BC-4AD9-BFC2-02996C165074}"/>
                </a:ext>
              </a:extLst>
            </p:cNvPr>
            <p:cNvSpPr>
              <a:spLocks/>
            </p:cNvSpPr>
            <p:nvPr/>
          </p:nvSpPr>
          <p:spPr bwMode="auto">
            <a:xfrm>
              <a:off x="2663551" y="1837309"/>
              <a:ext cx="193878" cy="149448"/>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nvGrpSpPr>
          <p:cNvPr id="178" name="Group 177">
            <a:extLst>
              <a:ext uri="{FF2B5EF4-FFF2-40B4-BE49-F238E27FC236}">
                <a16:creationId xmlns:a16="http://schemas.microsoft.com/office/drawing/2014/main" id="{7208C0A3-3E46-430F-9B71-00B57F4C4B84}"/>
              </a:ext>
            </a:extLst>
          </p:cNvPr>
          <p:cNvGrpSpPr/>
          <p:nvPr/>
        </p:nvGrpSpPr>
        <p:grpSpPr>
          <a:xfrm>
            <a:off x="2244644" y="3530053"/>
            <a:ext cx="314499" cy="515691"/>
            <a:chOff x="2459115" y="3412425"/>
            <a:chExt cx="394792" cy="649051"/>
          </a:xfrm>
        </p:grpSpPr>
        <p:sp>
          <p:nvSpPr>
            <p:cNvPr id="179" name="Freeform 872">
              <a:extLst>
                <a:ext uri="{FF2B5EF4-FFF2-40B4-BE49-F238E27FC236}">
                  <a16:creationId xmlns:a16="http://schemas.microsoft.com/office/drawing/2014/main" id="{5FCF0AF7-4B6B-4065-AE24-F4EB5B3B6F52}"/>
                </a:ext>
              </a:extLst>
            </p:cNvPr>
            <p:cNvSpPr>
              <a:spLocks/>
            </p:cNvSpPr>
            <p:nvPr/>
          </p:nvSpPr>
          <p:spPr bwMode="auto">
            <a:xfrm>
              <a:off x="2459115" y="3412425"/>
              <a:ext cx="394792" cy="649051"/>
            </a:xfrm>
            <a:custGeom>
              <a:avLst/>
              <a:gdLst>
                <a:gd name="T0" fmla="*/ 160 w 160"/>
                <a:gd name="T1" fmla="*/ 230 h 288"/>
                <a:gd name="T2" fmla="*/ 160 w 160"/>
                <a:gd name="T3" fmla="*/ 230 h 288"/>
                <a:gd name="T4" fmla="*/ 160 w 160"/>
                <a:gd name="T5" fmla="*/ 275 h 288"/>
                <a:gd name="T6" fmla="*/ 147 w 160"/>
                <a:gd name="T7" fmla="*/ 288 h 288"/>
                <a:gd name="T8" fmla="*/ 13 w 160"/>
                <a:gd name="T9" fmla="*/ 288 h 288"/>
                <a:gd name="T10" fmla="*/ 0 w 160"/>
                <a:gd name="T11" fmla="*/ 275 h 288"/>
                <a:gd name="T12" fmla="*/ 0 w 160"/>
                <a:gd name="T13" fmla="*/ 12 h 288"/>
                <a:gd name="T14" fmla="*/ 13 w 160"/>
                <a:gd name="T15" fmla="*/ 0 h 288"/>
                <a:gd name="T16" fmla="*/ 147 w 160"/>
                <a:gd name="T17" fmla="*/ 0 h 288"/>
                <a:gd name="T18" fmla="*/ 160 w 160"/>
                <a:gd name="T19" fmla="*/ 12 h 288"/>
                <a:gd name="T20" fmla="*/ 160 w 160"/>
                <a:gd name="T21" fmla="*/ 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88">
                  <a:moveTo>
                    <a:pt x="160" y="230"/>
                  </a:moveTo>
                  <a:lnTo>
                    <a:pt x="160" y="230"/>
                  </a:lnTo>
                  <a:lnTo>
                    <a:pt x="160" y="275"/>
                  </a:lnTo>
                  <a:cubicBezTo>
                    <a:pt x="160" y="282"/>
                    <a:pt x="154" y="288"/>
                    <a:pt x="147" y="288"/>
                  </a:cubicBezTo>
                  <a:lnTo>
                    <a:pt x="13" y="288"/>
                  </a:lnTo>
                  <a:cubicBezTo>
                    <a:pt x="6" y="288"/>
                    <a:pt x="0" y="282"/>
                    <a:pt x="0" y="275"/>
                  </a:cubicBezTo>
                  <a:lnTo>
                    <a:pt x="0" y="12"/>
                  </a:lnTo>
                  <a:cubicBezTo>
                    <a:pt x="0" y="5"/>
                    <a:pt x="6" y="0"/>
                    <a:pt x="13" y="0"/>
                  </a:cubicBezTo>
                  <a:lnTo>
                    <a:pt x="147" y="0"/>
                  </a:lnTo>
                  <a:cubicBezTo>
                    <a:pt x="154" y="0"/>
                    <a:pt x="160" y="5"/>
                    <a:pt x="160" y="12"/>
                  </a:cubicBezTo>
                  <a:lnTo>
                    <a:pt x="160" y="57"/>
                  </a:lnTo>
                </a:path>
              </a:pathLst>
            </a:custGeom>
            <a:noFill/>
            <a:ln w="254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0" name="Freeform 873">
              <a:extLst>
                <a:ext uri="{FF2B5EF4-FFF2-40B4-BE49-F238E27FC236}">
                  <a16:creationId xmlns:a16="http://schemas.microsoft.com/office/drawing/2014/main" id="{26E210FE-E56B-4A40-B39B-11533DBA96C0}"/>
                </a:ext>
              </a:extLst>
            </p:cNvPr>
            <p:cNvSpPr>
              <a:spLocks/>
            </p:cNvSpPr>
            <p:nvPr/>
          </p:nvSpPr>
          <p:spPr bwMode="auto">
            <a:xfrm>
              <a:off x="2459115" y="3973584"/>
              <a:ext cx="394792" cy="0"/>
            </a:xfrm>
            <a:custGeom>
              <a:avLst/>
              <a:gdLst>
                <a:gd name="T0" fmla="*/ 0 w 160"/>
                <a:gd name="T1" fmla="*/ 0 w 160"/>
                <a:gd name="T2" fmla="*/ 160 w 160"/>
              </a:gdLst>
              <a:ahLst/>
              <a:cxnLst>
                <a:cxn ang="0">
                  <a:pos x="T0" y="0"/>
                </a:cxn>
                <a:cxn ang="0">
                  <a:pos x="T1" y="0"/>
                </a:cxn>
                <a:cxn ang="0">
                  <a:pos x="T2" y="0"/>
                </a:cxn>
              </a:cxnLst>
              <a:rect l="0" t="0" r="r" b="b"/>
              <a:pathLst>
                <a:path w="160">
                  <a:moveTo>
                    <a:pt x="0" y="0"/>
                  </a:moveTo>
                  <a:lnTo>
                    <a:pt x="0" y="0"/>
                  </a:lnTo>
                  <a:lnTo>
                    <a:pt x="16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1" name="Freeform 874">
              <a:extLst>
                <a:ext uri="{FF2B5EF4-FFF2-40B4-BE49-F238E27FC236}">
                  <a16:creationId xmlns:a16="http://schemas.microsoft.com/office/drawing/2014/main" id="{88BFACAC-480F-489F-BAE3-86B08400344B}"/>
                </a:ext>
              </a:extLst>
            </p:cNvPr>
            <p:cNvSpPr>
              <a:spLocks/>
            </p:cNvSpPr>
            <p:nvPr/>
          </p:nvSpPr>
          <p:spPr bwMode="auto">
            <a:xfrm>
              <a:off x="2459115" y="3484542"/>
              <a:ext cx="394792" cy="0"/>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2" name="Freeform 875">
              <a:extLst>
                <a:ext uri="{FF2B5EF4-FFF2-40B4-BE49-F238E27FC236}">
                  <a16:creationId xmlns:a16="http://schemas.microsoft.com/office/drawing/2014/main" id="{E131383D-DBE6-4944-8896-DF5169AF1760}"/>
                </a:ext>
              </a:extLst>
            </p:cNvPr>
            <p:cNvSpPr>
              <a:spLocks/>
            </p:cNvSpPr>
            <p:nvPr/>
          </p:nvSpPr>
          <p:spPr bwMode="auto">
            <a:xfrm>
              <a:off x="2631525" y="4018657"/>
              <a:ext cx="49974" cy="0"/>
            </a:xfrm>
            <a:custGeom>
              <a:avLst/>
              <a:gdLst>
                <a:gd name="T0" fmla="*/ 0 w 20"/>
                <a:gd name="T1" fmla="*/ 0 w 20"/>
                <a:gd name="T2" fmla="*/ 20 w 20"/>
              </a:gdLst>
              <a:ahLst/>
              <a:cxnLst>
                <a:cxn ang="0">
                  <a:pos x="T0" y="0"/>
                </a:cxn>
                <a:cxn ang="0">
                  <a:pos x="T1" y="0"/>
                </a:cxn>
                <a:cxn ang="0">
                  <a:pos x="T2" y="0"/>
                </a:cxn>
              </a:cxnLst>
              <a:rect l="0" t="0" r="r" b="b"/>
              <a:pathLst>
                <a:path w="20">
                  <a:moveTo>
                    <a:pt x="0" y="0"/>
                  </a:moveTo>
                  <a:lnTo>
                    <a:pt x="0" y="0"/>
                  </a:lnTo>
                  <a:lnTo>
                    <a:pt x="2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3" name="Freeform 874">
              <a:extLst>
                <a:ext uri="{FF2B5EF4-FFF2-40B4-BE49-F238E27FC236}">
                  <a16:creationId xmlns:a16="http://schemas.microsoft.com/office/drawing/2014/main" id="{8F33BD9B-B07A-49CF-834F-ABA08A4C747A}"/>
                </a:ext>
              </a:extLst>
            </p:cNvPr>
            <p:cNvSpPr>
              <a:spLocks/>
            </p:cNvSpPr>
            <p:nvPr/>
          </p:nvSpPr>
          <p:spPr bwMode="auto">
            <a:xfrm rot="5400000">
              <a:off x="2600961" y="3675438"/>
              <a:ext cx="403923" cy="101968"/>
            </a:xfrm>
            <a:custGeom>
              <a:avLst/>
              <a:gdLst>
                <a:gd name="T0" fmla="*/ 160 w 160"/>
                <a:gd name="T1" fmla="*/ 160 w 160"/>
                <a:gd name="T2" fmla="*/ 0 w 160"/>
              </a:gdLst>
              <a:ahLst/>
              <a:cxnLst>
                <a:cxn ang="0">
                  <a:pos x="T0" y="0"/>
                </a:cxn>
                <a:cxn ang="0">
                  <a:pos x="T1" y="0"/>
                </a:cxn>
                <a:cxn ang="0">
                  <a:pos x="T2" y="0"/>
                </a:cxn>
              </a:cxnLst>
              <a:rect l="0" t="0" r="r" b="b"/>
              <a:pathLst>
                <a:path w="160">
                  <a:moveTo>
                    <a:pt x="160" y="0"/>
                  </a:moveTo>
                  <a:lnTo>
                    <a:pt x="160" y="0"/>
                  </a:lnTo>
                  <a:lnTo>
                    <a:pt x="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4" name="Freeform 341">
              <a:extLst>
                <a:ext uri="{FF2B5EF4-FFF2-40B4-BE49-F238E27FC236}">
                  <a16:creationId xmlns:a16="http://schemas.microsoft.com/office/drawing/2014/main" id="{A7359425-617A-43BC-8971-A65427870AFE}"/>
                </a:ext>
              </a:extLst>
            </p:cNvPr>
            <p:cNvSpPr>
              <a:spLocks/>
            </p:cNvSpPr>
            <p:nvPr/>
          </p:nvSpPr>
          <p:spPr bwMode="auto">
            <a:xfrm>
              <a:off x="2572804" y="3641943"/>
              <a:ext cx="178062" cy="136466"/>
            </a:xfrm>
            <a:custGeom>
              <a:avLst/>
              <a:gdLst>
                <a:gd name="T0" fmla="*/ 400 w 400"/>
                <a:gd name="T1" fmla="*/ 280 h 307"/>
                <a:gd name="T2" fmla="*/ 400 w 400"/>
                <a:gd name="T3" fmla="*/ 280 h 307"/>
                <a:gd name="T4" fmla="*/ 373 w 400"/>
                <a:gd name="T5" fmla="*/ 307 h 307"/>
                <a:gd name="T6" fmla="*/ 27 w 400"/>
                <a:gd name="T7" fmla="*/ 307 h 307"/>
                <a:gd name="T8" fmla="*/ 0 w 400"/>
                <a:gd name="T9" fmla="*/ 280 h 307"/>
                <a:gd name="T10" fmla="*/ 0 w 400"/>
                <a:gd name="T11" fmla="*/ 27 h 307"/>
                <a:gd name="T12" fmla="*/ 27 w 400"/>
                <a:gd name="T13" fmla="*/ 0 h 307"/>
                <a:gd name="T14" fmla="*/ 373 w 400"/>
                <a:gd name="T15" fmla="*/ 0 h 307"/>
                <a:gd name="T16" fmla="*/ 400 w 400"/>
                <a:gd name="T17" fmla="*/ 27 h 307"/>
                <a:gd name="T18" fmla="*/ 400 w 400"/>
                <a:gd name="T19" fmla="*/ 280 h 307"/>
                <a:gd name="T20" fmla="*/ 400 w 400"/>
                <a:gd name="T21" fmla="*/ 28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307">
                  <a:moveTo>
                    <a:pt x="400" y="280"/>
                  </a:moveTo>
                  <a:lnTo>
                    <a:pt x="400" y="280"/>
                  </a:lnTo>
                  <a:cubicBezTo>
                    <a:pt x="400" y="295"/>
                    <a:pt x="388" y="307"/>
                    <a:pt x="373" y="307"/>
                  </a:cubicBezTo>
                  <a:lnTo>
                    <a:pt x="27" y="307"/>
                  </a:lnTo>
                  <a:cubicBezTo>
                    <a:pt x="12" y="307"/>
                    <a:pt x="0" y="295"/>
                    <a:pt x="0" y="280"/>
                  </a:cubicBezTo>
                  <a:lnTo>
                    <a:pt x="0" y="27"/>
                  </a:lnTo>
                  <a:cubicBezTo>
                    <a:pt x="0" y="12"/>
                    <a:pt x="12" y="0"/>
                    <a:pt x="27" y="0"/>
                  </a:cubicBezTo>
                  <a:lnTo>
                    <a:pt x="373" y="0"/>
                  </a:lnTo>
                  <a:cubicBezTo>
                    <a:pt x="388" y="0"/>
                    <a:pt x="400" y="12"/>
                    <a:pt x="400" y="27"/>
                  </a:cubicBezTo>
                  <a:lnTo>
                    <a:pt x="400" y="280"/>
                  </a:lnTo>
                  <a:lnTo>
                    <a:pt x="400" y="280"/>
                  </a:ln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nvGrpSpPr>
          <p:cNvPr id="185" name="Group 184">
            <a:extLst>
              <a:ext uri="{FF2B5EF4-FFF2-40B4-BE49-F238E27FC236}">
                <a16:creationId xmlns:a16="http://schemas.microsoft.com/office/drawing/2014/main" id="{456F8A65-4EBD-42D1-9B94-EE9F11701AA2}"/>
              </a:ext>
            </a:extLst>
          </p:cNvPr>
          <p:cNvGrpSpPr/>
          <p:nvPr/>
        </p:nvGrpSpPr>
        <p:grpSpPr>
          <a:xfrm>
            <a:off x="2106808" y="1776833"/>
            <a:ext cx="467774" cy="410642"/>
            <a:chOff x="2576513" y="1728545"/>
            <a:chExt cx="584200" cy="417756"/>
          </a:xfrm>
        </p:grpSpPr>
        <p:sp>
          <p:nvSpPr>
            <p:cNvPr id="186" name="Freeform 44">
              <a:extLst>
                <a:ext uri="{FF2B5EF4-FFF2-40B4-BE49-F238E27FC236}">
                  <a16:creationId xmlns:a16="http://schemas.microsoft.com/office/drawing/2014/main" id="{23CC9A6B-D13B-44CB-952C-EAB24D04F67A}"/>
                </a:ext>
              </a:extLst>
            </p:cNvPr>
            <p:cNvSpPr>
              <a:spLocks/>
            </p:cNvSpPr>
            <p:nvPr/>
          </p:nvSpPr>
          <p:spPr bwMode="auto">
            <a:xfrm>
              <a:off x="2576513" y="2070101"/>
              <a:ext cx="584200" cy="76200"/>
            </a:xfrm>
            <a:custGeom>
              <a:avLst/>
              <a:gdLst>
                <a:gd name="T0" fmla="*/ 560 w 614"/>
                <a:gd name="T1" fmla="*/ 80 h 80"/>
                <a:gd name="T2" fmla="*/ 560 w 614"/>
                <a:gd name="T3" fmla="*/ 80 h 80"/>
                <a:gd name="T4" fmla="*/ 54 w 614"/>
                <a:gd name="T5" fmla="*/ 80 h 80"/>
                <a:gd name="T6" fmla="*/ 0 w 614"/>
                <a:gd name="T7" fmla="*/ 27 h 80"/>
                <a:gd name="T8" fmla="*/ 0 w 614"/>
                <a:gd name="T9" fmla="*/ 0 h 80"/>
                <a:gd name="T10" fmla="*/ 614 w 614"/>
                <a:gd name="T11" fmla="*/ 0 h 80"/>
                <a:gd name="T12" fmla="*/ 614 w 614"/>
                <a:gd name="T13" fmla="*/ 27 h 80"/>
                <a:gd name="T14" fmla="*/ 560 w 614"/>
                <a:gd name="T15" fmla="*/ 80 h 80"/>
                <a:gd name="T16" fmla="*/ 560 w 61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80">
                  <a:moveTo>
                    <a:pt x="560" y="80"/>
                  </a:moveTo>
                  <a:lnTo>
                    <a:pt x="560" y="80"/>
                  </a:lnTo>
                  <a:lnTo>
                    <a:pt x="54" y="80"/>
                  </a:lnTo>
                  <a:cubicBezTo>
                    <a:pt x="24" y="80"/>
                    <a:pt x="0" y="56"/>
                    <a:pt x="0" y="27"/>
                  </a:cubicBezTo>
                  <a:lnTo>
                    <a:pt x="0" y="0"/>
                  </a:lnTo>
                  <a:lnTo>
                    <a:pt x="614" y="0"/>
                  </a:lnTo>
                  <a:lnTo>
                    <a:pt x="614" y="27"/>
                  </a:lnTo>
                  <a:cubicBezTo>
                    <a:pt x="614" y="56"/>
                    <a:pt x="590" y="80"/>
                    <a:pt x="560" y="80"/>
                  </a:cubicBezTo>
                  <a:lnTo>
                    <a:pt x="560" y="80"/>
                  </a:lnTo>
                  <a:close/>
                </a:path>
              </a:pathLst>
            </a:custGeom>
            <a:solidFill>
              <a:schemeClr val="bg2"/>
            </a:solidFill>
            <a:ln w="25400" cap="flat">
              <a:solidFill>
                <a:srgbClr val="505050"/>
              </a:solidFill>
              <a:prstDash val="solid"/>
              <a:round/>
              <a:headEnd/>
              <a:tailEnd/>
            </a:ln>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7" name="Freeform 45">
              <a:extLst>
                <a:ext uri="{FF2B5EF4-FFF2-40B4-BE49-F238E27FC236}">
                  <a16:creationId xmlns:a16="http://schemas.microsoft.com/office/drawing/2014/main" id="{15B9490C-2938-488C-A751-2EA30ADCE033}"/>
                </a:ext>
              </a:extLst>
            </p:cNvPr>
            <p:cNvSpPr>
              <a:spLocks/>
            </p:cNvSpPr>
            <p:nvPr/>
          </p:nvSpPr>
          <p:spPr bwMode="auto">
            <a:xfrm>
              <a:off x="2830513" y="2108201"/>
              <a:ext cx="76200" cy="0"/>
            </a:xfrm>
            <a:custGeom>
              <a:avLst/>
              <a:gdLst>
                <a:gd name="T0" fmla="*/ 0 w 80"/>
                <a:gd name="T1" fmla="*/ 0 w 80"/>
                <a:gd name="T2" fmla="*/ 80 w 80"/>
              </a:gdLst>
              <a:ahLst/>
              <a:cxnLst>
                <a:cxn ang="0">
                  <a:pos x="T0" y="0"/>
                </a:cxn>
                <a:cxn ang="0">
                  <a:pos x="T1" y="0"/>
                </a:cxn>
                <a:cxn ang="0">
                  <a:pos x="T2" y="0"/>
                </a:cxn>
              </a:cxnLst>
              <a:rect l="0" t="0" r="r" b="b"/>
              <a:pathLst>
                <a:path w="80">
                  <a:moveTo>
                    <a:pt x="0" y="0"/>
                  </a:moveTo>
                  <a:lnTo>
                    <a:pt x="0" y="0"/>
                  </a:lnTo>
                  <a:lnTo>
                    <a:pt x="80" y="0"/>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sp>
          <p:nvSpPr>
            <p:cNvPr id="188" name="Freeform 46">
              <a:extLst>
                <a:ext uri="{FF2B5EF4-FFF2-40B4-BE49-F238E27FC236}">
                  <a16:creationId xmlns:a16="http://schemas.microsoft.com/office/drawing/2014/main" id="{11932970-9A68-4F5B-88EF-25A943A24D1F}"/>
                </a:ext>
              </a:extLst>
            </p:cNvPr>
            <p:cNvSpPr>
              <a:spLocks/>
            </p:cNvSpPr>
            <p:nvPr/>
          </p:nvSpPr>
          <p:spPr bwMode="auto">
            <a:xfrm>
              <a:off x="2614612" y="1728545"/>
              <a:ext cx="509588" cy="331788"/>
            </a:xfrm>
            <a:custGeom>
              <a:avLst/>
              <a:gdLst>
                <a:gd name="T0" fmla="*/ 534 w 534"/>
                <a:gd name="T1" fmla="*/ 347 h 347"/>
                <a:gd name="T2" fmla="*/ 534 w 534"/>
                <a:gd name="T3" fmla="*/ 347 h 347"/>
                <a:gd name="T4" fmla="*/ 534 w 534"/>
                <a:gd name="T5" fmla="*/ 27 h 347"/>
                <a:gd name="T6" fmla="*/ 507 w 534"/>
                <a:gd name="T7" fmla="*/ 0 h 347"/>
                <a:gd name="T8" fmla="*/ 27 w 534"/>
                <a:gd name="T9" fmla="*/ 0 h 347"/>
                <a:gd name="T10" fmla="*/ 0 w 534"/>
                <a:gd name="T11" fmla="*/ 27 h 347"/>
                <a:gd name="T12" fmla="*/ 0 w 534"/>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534" h="347">
                  <a:moveTo>
                    <a:pt x="534" y="347"/>
                  </a:moveTo>
                  <a:lnTo>
                    <a:pt x="534" y="347"/>
                  </a:lnTo>
                  <a:lnTo>
                    <a:pt x="534" y="27"/>
                  </a:lnTo>
                  <a:cubicBezTo>
                    <a:pt x="534" y="12"/>
                    <a:pt x="522" y="0"/>
                    <a:pt x="507" y="0"/>
                  </a:cubicBezTo>
                  <a:lnTo>
                    <a:pt x="27" y="0"/>
                  </a:lnTo>
                  <a:cubicBezTo>
                    <a:pt x="12" y="0"/>
                    <a:pt x="0" y="12"/>
                    <a:pt x="0" y="27"/>
                  </a:cubicBezTo>
                  <a:lnTo>
                    <a:pt x="0" y="347"/>
                  </a:lnTo>
                </a:path>
              </a:pathLst>
            </a:custGeom>
            <a:noFill/>
            <a:ln w="25400" cap="flat">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4126" fontAlgn="base">
                <a:spcBef>
                  <a:spcPct val="20000"/>
                </a:spcBef>
                <a:spcAft>
                  <a:spcPct val="0"/>
                </a:spcAft>
                <a:buClr>
                  <a:srgbClr val="FF0000"/>
                </a:buClr>
                <a:buSzPct val="65000"/>
                <a:defRPr/>
              </a:pPr>
              <a:endParaRPr lang="en-US" sz="3998" kern="1200" dirty="0">
                <a:solidFill>
                  <a:srgbClr val="4D4D4F"/>
                </a:solidFill>
                <a:latin typeface="+mj-lt"/>
                <a:ea typeface="+mn-ea"/>
                <a:cs typeface="Calibri" panose="020F0502020204030204" pitchFamily="34" charset="0"/>
              </a:endParaRPr>
            </a:p>
          </p:txBody>
        </p:sp>
      </p:grpSp>
      <p:grpSp>
        <p:nvGrpSpPr>
          <p:cNvPr id="16" name="Group 15"/>
          <p:cNvGrpSpPr/>
          <p:nvPr/>
        </p:nvGrpSpPr>
        <p:grpSpPr>
          <a:xfrm>
            <a:off x="9483724" y="3802099"/>
            <a:ext cx="2021972" cy="609948"/>
            <a:chOff x="10459732" y="3546672"/>
            <a:chExt cx="2022499" cy="610107"/>
          </a:xfrm>
        </p:grpSpPr>
        <p:grpSp>
          <p:nvGrpSpPr>
            <p:cNvPr id="14" name="Group 13"/>
            <p:cNvGrpSpPr/>
            <p:nvPr/>
          </p:nvGrpSpPr>
          <p:grpSpPr>
            <a:xfrm>
              <a:off x="10459732" y="3546672"/>
              <a:ext cx="2022499" cy="610107"/>
              <a:chOff x="9673791" y="3667836"/>
              <a:chExt cx="2022499" cy="610107"/>
            </a:xfrm>
          </p:grpSpPr>
          <p:sp>
            <p:nvSpPr>
              <p:cNvPr id="195" name="Rectangle: Rounded Corners 194">
                <a:extLst>
                  <a:ext uri="{FF2B5EF4-FFF2-40B4-BE49-F238E27FC236}">
                    <a16:creationId xmlns:a16="http://schemas.microsoft.com/office/drawing/2014/main" id="{E3B50E10-910F-4FF9-A355-1AD8EEBB9AC3}"/>
                  </a:ext>
                </a:extLst>
              </p:cNvPr>
              <p:cNvSpPr/>
              <p:nvPr/>
            </p:nvSpPr>
            <p:spPr bwMode="auto">
              <a:xfrm>
                <a:off x="9673791" y="3667836"/>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sp>
            <p:nvSpPr>
              <p:cNvPr id="169" name="TextBox 168">
                <a:extLst>
                  <a:ext uri="{FF2B5EF4-FFF2-40B4-BE49-F238E27FC236}">
                    <a16:creationId xmlns:a16="http://schemas.microsoft.com/office/drawing/2014/main" id="{86AA2C53-82E7-4915-BF19-E92E0BFAE4C1}"/>
                  </a:ext>
                </a:extLst>
              </p:cNvPr>
              <p:cNvSpPr txBox="1"/>
              <p:nvPr/>
            </p:nvSpPr>
            <p:spPr bwMode="auto">
              <a:xfrm>
                <a:off x="10199492" y="3786281"/>
                <a:ext cx="1496798" cy="307697"/>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DATACENTER</a:t>
                </a:r>
              </a:p>
            </p:txBody>
          </p:sp>
        </p:grpSp>
        <p:grpSp>
          <p:nvGrpSpPr>
            <p:cNvPr id="353" name="Group 352">
              <a:extLst>
                <a:ext uri="{FF2B5EF4-FFF2-40B4-BE49-F238E27FC236}">
                  <a16:creationId xmlns:a16="http://schemas.microsoft.com/office/drawing/2014/main" id="{9A75ED88-04CA-433F-ABAC-54EDD766C9CA}"/>
                </a:ext>
              </a:extLst>
            </p:cNvPr>
            <p:cNvGrpSpPr/>
            <p:nvPr/>
          </p:nvGrpSpPr>
          <p:grpSpPr>
            <a:xfrm>
              <a:off x="10595564" y="3607562"/>
              <a:ext cx="463248" cy="479404"/>
              <a:chOff x="7760977" y="4769381"/>
              <a:chExt cx="334126" cy="474360"/>
            </a:xfrm>
          </p:grpSpPr>
          <p:grpSp>
            <p:nvGrpSpPr>
              <p:cNvPr id="354" name="Group 353">
                <a:extLst>
                  <a:ext uri="{FF2B5EF4-FFF2-40B4-BE49-F238E27FC236}">
                    <a16:creationId xmlns:a16="http://schemas.microsoft.com/office/drawing/2014/main" id="{DF20E7E5-05D3-4B08-B7F4-C8D7EEAB937E}"/>
                  </a:ext>
                </a:extLst>
              </p:cNvPr>
              <p:cNvGrpSpPr/>
              <p:nvPr/>
            </p:nvGrpSpPr>
            <p:grpSpPr>
              <a:xfrm>
                <a:off x="7764821" y="4769381"/>
                <a:ext cx="301509" cy="343140"/>
                <a:chOff x="6704013" y="5259388"/>
                <a:chExt cx="379413" cy="431800"/>
              </a:xfrm>
              <a:noFill/>
            </p:grpSpPr>
            <p:sp>
              <p:nvSpPr>
                <p:cNvPr id="359" name="Freeform 736">
                  <a:extLst>
                    <a:ext uri="{FF2B5EF4-FFF2-40B4-BE49-F238E27FC236}">
                      <a16:creationId xmlns:a16="http://schemas.microsoft.com/office/drawing/2014/main" id="{5B39AFE6-6429-49FB-84D9-D76A281E22FF}"/>
                    </a:ext>
                  </a:extLst>
                </p:cNvPr>
                <p:cNvSpPr>
                  <a:spLocks/>
                </p:cNvSpPr>
                <p:nvPr/>
              </p:nvSpPr>
              <p:spPr bwMode="auto">
                <a:xfrm>
                  <a:off x="6704013" y="5259388"/>
                  <a:ext cx="379413" cy="431800"/>
                </a:xfrm>
                <a:custGeom>
                  <a:avLst/>
                  <a:gdLst>
                    <a:gd name="T0" fmla="*/ 228 w 241"/>
                    <a:gd name="T1" fmla="*/ 272 h 272"/>
                    <a:gd name="T2" fmla="*/ 228 w 241"/>
                    <a:gd name="T3" fmla="*/ 272 h 272"/>
                    <a:gd name="T4" fmla="*/ 13 w 241"/>
                    <a:gd name="T5" fmla="*/ 272 h 272"/>
                    <a:gd name="T6" fmla="*/ 0 w 241"/>
                    <a:gd name="T7" fmla="*/ 260 h 272"/>
                    <a:gd name="T8" fmla="*/ 0 w 241"/>
                    <a:gd name="T9" fmla="*/ 56 h 272"/>
                    <a:gd name="T10" fmla="*/ 4 w 241"/>
                    <a:gd name="T11" fmla="*/ 47 h 272"/>
                    <a:gd name="T12" fmla="*/ 53 w 241"/>
                    <a:gd name="T13" fmla="*/ 3 h 272"/>
                    <a:gd name="T14" fmla="*/ 62 w 241"/>
                    <a:gd name="T15" fmla="*/ 0 h 272"/>
                    <a:gd name="T16" fmla="*/ 179 w 241"/>
                    <a:gd name="T17" fmla="*/ 0 h 272"/>
                    <a:gd name="T18" fmla="*/ 187 w 241"/>
                    <a:gd name="T19" fmla="*/ 3 h 272"/>
                    <a:gd name="T20" fmla="*/ 236 w 241"/>
                    <a:gd name="T21" fmla="*/ 47 h 272"/>
                    <a:gd name="T22" fmla="*/ 241 w 241"/>
                    <a:gd name="T23" fmla="*/ 56 h 272"/>
                    <a:gd name="T24" fmla="*/ 241 w 241"/>
                    <a:gd name="T25" fmla="*/ 260 h 272"/>
                    <a:gd name="T26" fmla="*/ 228 w 241"/>
                    <a:gd name="T27" fmla="*/ 272 h 272"/>
                    <a:gd name="T28" fmla="*/ 228 w 241"/>
                    <a:gd name="T29"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272">
                      <a:moveTo>
                        <a:pt x="228" y="272"/>
                      </a:moveTo>
                      <a:lnTo>
                        <a:pt x="228" y="272"/>
                      </a:lnTo>
                      <a:lnTo>
                        <a:pt x="13" y="272"/>
                      </a:lnTo>
                      <a:cubicBezTo>
                        <a:pt x="6" y="272"/>
                        <a:pt x="0" y="267"/>
                        <a:pt x="0" y="260"/>
                      </a:cubicBezTo>
                      <a:lnTo>
                        <a:pt x="0" y="56"/>
                      </a:lnTo>
                      <a:cubicBezTo>
                        <a:pt x="0" y="53"/>
                        <a:pt x="2" y="49"/>
                        <a:pt x="4" y="47"/>
                      </a:cubicBezTo>
                      <a:lnTo>
                        <a:pt x="53" y="3"/>
                      </a:lnTo>
                      <a:cubicBezTo>
                        <a:pt x="56" y="1"/>
                        <a:pt x="59" y="0"/>
                        <a:pt x="62" y="0"/>
                      </a:cubicBezTo>
                      <a:lnTo>
                        <a:pt x="179" y="0"/>
                      </a:lnTo>
                      <a:cubicBezTo>
                        <a:pt x="182" y="0"/>
                        <a:pt x="185" y="1"/>
                        <a:pt x="187" y="3"/>
                      </a:cubicBezTo>
                      <a:lnTo>
                        <a:pt x="236" y="47"/>
                      </a:lnTo>
                      <a:cubicBezTo>
                        <a:pt x="239" y="49"/>
                        <a:pt x="241" y="53"/>
                        <a:pt x="241" y="56"/>
                      </a:cubicBezTo>
                      <a:lnTo>
                        <a:pt x="241" y="260"/>
                      </a:lnTo>
                      <a:cubicBezTo>
                        <a:pt x="241" y="267"/>
                        <a:pt x="235" y="272"/>
                        <a:pt x="228" y="272"/>
                      </a:cubicBezTo>
                      <a:lnTo>
                        <a:pt x="228" y="272"/>
                      </a:lnTo>
                      <a:close/>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0" name="Freeform 737">
                  <a:extLst>
                    <a:ext uri="{FF2B5EF4-FFF2-40B4-BE49-F238E27FC236}">
                      <a16:creationId xmlns:a16="http://schemas.microsoft.com/office/drawing/2014/main" id="{35200C96-49C4-496A-9431-C256790CD28D}"/>
                    </a:ext>
                  </a:extLst>
                </p:cNvPr>
                <p:cNvSpPr>
                  <a:spLocks/>
                </p:cNvSpPr>
                <p:nvPr/>
              </p:nvSpPr>
              <p:spPr bwMode="auto">
                <a:xfrm>
                  <a:off x="6704013" y="535940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1" name="Freeform 738">
                  <a:extLst>
                    <a:ext uri="{FF2B5EF4-FFF2-40B4-BE49-F238E27FC236}">
                      <a16:creationId xmlns:a16="http://schemas.microsoft.com/office/drawing/2014/main" id="{EC6691CA-210F-4BD7-A0FE-5E59DB96B648}"/>
                    </a:ext>
                  </a:extLst>
                </p:cNvPr>
                <p:cNvSpPr>
                  <a:spLocks/>
                </p:cNvSpPr>
                <p:nvPr/>
              </p:nvSpPr>
              <p:spPr bwMode="auto">
                <a:xfrm>
                  <a:off x="6704013" y="5470525"/>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2" name="Freeform 740">
                  <a:extLst>
                    <a:ext uri="{FF2B5EF4-FFF2-40B4-BE49-F238E27FC236}">
                      <a16:creationId xmlns:a16="http://schemas.microsoft.com/office/drawing/2014/main" id="{CB7F240E-99C9-4F2B-8C2E-6B34595EDFFE}"/>
                    </a:ext>
                  </a:extLst>
                </p:cNvPr>
                <p:cNvSpPr>
                  <a:spLocks/>
                </p:cNvSpPr>
                <p:nvPr/>
              </p:nvSpPr>
              <p:spPr bwMode="auto">
                <a:xfrm>
                  <a:off x="6704013" y="558165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6" name="Freeform 741">
                  <a:extLst>
                    <a:ext uri="{FF2B5EF4-FFF2-40B4-BE49-F238E27FC236}">
                      <a16:creationId xmlns:a16="http://schemas.microsoft.com/office/drawing/2014/main" id="{C3B5F81A-8077-4946-92E5-EB7142DC9A4A}"/>
                    </a:ext>
                  </a:extLst>
                </p:cNvPr>
                <p:cNvSpPr>
                  <a:spLocks/>
                </p:cNvSpPr>
                <p:nvPr/>
              </p:nvSpPr>
              <p:spPr bwMode="auto">
                <a:xfrm>
                  <a:off x="6983406" y="5419726"/>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7" name="Freeform 742">
                  <a:extLst>
                    <a:ext uri="{FF2B5EF4-FFF2-40B4-BE49-F238E27FC236}">
                      <a16:creationId xmlns:a16="http://schemas.microsoft.com/office/drawing/2014/main" id="{F0C887E0-FC4B-48FB-84B7-C4D3F4D5BDC0}"/>
                    </a:ext>
                  </a:extLst>
                </p:cNvPr>
                <p:cNvSpPr>
                  <a:spLocks/>
                </p:cNvSpPr>
                <p:nvPr/>
              </p:nvSpPr>
              <p:spPr bwMode="auto">
                <a:xfrm>
                  <a:off x="6983413" y="5530850"/>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8" name="Freeform 743">
                  <a:extLst>
                    <a:ext uri="{FF2B5EF4-FFF2-40B4-BE49-F238E27FC236}">
                      <a16:creationId xmlns:a16="http://schemas.microsoft.com/office/drawing/2014/main" id="{23EBC5AF-A839-4739-8436-65B10AD1D62D}"/>
                    </a:ext>
                  </a:extLst>
                </p:cNvPr>
                <p:cNvSpPr>
                  <a:spLocks/>
                </p:cNvSpPr>
                <p:nvPr/>
              </p:nvSpPr>
              <p:spPr bwMode="auto">
                <a:xfrm>
                  <a:off x="6983413" y="5641975"/>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69" name="Freeform 744">
                  <a:extLst>
                    <a:ext uri="{FF2B5EF4-FFF2-40B4-BE49-F238E27FC236}">
                      <a16:creationId xmlns:a16="http://schemas.microsoft.com/office/drawing/2014/main" id="{9A4D6B35-2C34-4724-B88F-73E50823C786}"/>
                    </a:ext>
                  </a:extLst>
                </p:cNvPr>
                <p:cNvSpPr>
                  <a:spLocks/>
                </p:cNvSpPr>
                <p:nvPr/>
              </p:nvSpPr>
              <p:spPr bwMode="auto">
                <a:xfrm>
                  <a:off x="6743701" y="541972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0" name="Freeform 745">
                  <a:extLst>
                    <a:ext uri="{FF2B5EF4-FFF2-40B4-BE49-F238E27FC236}">
                      <a16:creationId xmlns:a16="http://schemas.microsoft.com/office/drawing/2014/main" id="{1D509D44-36C6-4C98-8C6C-CEC83BD7F887}"/>
                    </a:ext>
                  </a:extLst>
                </p:cNvPr>
                <p:cNvSpPr>
                  <a:spLocks/>
                </p:cNvSpPr>
                <p:nvPr/>
              </p:nvSpPr>
              <p:spPr bwMode="auto">
                <a:xfrm>
                  <a:off x="6743701" y="5530850"/>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1" name="Freeform 746">
                  <a:extLst>
                    <a:ext uri="{FF2B5EF4-FFF2-40B4-BE49-F238E27FC236}">
                      <a16:creationId xmlns:a16="http://schemas.microsoft.com/office/drawing/2014/main" id="{F663054B-3F63-4184-A001-2BF5AC229D4B}"/>
                    </a:ext>
                  </a:extLst>
                </p:cNvPr>
                <p:cNvSpPr>
                  <a:spLocks/>
                </p:cNvSpPr>
                <p:nvPr/>
              </p:nvSpPr>
              <p:spPr bwMode="auto">
                <a:xfrm>
                  <a:off x="6743701" y="564197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2" name="Freeform 747">
                  <a:extLst>
                    <a:ext uri="{FF2B5EF4-FFF2-40B4-BE49-F238E27FC236}">
                      <a16:creationId xmlns:a16="http://schemas.microsoft.com/office/drawing/2014/main" id="{D01F07E1-B168-41D4-97BB-F079451B0F3A}"/>
                    </a:ext>
                  </a:extLst>
                </p:cNvPr>
                <p:cNvSpPr>
                  <a:spLocks/>
                </p:cNvSpPr>
                <p:nvPr/>
              </p:nvSpPr>
              <p:spPr bwMode="auto">
                <a:xfrm>
                  <a:off x="6784976" y="541972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3" name="Freeform 748">
                  <a:extLst>
                    <a:ext uri="{FF2B5EF4-FFF2-40B4-BE49-F238E27FC236}">
                      <a16:creationId xmlns:a16="http://schemas.microsoft.com/office/drawing/2014/main" id="{AC6CA463-8E80-4F8D-B6A7-3313FDC05D60}"/>
                    </a:ext>
                  </a:extLst>
                </p:cNvPr>
                <p:cNvSpPr>
                  <a:spLocks/>
                </p:cNvSpPr>
                <p:nvPr/>
              </p:nvSpPr>
              <p:spPr bwMode="auto">
                <a:xfrm>
                  <a:off x="6784976" y="5530850"/>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74" name="Freeform 749">
                  <a:extLst>
                    <a:ext uri="{FF2B5EF4-FFF2-40B4-BE49-F238E27FC236}">
                      <a16:creationId xmlns:a16="http://schemas.microsoft.com/office/drawing/2014/main" id="{5AF85E3D-FC0E-4A1D-85A7-5538C226972D}"/>
                    </a:ext>
                  </a:extLst>
                </p:cNvPr>
                <p:cNvSpPr>
                  <a:spLocks/>
                </p:cNvSpPr>
                <p:nvPr/>
              </p:nvSpPr>
              <p:spPr bwMode="auto">
                <a:xfrm>
                  <a:off x="6784976" y="564197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cxnSp>
            <p:nvCxnSpPr>
              <p:cNvPr id="355" name="Straight Connector 354">
                <a:extLst>
                  <a:ext uri="{FF2B5EF4-FFF2-40B4-BE49-F238E27FC236}">
                    <a16:creationId xmlns:a16="http://schemas.microsoft.com/office/drawing/2014/main" id="{6F2701F3-3D27-4F38-B343-AC9DBF64301E}"/>
                  </a:ext>
                </a:extLst>
              </p:cNvPr>
              <p:cNvCxnSpPr>
                <a:cxnSpLocks/>
                <a:endCxn id="358" idx="4"/>
              </p:cNvCxnSpPr>
              <p:nvPr/>
            </p:nvCxnSpPr>
            <p:spPr bwMode="auto">
              <a:xfrm>
                <a:off x="7925100" y="5115863"/>
                <a:ext cx="0" cy="127878"/>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6" name="Straight Connector 355">
                <a:extLst>
                  <a:ext uri="{FF2B5EF4-FFF2-40B4-BE49-F238E27FC236}">
                    <a16:creationId xmlns:a16="http://schemas.microsoft.com/office/drawing/2014/main" id="{885936BE-2553-486E-AE25-8965445D2418}"/>
                  </a:ext>
                </a:extLst>
              </p:cNvPr>
              <p:cNvCxnSpPr/>
              <p:nvPr/>
            </p:nvCxnSpPr>
            <p:spPr bwMode="auto">
              <a:xfrm>
                <a:off x="7760977" y="5195789"/>
                <a:ext cx="334126" cy="0"/>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8" name="Oval 357">
                <a:extLst>
                  <a:ext uri="{FF2B5EF4-FFF2-40B4-BE49-F238E27FC236}">
                    <a16:creationId xmlns:a16="http://schemas.microsoft.com/office/drawing/2014/main" id="{8794E17C-5D73-4ECE-9D74-F0046D4FFD34}"/>
                  </a:ext>
                </a:extLst>
              </p:cNvPr>
              <p:cNvSpPr/>
              <p:nvPr/>
            </p:nvSpPr>
            <p:spPr bwMode="auto">
              <a:xfrm>
                <a:off x="7882187" y="515791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7" name="Group 6"/>
          <p:cNvGrpSpPr/>
          <p:nvPr/>
        </p:nvGrpSpPr>
        <p:grpSpPr>
          <a:xfrm>
            <a:off x="9483723" y="2149856"/>
            <a:ext cx="1995628" cy="609948"/>
            <a:chOff x="9688515" y="2273915"/>
            <a:chExt cx="1996148" cy="610107"/>
          </a:xfrm>
        </p:grpSpPr>
        <p:sp>
          <p:nvSpPr>
            <p:cNvPr id="193" name="Rectangle: Rounded Corners 192">
              <a:extLst>
                <a:ext uri="{FF2B5EF4-FFF2-40B4-BE49-F238E27FC236}">
                  <a16:creationId xmlns:a16="http://schemas.microsoft.com/office/drawing/2014/main" id="{BD2797BB-294E-497C-BF40-2BF0AAAA9E80}"/>
                </a:ext>
              </a:extLst>
            </p:cNvPr>
            <p:cNvSpPr/>
            <p:nvPr/>
          </p:nvSpPr>
          <p:spPr bwMode="auto">
            <a:xfrm>
              <a:off x="9688515" y="2273915"/>
              <a:ext cx="1996148"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75" name="Group 374">
              <a:extLst>
                <a:ext uri="{FF2B5EF4-FFF2-40B4-BE49-F238E27FC236}">
                  <a16:creationId xmlns:a16="http://schemas.microsoft.com/office/drawing/2014/main" id="{C1A35DCB-7180-48DB-AE48-B65FDABED766}"/>
                </a:ext>
              </a:extLst>
            </p:cNvPr>
            <p:cNvGrpSpPr/>
            <p:nvPr/>
          </p:nvGrpSpPr>
          <p:grpSpPr>
            <a:xfrm>
              <a:off x="9864563" y="2405048"/>
              <a:ext cx="1820098" cy="350020"/>
              <a:chOff x="8536119" y="930602"/>
              <a:chExt cx="1790573" cy="346337"/>
            </a:xfrm>
          </p:grpSpPr>
          <p:sp>
            <p:nvSpPr>
              <p:cNvPr id="376" name="TextBox 375">
                <a:extLst>
                  <a:ext uri="{FF2B5EF4-FFF2-40B4-BE49-F238E27FC236}">
                    <a16:creationId xmlns:a16="http://schemas.microsoft.com/office/drawing/2014/main" id="{91642B42-99D0-42AF-92C8-CB337CD1BC0E}"/>
                  </a:ext>
                </a:extLst>
              </p:cNvPr>
              <p:cNvSpPr txBox="1"/>
              <p:nvPr/>
            </p:nvSpPr>
            <p:spPr bwMode="auto">
              <a:xfrm>
                <a:off x="8792854" y="941110"/>
                <a:ext cx="1533838" cy="30456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SAAS</a:t>
                </a:r>
              </a:p>
            </p:txBody>
          </p:sp>
          <p:grpSp>
            <p:nvGrpSpPr>
              <p:cNvPr id="377" name="Graphic 70">
                <a:extLst>
                  <a:ext uri="{FF2B5EF4-FFF2-40B4-BE49-F238E27FC236}">
                    <a16:creationId xmlns:a16="http://schemas.microsoft.com/office/drawing/2014/main" id="{A0583EF9-8D0E-4BDC-9B06-E1B84618AE0C}"/>
                  </a:ext>
                </a:extLst>
              </p:cNvPr>
              <p:cNvGrpSpPr/>
              <p:nvPr/>
            </p:nvGrpSpPr>
            <p:grpSpPr>
              <a:xfrm>
                <a:off x="8536119" y="930602"/>
                <a:ext cx="430583" cy="346337"/>
                <a:chOff x="10366196" y="3234979"/>
                <a:chExt cx="370537" cy="298040"/>
              </a:xfrm>
              <a:noFill/>
            </p:grpSpPr>
            <p:sp>
              <p:nvSpPr>
                <p:cNvPr id="380" name="Freeform: Shape 72">
                  <a:extLst>
                    <a:ext uri="{FF2B5EF4-FFF2-40B4-BE49-F238E27FC236}">
                      <a16:creationId xmlns:a16="http://schemas.microsoft.com/office/drawing/2014/main" id="{FA74EFEA-5526-4EBF-9FCE-CED713E9AB6B}"/>
                    </a:ext>
                  </a:extLst>
                </p:cNvPr>
                <p:cNvSpPr/>
                <p:nvPr/>
              </p:nvSpPr>
              <p:spPr>
                <a:xfrm>
                  <a:off x="10366196" y="3234979"/>
                  <a:ext cx="370537" cy="217488"/>
                </a:xfrm>
                <a:custGeom>
                  <a:avLst/>
                  <a:gdLst>
                    <a:gd name="connsiteX0" fmla="*/ 306097 w 370538"/>
                    <a:gd name="connsiteY0" fmla="*/ 217490 h 217489"/>
                    <a:gd name="connsiteX1" fmla="*/ 314152 w 370538"/>
                    <a:gd name="connsiteY1" fmla="*/ 217490 h 217489"/>
                    <a:gd name="connsiteX2" fmla="*/ 370539 w 370538"/>
                    <a:gd name="connsiteY2" fmla="*/ 161104 h 217489"/>
                    <a:gd name="connsiteX3" fmla="*/ 314152 w 370538"/>
                    <a:gd name="connsiteY3" fmla="*/ 104717 h 217489"/>
                    <a:gd name="connsiteX4" fmla="*/ 297236 w 370538"/>
                    <a:gd name="connsiteY4" fmla="*/ 107134 h 217489"/>
                    <a:gd name="connsiteX5" fmla="*/ 298042 w 370538"/>
                    <a:gd name="connsiteY5" fmla="*/ 96662 h 217489"/>
                    <a:gd name="connsiteX6" fmla="*/ 241656 w 370538"/>
                    <a:gd name="connsiteY6" fmla="*/ 40276 h 217489"/>
                    <a:gd name="connsiteX7" fmla="*/ 204602 w 370538"/>
                    <a:gd name="connsiteY7" fmla="*/ 53970 h 217489"/>
                    <a:gd name="connsiteX8" fmla="*/ 128883 w 370538"/>
                    <a:gd name="connsiteY8" fmla="*/ 0 h 217489"/>
                    <a:gd name="connsiteX9" fmla="*/ 48331 w 370538"/>
                    <a:gd name="connsiteY9" fmla="*/ 80552 h 217489"/>
                    <a:gd name="connsiteX10" fmla="*/ 52359 w 370538"/>
                    <a:gd name="connsiteY10" fmla="*/ 104717 h 217489"/>
                    <a:gd name="connsiteX11" fmla="*/ 0 w 370538"/>
                    <a:gd name="connsiteY11" fmla="*/ 161104 h 217489"/>
                    <a:gd name="connsiteX12" fmla="*/ 56386 w 370538"/>
                    <a:gd name="connsiteY12" fmla="*/ 217490 h 217489"/>
                    <a:gd name="connsiteX13" fmla="*/ 64442 w 370538"/>
                    <a:gd name="connsiteY13" fmla="*/ 217490 h 21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38" h="217489">
                      <a:moveTo>
                        <a:pt x="306097" y="217490"/>
                      </a:moveTo>
                      <a:lnTo>
                        <a:pt x="314152" y="217490"/>
                      </a:lnTo>
                      <a:cubicBezTo>
                        <a:pt x="345568" y="217490"/>
                        <a:pt x="370539" y="192519"/>
                        <a:pt x="370539" y="161104"/>
                      </a:cubicBezTo>
                      <a:cubicBezTo>
                        <a:pt x="370539" y="129688"/>
                        <a:pt x="345568" y="104717"/>
                        <a:pt x="314152" y="104717"/>
                      </a:cubicBezTo>
                      <a:cubicBezTo>
                        <a:pt x="308514" y="104717"/>
                        <a:pt x="302070" y="105523"/>
                        <a:pt x="297236" y="107134"/>
                      </a:cubicBezTo>
                      <a:cubicBezTo>
                        <a:pt x="298042" y="103912"/>
                        <a:pt x="298042" y="100690"/>
                        <a:pt x="298042" y="96662"/>
                      </a:cubicBezTo>
                      <a:cubicBezTo>
                        <a:pt x="298042" y="65247"/>
                        <a:pt x="273071" y="40276"/>
                        <a:pt x="241656" y="40276"/>
                      </a:cubicBezTo>
                      <a:cubicBezTo>
                        <a:pt x="227962" y="40276"/>
                        <a:pt x="215074" y="45109"/>
                        <a:pt x="204602" y="53970"/>
                      </a:cubicBezTo>
                      <a:cubicBezTo>
                        <a:pt x="194130" y="22555"/>
                        <a:pt x="164326" y="0"/>
                        <a:pt x="128883" y="0"/>
                      </a:cubicBezTo>
                      <a:cubicBezTo>
                        <a:pt x="84579" y="0"/>
                        <a:pt x="48331" y="36248"/>
                        <a:pt x="48331" y="80552"/>
                      </a:cubicBezTo>
                      <a:cubicBezTo>
                        <a:pt x="48331" y="89412"/>
                        <a:pt x="49942" y="97468"/>
                        <a:pt x="52359" y="104717"/>
                      </a:cubicBezTo>
                      <a:cubicBezTo>
                        <a:pt x="22555" y="107134"/>
                        <a:pt x="0" y="131299"/>
                        <a:pt x="0" y="161104"/>
                      </a:cubicBezTo>
                      <a:cubicBezTo>
                        <a:pt x="0" y="192519"/>
                        <a:pt x="24971" y="217490"/>
                        <a:pt x="56386" y="217490"/>
                      </a:cubicBezTo>
                      <a:lnTo>
                        <a:pt x="64442" y="21749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2" name="Freeform: Shape 73">
                  <a:extLst>
                    <a:ext uri="{FF2B5EF4-FFF2-40B4-BE49-F238E27FC236}">
                      <a16:creationId xmlns:a16="http://schemas.microsoft.com/office/drawing/2014/main" id="{9F5FF97E-D21A-4C31-9D87-8B26A4951581}"/>
                    </a:ext>
                  </a:extLst>
                </p:cNvPr>
                <p:cNvSpPr/>
                <p:nvPr/>
              </p:nvSpPr>
              <p:spPr>
                <a:xfrm>
                  <a:off x="10570796" y="3288946"/>
                  <a:ext cx="4027" cy="18526"/>
                </a:xfrm>
                <a:custGeom>
                  <a:avLst/>
                  <a:gdLst>
                    <a:gd name="connsiteX0" fmla="*/ 0 w 4027"/>
                    <a:gd name="connsiteY0" fmla="*/ 0 h 18526"/>
                    <a:gd name="connsiteX1" fmla="*/ 4028 w 4027"/>
                    <a:gd name="connsiteY1" fmla="*/ 18527 h 18526"/>
                  </a:gdLst>
                  <a:ahLst/>
                  <a:cxnLst>
                    <a:cxn ang="0">
                      <a:pos x="connsiteX0" y="connsiteY0"/>
                    </a:cxn>
                    <a:cxn ang="0">
                      <a:pos x="connsiteX1" y="connsiteY1"/>
                    </a:cxn>
                  </a:cxnLst>
                  <a:rect l="l" t="t" r="r" b="b"/>
                  <a:pathLst>
                    <a:path w="4027" h="18526">
                      <a:moveTo>
                        <a:pt x="0" y="0"/>
                      </a:moveTo>
                      <a:cubicBezTo>
                        <a:pt x="2417" y="5639"/>
                        <a:pt x="3222" y="12083"/>
                        <a:pt x="4028"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3" name="Freeform: Shape 74">
                  <a:extLst>
                    <a:ext uri="{FF2B5EF4-FFF2-40B4-BE49-F238E27FC236}">
                      <a16:creationId xmlns:a16="http://schemas.microsoft.com/office/drawing/2014/main" id="{49FE44F8-9FBC-4E5F-A40E-D5FEAC5EC293}"/>
                    </a:ext>
                  </a:extLst>
                </p:cNvPr>
                <p:cNvSpPr/>
                <p:nvPr/>
              </p:nvSpPr>
              <p:spPr>
                <a:xfrm>
                  <a:off x="10656188" y="3342112"/>
                  <a:ext cx="7249" cy="18526"/>
                </a:xfrm>
                <a:custGeom>
                  <a:avLst/>
                  <a:gdLst>
                    <a:gd name="connsiteX0" fmla="*/ 7250 w 7249"/>
                    <a:gd name="connsiteY0" fmla="*/ 0 h 18526"/>
                    <a:gd name="connsiteX1" fmla="*/ 0 w 7249"/>
                    <a:gd name="connsiteY1" fmla="*/ 18527 h 18526"/>
                  </a:gdLst>
                  <a:ahLst/>
                  <a:cxnLst>
                    <a:cxn ang="0">
                      <a:pos x="connsiteX0" y="connsiteY0"/>
                    </a:cxn>
                    <a:cxn ang="0">
                      <a:pos x="connsiteX1" y="connsiteY1"/>
                    </a:cxn>
                  </a:cxnLst>
                  <a:rect l="l" t="t" r="r" b="b"/>
                  <a:pathLst>
                    <a:path w="7249" h="18526">
                      <a:moveTo>
                        <a:pt x="7250" y="0"/>
                      </a:moveTo>
                      <a:cubicBezTo>
                        <a:pt x="5639" y="6444"/>
                        <a:pt x="3222" y="12888"/>
                        <a:pt x="0"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5" name="Freeform: Shape 75">
                  <a:extLst>
                    <a:ext uri="{FF2B5EF4-FFF2-40B4-BE49-F238E27FC236}">
                      <a16:creationId xmlns:a16="http://schemas.microsoft.com/office/drawing/2014/main" id="{FF2E8521-38A0-4A11-8143-685FC33D5838}"/>
                    </a:ext>
                  </a:extLst>
                </p:cNvPr>
                <p:cNvSpPr/>
                <p:nvPr/>
              </p:nvSpPr>
              <p:spPr>
                <a:xfrm>
                  <a:off x="10418569" y="3339394"/>
                  <a:ext cx="20943" cy="2718"/>
                </a:xfrm>
                <a:custGeom>
                  <a:avLst/>
                  <a:gdLst>
                    <a:gd name="connsiteX0" fmla="*/ 0 w 20943"/>
                    <a:gd name="connsiteY0" fmla="*/ 302 h 2718"/>
                    <a:gd name="connsiteX1" fmla="*/ 20943 w 20943"/>
                    <a:gd name="connsiteY1" fmla="*/ 2719 h 2718"/>
                  </a:gdLst>
                  <a:ahLst/>
                  <a:cxnLst>
                    <a:cxn ang="0">
                      <a:pos x="connsiteX0" y="connsiteY0"/>
                    </a:cxn>
                    <a:cxn ang="0">
                      <a:pos x="connsiteX1" y="connsiteY1"/>
                    </a:cxn>
                  </a:cxnLst>
                  <a:rect l="l" t="t" r="r" b="b"/>
                  <a:pathLst>
                    <a:path w="20943" h="2718">
                      <a:moveTo>
                        <a:pt x="0" y="302"/>
                      </a:moveTo>
                      <a:cubicBezTo>
                        <a:pt x="7250" y="-503"/>
                        <a:pt x="13694" y="302"/>
                        <a:pt x="20943" y="2719"/>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6" name="Freeform: Shape 76">
                  <a:extLst>
                    <a:ext uri="{FF2B5EF4-FFF2-40B4-BE49-F238E27FC236}">
                      <a16:creationId xmlns:a16="http://schemas.microsoft.com/office/drawing/2014/main" id="{B81F8686-DD50-47C7-ABB1-339B26F87218}"/>
                    </a:ext>
                  </a:extLst>
                </p:cNvPr>
                <p:cNvSpPr/>
                <p:nvPr/>
              </p:nvSpPr>
              <p:spPr>
                <a:xfrm>
                  <a:off x="10551480" y="3371917"/>
                  <a:ext cx="80551" cy="104717"/>
                </a:xfrm>
                <a:custGeom>
                  <a:avLst/>
                  <a:gdLst>
                    <a:gd name="connsiteX0" fmla="*/ 0 w 80551"/>
                    <a:gd name="connsiteY0" fmla="*/ 0 h 104717"/>
                    <a:gd name="connsiteX1" fmla="*/ 80552 w 80551"/>
                    <a:gd name="connsiteY1" fmla="*/ 80552 h 104717"/>
                    <a:gd name="connsiteX2" fmla="*/ 80552 w 80551"/>
                    <a:gd name="connsiteY2" fmla="*/ 104717 h 104717"/>
                  </a:gdLst>
                  <a:ahLst/>
                  <a:cxnLst>
                    <a:cxn ang="0">
                      <a:pos x="connsiteX0" y="connsiteY0"/>
                    </a:cxn>
                    <a:cxn ang="0">
                      <a:pos x="connsiteX1" y="connsiteY1"/>
                    </a:cxn>
                    <a:cxn ang="0">
                      <a:pos x="connsiteX2" y="connsiteY2"/>
                    </a:cxn>
                  </a:cxnLst>
                  <a:rect l="l" t="t" r="r" b="b"/>
                  <a:pathLst>
                    <a:path w="80551" h="104717">
                      <a:moveTo>
                        <a:pt x="0" y="0"/>
                      </a:moveTo>
                      <a:cubicBezTo>
                        <a:pt x="44304" y="0"/>
                        <a:pt x="80552" y="36248"/>
                        <a:pt x="80552" y="80552"/>
                      </a:cubicBezTo>
                      <a:lnTo>
                        <a:pt x="80552" y="104717"/>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7" name="Freeform: Shape 77">
                  <a:extLst>
                    <a:ext uri="{FF2B5EF4-FFF2-40B4-BE49-F238E27FC236}">
                      <a16:creationId xmlns:a16="http://schemas.microsoft.com/office/drawing/2014/main" id="{21A845DF-AED9-4151-8101-9BD06E7541FD}"/>
                    </a:ext>
                  </a:extLst>
                </p:cNvPr>
                <p:cNvSpPr/>
                <p:nvPr/>
              </p:nvSpPr>
              <p:spPr>
                <a:xfrm>
                  <a:off x="10551480" y="3492743"/>
                  <a:ext cx="70080" cy="40275"/>
                </a:xfrm>
                <a:custGeom>
                  <a:avLst/>
                  <a:gdLst>
                    <a:gd name="connsiteX0" fmla="*/ 70080 w 70080"/>
                    <a:gd name="connsiteY0" fmla="*/ 0 h 40275"/>
                    <a:gd name="connsiteX1" fmla="*/ 0 w 70080"/>
                    <a:gd name="connsiteY1" fmla="*/ 40276 h 40275"/>
                  </a:gdLst>
                  <a:ahLst/>
                  <a:cxnLst>
                    <a:cxn ang="0">
                      <a:pos x="connsiteX0" y="connsiteY0"/>
                    </a:cxn>
                    <a:cxn ang="0">
                      <a:pos x="connsiteX1" y="connsiteY1"/>
                    </a:cxn>
                  </a:cxnLst>
                  <a:rect l="l" t="t" r="r" b="b"/>
                  <a:pathLst>
                    <a:path w="70080" h="40275">
                      <a:moveTo>
                        <a:pt x="70080" y="0"/>
                      </a:moveTo>
                      <a:cubicBezTo>
                        <a:pt x="56386" y="24166"/>
                        <a:pt x="29804" y="40276"/>
                        <a:pt x="0" y="40276"/>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8" name="Freeform: Shape 78">
                  <a:extLst>
                    <a:ext uri="{FF2B5EF4-FFF2-40B4-BE49-F238E27FC236}">
                      <a16:creationId xmlns:a16="http://schemas.microsoft.com/office/drawing/2014/main" id="{26A874DC-D12B-46FE-AD26-5ABF92B06978}"/>
                    </a:ext>
                  </a:extLst>
                </p:cNvPr>
                <p:cNvSpPr/>
                <p:nvPr/>
              </p:nvSpPr>
              <p:spPr>
                <a:xfrm>
                  <a:off x="10607850" y="3452468"/>
                  <a:ext cx="48331" cy="24165"/>
                </a:xfrm>
                <a:custGeom>
                  <a:avLst/>
                  <a:gdLst>
                    <a:gd name="connsiteX0" fmla="*/ 48331 w 48331"/>
                    <a:gd name="connsiteY0" fmla="*/ 0 h 24165"/>
                    <a:gd name="connsiteX1" fmla="*/ 24166 w 48331"/>
                    <a:gd name="connsiteY1" fmla="*/ 24166 h 24165"/>
                    <a:gd name="connsiteX2" fmla="*/ 0 w 48331"/>
                    <a:gd name="connsiteY2" fmla="*/ 0 h 24165"/>
                  </a:gdLst>
                  <a:ahLst/>
                  <a:cxnLst>
                    <a:cxn ang="0">
                      <a:pos x="connsiteX0" y="connsiteY0"/>
                    </a:cxn>
                    <a:cxn ang="0">
                      <a:pos x="connsiteX1" y="connsiteY1"/>
                    </a:cxn>
                    <a:cxn ang="0">
                      <a:pos x="connsiteX2" y="connsiteY2"/>
                    </a:cxn>
                  </a:cxnLst>
                  <a:rect l="l" t="t" r="r" b="b"/>
                  <a:pathLst>
                    <a:path w="48331" h="24165">
                      <a:moveTo>
                        <a:pt x="48331" y="0"/>
                      </a:moveTo>
                      <a:lnTo>
                        <a:pt x="24166" y="24166"/>
                      </a:ln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89" name="Freeform: Shape 79">
                  <a:extLst>
                    <a:ext uri="{FF2B5EF4-FFF2-40B4-BE49-F238E27FC236}">
                      <a16:creationId xmlns:a16="http://schemas.microsoft.com/office/drawing/2014/main" id="{CB896116-1A98-4E60-99FF-3BE629328416}"/>
                    </a:ext>
                  </a:extLst>
                </p:cNvPr>
                <p:cNvSpPr/>
                <p:nvPr/>
              </p:nvSpPr>
              <p:spPr>
                <a:xfrm>
                  <a:off x="10470912" y="3428302"/>
                  <a:ext cx="80551" cy="104717"/>
                </a:xfrm>
                <a:custGeom>
                  <a:avLst/>
                  <a:gdLst>
                    <a:gd name="connsiteX0" fmla="*/ 80552 w 80551"/>
                    <a:gd name="connsiteY0" fmla="*/ 104717 h 104717"/>
                    <a:gd name="connsiteX1" fmla="*/ 0 w 80551"/>
                    <a:gd name="connsiteY1" fmla="*/ 24166 h 104717"/>
                    <a:gd name="connsiteX2" fmla="*/ 0 w 80551"/>
                    <a:gd name="connsiteY2" fmla="*/ 0 h 104717"/>
                  </a:gdLst>
                  <a:ahLst/>
                  <a:cxnLst>
                    <a:cxn ang="0">
                      <a:pos x="connsiteX0" y="connsiteY0"/>
                    </a:cxn>
                    <a:cxn ang="0">
                      <a:pos x="connsiteX1" y="connsiteY1"/>
                    </a:cxn>
                    <a:cxn ang="0">
                      <a:pos x="connsiteX2" y="connsiteY2"/>
                    </a:cxn>
                  </a:cxnLst>
                  <a:rect l="l" t="t" r="r" b="b"/>
                  <a:pathLst>
                    <a:path w="80551" h="104717">
                      <a:moveTo>
                        <a:pt x="80552" y="104717"/>
                      </a:moveTo>
                      <a:cubicBezTo>
                        <a:pt x="36248" y="104717"/>
                        <a:pt x="0" y="68469"/>
                        <a:pt x="0" y="24166"/>
                      </a:cubicBez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0" name="Freeform: Shape 80">
                  <a:extLst>
                    <a:ext uri="{FF2B5EF4-FFF2-40B4-BE49-F238E27FC236}">
                      <a16:creationId xmlns:a16="http://schemas.microsoft.com/office/drawing/2014/main" id="{27AC7F2D-7A29-4A1A-A641-18F8D5EB3E10}"/>
                    </a:ext>
                  </a:extLst>
                </p:cNvPr>
                <p:cNvSpPr/>
                <p:nvPr/>
              </p:nvSpPr>
              <p:spPr>
                <a:xfrm>
                  <a:off x="10481397" y="3371908"/>
                  <a:ext cx="70080" cy="40274"/>
                </a:xfrm>
                <a:custGeom>
                  <a:avLst/>
                  <a:gdLst>
                    <a:gd name="connsiteX0" fmla="*/ 0 w 70080"/>
                    <a:gd name="connsiteY0" fmla="*/ 40276 h 40275"/>
                    <a:gd name="connsiteX1" fmla="*/ 70080 w 70080"/>
                    <a:gd name="connsiteY1" fmla="*/ 0 h 40275"/>
                  </a:gdLst>
                  <a:ahLst/>
                  <a:cxnLst>
                    <a:cxn ang="0">
                      <a:pos x="connsiteX0" y="connsiteY0"/>
                    </a:cxn>
                    <a:cxn ang="0">
                      <a:pos x="connsiteX1" y="connsiteY1"/>
                    </a:cxn>
                  </a:cxnLst>
                  <a:rect l="l" t="t" r="r" b="b"/>
                  <a:pathLst>
                    <a:path w="70080" h="40275">
                      <a:moveTo>
                        <a:pt x="0" y="40276"/>
                      </a:moveTo>
                      <a:cubicBezTo>
                        <a:pt x="13694" y="16110"/>
                        <a:pt x="40276" y="0"/>
                        <a:pt x="70080" y="0"/>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1" name="Freeform: Shape 81">
                  <a:extLst>
                    <a:ext uri="{FF2B5EF4-FFF2-40B4-BE49-F238E27FC236}">
                      <a16:creationId xmlns:a16="http://schemas.microsoft.com/office/drawing/2014/main" id="{0FA4BB5F-AC94-41C2-B00A-F241814AFE54}"/>
                    </a:ext>
                  </a:extLst>
                </p:cNvPr>
                <p:cNvSpPr/>
                <p:nvPr/>
              </p:nvSpPr>
              <p:spPr>
                <a:xfrm>
                  <a:off x="10446769" y="3428317"/>
                  <a:ext cx="48331" cy="24165"/>
                </a:xfrm>
                <a:custGeom>
                  <a:avLst/>
                  <a:gdLst>
                    <a:gd name="connsiteX0" fmla="*/ 0 w 48331"/>
                    <a:gd name="connsiteY0" fmla="*/ 24166 h 24165"/>
                    <a:gd name="connsiteX1" fmla="*/ 24166 w 48331"/>
                    <a:gd name="connsiteY1" fmla="*/ 0 h 24165"/>
                    <a:gd name="connsiteX2" fmla="*/ 48331 w 48331"/>
                    <a:gd name="connsiteY2" fmla="*/ 24166 h 24165"/>
                  </a:gdLst>
                  <a:ahLst/>
                  <a:cxnLst>
                    <a:cxn ang="0">
                      <a:pos x="connsiteX0" y="connsiteY0"/>
                    </a:cxn>
                    <a:cxn ang="0">
                      <a:pos x="connsiteX1" y="connsiteY1"/>
                    </a:cxn>
                    <a:cxn ang="0">
                      <a:pos x="connsiteX2" y="connsiteY2"/>
                    </a:cxn>
                  </a:cxnLst>
                  <a:rect l="l" t="t" r="r" b="b"/>
                  <a:pathLst>
                    <a:path w="48331" h="24165">
                      <a:moveTo>
                        <a:pt x="0" y="24166"/>
                      </a:moveTo>
                      <a:lnTo>
                        <a:pt x="24166" y="0"/>
                      </a:lnTo>
                      <a:lnTo>
                        <a:pt x="48331" y="24166"/>
                      </a:lnTo>
                    </a:path>
                  </a:pathLst>
                </a:custGeom>
                <a:noFill/>
                <a:ln w="15875" cap="flat">
                  <a:solidFill>
                    <a:schemeClr val="tx1">
                      <a:lumMod val="75000"/>
                    </a:schemeClr>
                  </a:solidFill>
                  <a:prstDash val="solid"/>
                  <a:round/>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379" name="Oval 378">
                <a:extLst>
                  <a:ext uri="{FF2B5EF4-FFF2-40B4-BE49-F238E27FC236}">
                    <a16:creationId xmlns:a16="http://schemas.microsoft.com/office/drawing/2014/main" id="{763A7B7C-68B1-43D5-8818-8207362A2C44}"/>
                  </a:ext>
                </a:extLst>
              </p:cNvPr>
              <p:cNvSpPr/>
              <p:nvPr/>
            </p:nvSpPr>
            <p:spPr bwMode="auto">
              <a:xfrm>
                <a:off x="8709078" y="114020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5" name="Group 4"/>
          <p:cNvGrpSpPr/>
          <p:nvPr/>
        </p:nvGrpSpPr>
        <p:grpSpPr>
          <a:xfrm>
            <a:off x="9483724" y="1323734"/>
            <a:ext cx="1995629" cy="609948"/>
            <a:chOff x="9688516" y="2966720"/>
            <a:chExt cx="1996149" cy="610107"/>
          </a:xfrm>
        </p:grpSpPr>
        <p:sp>
          <p:nvSpPr>
            <p:cNvPr id="194" name="Rectangle: Rounded Corners 193">
              <a:extLst>
                <a:ext uri="{FF2B5EF4-FFF2-40B4-BE49-F238E27FC236}">
                  <a16:creationId xmlns:a16="http://schemas.microsoft.com/office/drawing/2014/main" id="{20BE177B-3FCA-49C0-88C7-F5C55DC47EF5}"/>
                </a:ext>
              </a:extLst>
            </p:cNvPr>
            <p:cNvSpPr/>
            <p:nvPr/>
          </p:nvSpPr>
          <p:spPr bwMode="auto">
            <a:xfrm>
              <a:off x="9688516" y="2966720"/>
              <a:ext cx="1996149" cy="610107"/>
            </a:xfrm>
            <a:prstGeom prst="roundRect">
              <a:avLst/>
            </a:prstGeom>
            <a:gradFill flip="none" rotWithShape="1">
              <a:gsLst>
                <a:gs pos="100000">
                  <a:schemeClr val="bg1">
                    <a:lumMod val="85000"/>
                  </a:schemeClr>
                </a:gs>
                <a:gs pos="0">
                  <a:schemeClr val="bg1"/>
                </a:gs>
              </a:gsLst>
              <a:lin ang="13500000" scaled="1"/>
              <a:tileRect/>
            </a:gradFill>
            <a:ln w="57150" algn="ctr">
              <a:solidFill>
                <a:schemeClr val="accent1"/>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92" name="Group 391">
              <a:extLst>
                <a:ext uri="{FF2B5EF4-FFF2-40B4-BE49-F238E27FC236}">
                  <a16:creationId xmlns:a16="http://schemas.microsoft.com/office/drawing/2014/main" id="{42FF0A0B-CFEF-489D-AAF4-BE77840503E3}"/>
                </a:ext>
              </a:extLst>
            </p:cNvPr>
            <p:cNvGrpSpPr/>
            <p:nvPr/>
          </p:nvGrpSpPr>
          <p:grpSpPr>
            <a:xfrm>
              <a:off x="9871815" y="3024347"/>
              <a:ext cx="1812847" cy="511474"/>
              <a:chOff x="6033979" y="1347240"/>
              <a:chExt cx="1813319" cy="511607"/>
            </a:xfrm>
          </p:grpSpPr>
          <p:sp>
            <p:nvSpPr>
              <p:cNvPr id="393" name="TextBox 392">
                <a:extLst>
                  <a:ext uri="{FF2B5EF4-FFF2-40B4-BE49-F238E27FC236}">
                    <a16:creationId xmlns:a16="http://schemas.microsoft.com/office/drawing/2014/main" id="{F77BA6B0-F0C8-4094-9D69-EA22211F0930}"/>
                  </a:ext>
                </a:extLst>
              </p:cNvPr>
              <p:cNvSpPr txBox="1"/>
              <p:nvPr/>
            </p:nvSpPr>
            <p:spPr bwMode="auto">
              <a:xfrm>
                <a:off x="6382142" y="1440598"/>
                <a:ext cx="1465156" cy="307888"/>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WWW</a:t>
                </a:r>
              </a:p>
            </p:txBody>
          </p:sp>
          <p:sp>
            <p:nvSpPr>
              <p:cNvPr id="394" name="Freeform: Shape 29">
                <a:extLst>
                  <a:ext uri="{FF2B5EF4-FFF2-40B4-BE49-F238E27FC236}">
                    <a16:creationId xmlns:a16="http://schemas.microsoft.com/office/drawing/2014/main" id="{9944BD7E-9B93-4FA0-A158-A3B3CD25F529}"/>
                  </a:ext>
                </a:extLst>
              </p:cNvPr>
              <p:cNvSpPr/>
              <p:nvPr/>
            </p:nvSpPr>
            <p:spPr>
              <a:xfrm>
                <a:off x="6309164" y="1409522"/>
                <a:ext cx="91728" cy="54496"/>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5" name="Freeform: Shape 30">
                <a:extLst>
                  <a:ext uri="{FF2B5EF4-FFF2-40B4-BE49-F238E27FC236}">
                    <a16:creationId xmlns:a16="http://schemas.microsoft.com/office/drawing/2014/main" id="{6EC57326-56D8-4EF3-821A-CEE9EF95A197}"/>
                  </a:ext>
                </a:extLst>
              </p:cNvPr>
              <p:cNvSpPr/>
              <p:nvPr/>
            </p:nvSpPr>
            <p:spPr>
              <a:xfrm>
                <a:off x="6447876" y="1547434"/>
                <a:ext cx="11186" cy="111219"/>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6" name="Freeform: Shape 31">
                <a:extLst>
                  <a:ext uri="{FF2B5EF4-FFF2-40B4-BE49-F238E27FC236}">
                    <a16:creationId xmlns:a16="http://schemas.microsoft.com/office/drawing/2014/main" id="{B272364B-F875-4B3A-BB91-292796089377}"/>
                  </a:ext>
                </a:extLst>
              </p:cNvPr>
              <p:cNvSpPr/>
              <p:nvPr/>
            </p:nvSpPr>
            <p:spPr>
              <a:xfrm>
                <a:off x="6067538" y="1547434"/>
                <a:ext cx="11186" cy="111219"/>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7" name="Freeform: Shape 32">
                <a:extLst>
                  <a:ext uri="{FF2B5EF4-FFF2-40B4-BE49-F238E27FC236}">
                    <a16:creationId xmlns:a16="http://schemas.microsoft.com/office/drawing/2014/main" id="{2A74E3AA-5E29-4CA1-B687-44FCD4124974}"/>
                  </a:ext>
                </a:extLst>
              </p:cNvPr>
              <p:cNvSpPr/>
              <p:nvPr/>
            </p:nvSpPr>
            <p:spPr>
              <a:xfrm>
                <a:off x="6114522" y="1409522"/>
                <a:ext cx="91729" cy="54496"/>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8" name="Freeform: Shape 33">
                <a:extLst>
                  <a:ext uri="{FF2B5EF4-FFF2-40B4-BE49-F238E27FC236}">
                    <a16:creationId xmlns:a16="http://schemas.microsoft.com/office/drawing/2014/main" id="{5C467E6E-135D-46DB-BC9B-C134D9464C75}"/>
                  </a:ext>
                </a:extLst>
              </p:cNvPr>
              <p:cNvSpPr/>
              <p:nvPr/>
            </p:nvSpPr>
            <p:spPr>
              <a:xfrm>
                <a:off x="6309164" y="1743180"/>
                <a:ext cx="91728" cy="54496"/>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99" name="Freeform: Shape 34">
                <a:extLst>
                  <a:ext uri="{FF2B5EF4-FFF2-40B4-BE49-F238E27FC236}">
                    <a16:creationId xmlns:a16="http://schemas.microsoft.com/office/drawing/2014/main" id="{E63AB3AF-3392-479D-830B-128AD866E6BA}"/>
                  </a:ext>
                </a:extLst>
              </p:cNvPr>
              <p:cNvSpPr/>
              <p:nvPr/>
            </p:nvSpPr>
            <p:spPr>
              <a:xfrm>
                <a:off x="6114522" y="1743180"/>
                <a:ext cx="91729" cy="54496"/>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0" name="Freeform: Shape 35">
                <a:extLst>
                  <a:ext uri="{FF2B5EF4-FFF2-40B4-BE49-F238E27FC236}">
                    <a16:creationId xmlns:a16="http://schemas.microsoft.com/office/drawing/2014/main" id="{994C1072-41E1-42D0-9ECE-C95141C71F00}"/>
                  </a:ext>
                </a:extLst>
              </p:cNvPr>
              <p:cNvSpPr/>
              <p:nvPr/>
            </p:nvSpPr>
            <p:spPr>
              <a:xfrm>
                <a:off x="6224148" y="1347240"/>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1" name="Freeform: Shape 36">
                <a:extLst>
                  <a:ext uri="{FF2B5EF4-FFF2-40B4-BE49-F238E27FC236}">
                    <a16:creationId xmlns:a16="http://schemas.microsoft.com/office/drawing/2014/main" id="{9641CC1E-03E0-446D-83C5-F9BC662B5838}"/>
                  </a:ext>
                </a:extLst>
              </p:cNvPr>
              <p:cNvSpPr/>
              <p:nvPr/>
            </p:nvSpPr>
            <p:spPr>
              <a:xfrm>
                <a:off x="6224087" y="1792116"/>
                <a:ext cx="67238" cy="66731"/>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2" name="Freeform: Shape 37">
                <a:extLst>
                  <a:ext uri="{FF2B5EF4-FFF2-40B4-BE49-F238E27FC236}">
                    <a16:creationId xmlns:a16="http://schemas.microsoft.com/office/drawing/2014/main" id="{38077D82-7E41-4ECC-A30E-462FC825657B}"/>
                  </a:ext>
                </a:extLst>
              </p:cNvPr>
              <p:cNvSpPr/>
              <p:nvPr/>
            </p:nvSpPr>
            <p:spPr>
              <a:xfrm>
                <a:off x="6414317"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3" name="Freeform: Shape 38">
                <a:extLst>
                  <a:ext uri="{FF2B5EF4-FFF2-40B4-BE49-F238E27FC236}">
                    <a16:creationId xmlns:a16="http://schemas.microsoft.com/office/drawing/2014/main" id="{70F87242-66D2-4C92-866C-D4EB854A6F9F}"/>
                  </a:ext>
                </a:extLst>
              </p:cNvPr>
              <p:cNvSpPr/>
              <p:nvPr/>
            </p:nvSpPr>
            <p:spPr>
              <a:xfrm>
                <a:off x="6033979"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4" name="Freeform: Shape 39">
                <a:extLst>
                  <a:ext uri="{FF2B5EF4-FFF2-40B4-BE49-F238E27FC236}">
                    <a16:creationId xmlns:a16="http://schemas.microsoft.com/office/drawing/2014/main" id="{A470986A-7961-4CBA-ABA9-70AFCC95C32D}"/>
                  </a:ext>
                </a:extLst>
              </p:cNvPr>
              <p:cNvSpPr/>
              <p:nvPr/>
            </p:nvSpPr>
            <p:spPr>
              <a:xfrm>
                <a:off x="6033979"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5" name="Freeform: Shape 40">
                <a:extLst>
                  <a:ext uri="{FF2B5EF4-FFF2-40B4-BE49-F238E27FC236}">
                    <a16:creationId xmlns:a16="http://schemas.microsoft.com/office/drawing/2014/main" id="{40F2ADF2-0E1F-408A-BDED-CB6AB1A3E8B3}"/>
                  </a:ext>
                </a:extLst>
              </p:cNvPr>
              <p:cNvSpPr/>
              <p:nvPr/>
            </p:nvSpPr>
            <p:spPr>
              <a:xfrm>
                <a:off x="6123470" y="1469581"/>
                <a:ext cx="268474" cy="266926"/>
              </a:xfrm>
              <a:custGeom>
                <a:avLst/>
                <a:gdLst>
                  <a:gd name="connsiteX0" fmla="*/ 114300 w 228600"/>
                  <a:gd name="connsiteY0" fmla="*/ 228600 h 228600"/>
                  <a:gd name="connsiteX1" fmla="*/ 228600 w 228600"/>
                  <a:gd name="connsiteY1" fmla="*/ 114300 h 228600"/>
                  <a:gd name="connsiteX2" fmla="*/ 114300 w 228600"/>
                  <a:gd name="connsiteY2" fmla="*/ 0 h 228600"/>
                  <a:gd name="connsiteX3" fmla="*/ 0 w 228600"/>
                  <a:gd name="connsiteY3" fmla="*/ 114300 h 228600"/>
                  <a:gd name="connsiteX4" fmla="*/ 114300 w 228600"/>
                  <a:gd name="connsiteY4" fmla="*/ 2286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228600"/>
                    </a:moveTo>
                    <a:cubicBezTo>
                      <a:pt x="177165" y="228600"/>
                      <a:pt x="228600" y="177165"/>
                      <a:pt x="228600" y="114300"/>
                    </a:cubicBezTo>
                    <a:cubicBezTo>
                      <a:pt x="228600" y="51435"/>
                      <a:pt x="177165" y="0"/>
                      <a:pt x="114300" y="0"/>
                    </a:cubicBezTo>
                    <a:cubicBezTo>
                      <a:pt x="51435" y="0"/>
                      <a:pt x="0" y="51435"/>
                      <a:pt x="0" y="114300"/>
                    </a:cubicBezTo>
                    <a:cubicBezTo>
                      <a:pt x="0" y="177165"/>
                      <a:pt x="51435" y="228600"/>
                      <a:pt x="114300" y="228600"/>
                    </a:cubicBezTo>
                    <a:close/>
                  </a:path>
                </a:pathLst>
              </a:custGeom>
              <a:solidFill>
                <a:schemeClr val="bg1"/>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6" name="Freeform: Shape 41">
                <a:extLst>
                  <a:ext uri="{FF2B5EF4-FFF2-40B4-BE49-F238E27FC236}">
                    <a16:creationId xmlns:a16="http://schemas.microsoft.com/office/drawing/2014/main" id="{4E31B966-4FA2-47C3-ADC6-1D1C48D2D576}"/>
                  </a:ext>
                </a:extLst>
              </p:cNvPr>
              <p:cNvSpPr/>
              <p:nvPr/>
            </p:nvSpPr>
            <p:spPr>
              <a:xfrm>
                <a:off x="6190589" y="1469581"/>
                <a:ext cx="134237" cy="266926"/>
              </a:xfrm>
              <a:custGeom>
                <a:avLst/>
                <a:gdLst>
                  <a:gd name="connsiteX0" fmla="*/ 57150 w 114300"/>
                  <a:gd name="connsiteY0" fmla="*/ 0 h 228600"/>
                  <a:gd name="connsiteX1" fmla="*/ 0 w 114300"/>
                  <a:gd name="connsiteY1" fmla="*/ 114300 h 228600"/>
                  <a:gd name="connsiteX2" fmla="*/ 57150 w 114300"/>
                  <a:gd name="connsiteY2" fmla="*/ 228600 h 228600"/>
                  <a:gd name="connsiteX3" fmla="*/ 114300 w 114300"/>
                  <a:gd name="connsiteY3" fmla="*/ 114300 h 228600"/>
                  <a:gd name="connsiteX4" fmla="*/ 57150 w 1143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28600">
                    <a:moveTo>
                      <a:pt x="57150" y="0"/>
                    </a:moveTo>
                    <a:cubicBezTo>
                      <a:pt x="25718" y="0"/>
                      <a:pt x="0" y="51435"/>
                      <a:pt x="0" y="114300"/>
                    </a:cubicBezTo>
                    <a:cubicBezTo>
                      <a:pt x="0" y="177165"/>
                      <a:pt x="25718" y="228600"/>
                      <a:pt x="57150" y="228600"/>
                    </a:cubicBezTo>
                    <a:cubicBezTo>
                      <a:pt x="88582" y="228600"/>
                      <a:pt x="114300" y="177165"/>
                      <a:pt x="114300" y="114300"/>
                    </a:cubicBezTo>
                    <a:cubicBezTo>
                      <a:pt x="114300" y="51435"/>
                      <a:pt x="88582" y="0"/>
                      <a:pt x="57150" y="0"/>
                    </a:cubicBezTo>
                    <a:close/>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7" name="Freeform: Shape 42">
                <a:extLst>
                  <a:ext uri="{FF2B5EF4-FFF2-40B4-BE49-F238E27FC236}">
                    <a16:creationId xmlns:a16="http://schemas.microsoft.com/office/drawing/2014/main" id="{24C16153-6934-467A-84C4-C89B84623FF2}"/>
                  </a:ext>
                </a:extLst>
              </p:cNvPr>
              <p:cNvSpPr/>
              <p:nvPr/>
            </p:nvSpPr>
            <p:spPr>
              <a:xfrm>
                <a:off x="6134656" y="1558556"/>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8" name="Freeform: Shape 43">
                <a:extLst>
                  <a:ext uri="{FF2B5EF4-FFF2-40B4-BE49-F238E27FC236}">
                    <a16:creationId xmlns:a16="http://schemas.microsoft.com/office/drawing/2014/main" id="{91840EE9-27D2-4EDB-87B9-BEC38AF11DBF}"/>
                  </a:ext>
                </a:extLst>
              </p:cNvPr>
              <p:cNvSpPr/>
              <p:nvPr/>
            </p:nvSpPr>
            <p:spPr>
              <a:xfrm>
                <a:off x="6134656" y="1647532"/>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09" name="Freeform: Shape 44">
                <a:extLst>
                  <a:ext uri="{FF2B5EF4-FFF2-40B4-BE49-F238E27FC236}">
                    <a16:creationId xmlns:a16="http://schemas.microsoft.com/office/drawing/2014/main" id="{5637FA39-9EE5-42BD-BC7E-DB87A41570B9}"/>
                  </a:ext>
                </a:extLst>
              </p:cNvPr>
              <p:cNvSpPr/>
              <p:nvPr/>
            </p:nvSpPr>
            <p:spPr>
              <a:xfrm>
                <a:off x="6257707" y="1469581"/>
                <a:ext cx="11186" cy="266926"/>
              </a:xfrm>
              <a:custGeom>
                <a:avLst/>
                <a:gdLst>
                  <a:gd name="connsiteX0" fmla="*/ 0 w 9525"/>
                  <a:gd name="connsiteY0" fmla="*/ 0 h 228600"/>
                  <a:gd name="connsiteX1" fmla="*/ 0 w 9525"/>
                  <a:gd name="connsiteY1" fmla="*/ 228600 h 228600"/>
                </a:gdLst>
                <a:ahLst/>
                <a:cxnLst>
                  <a:cxn ang="0">
                    <a:pos x="connsiteX0" y="connsiteY0"/>
                  </a:cxn>
                  <a:cxn ang="0">
                    <a:pos x="connsiteX1" y="connsiteY1"/>
                  </a:cxn>
                </a:cxnLst>
                <a:rect l="l" t="t" r="r" b="b"/>
                <a:pathLst>
                  <a:path w="9525" h="228600">
                    <a:moveTo>
                      <a:pt x="0" y="0"/>
                    </a:moveTo>
                    <a:lnTo>
                      <a:pt x="0" y="22860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0" name="Freeform: Shape 45">
                <a:extLst>
                  <a:ext uri="{FF2B5EF4-FFF2-40B4-BE49-F238E27FC236}">
                    <a16:creationId xmlns:a16="http://schemas.microsoft.com/office/drawing/2014/main" id="{96C2CFF1-7644-497B-A31F-D64F86AD6063}"/>
                  </a:ext>
                </a:extLst>
              </p:cNvPr>
              <p:cNvSpPr/>
              <p:nvPr/>
            </p:nvSpPr>
            <p:spPr>
              <a:xfrm>
                <a:off x="6096623" y="1678673"/>
                <a:ext cx="25728" cy="1668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1" name="Freeform: Shape 46">
                <a:extLst>
                  <a:ext uri="{FF2B5EF4-FFF2-40B4-BE49-F238E27FC236}">
                    <a16:creationId xmlns:a16="http://schemas.microsoft.com/office/drawing/2014/main" id="{22E3463B-86CB-4E0E-8776-60C8595739BD}"/>
                  </a:ext>
                </a:extLst>
              </p:cNvPr>
              <p:cNvSpPr/>
              <p:nvPr/>
            </p:nvSpPr>
            <p:spPr>
              <a:xfrm>
                <a:off x="6393062" y="1678673"/>
                <a:ext cx="24609" cy="1668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2" name="Freeform: Shape 47">
                <a:extLst>
                  <a:ext uri="{FF2B5EF4-FFF2-40B4-BE49-F238E27FC236}">
                    <a16:creationId xmlns:a16="http://schemas.microsoft.com/office/drawing/2014/main" id="{C663E5FA-A946-49ED-B156-2EF5ABA70D2E}"/>
                  </a:ext>
                </a:extLst>
              </p:cNvPr>
              <p:cNvSpPr/>
              <p:nvPr/>
            </p:nvSpPr>
            <p:spPr>
              <a:xfrm>
                <a:off x="6393062" y="1510731"/>
                <a:ext cx="24609" cy="1668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3" name="Freeform: Shape 48">
                <a:extLst>
                  <a:ext uri="{FF2B5EF4-FFF2-40B4-BE49-F238E27FC236}">
                    <a16:creationId xmlns:a16="http://schemas.microsoft.com/office/drawing/2014/main" id="{19817207-07CA-469D-9B7F-62431848C245}"/>
                  </a:ext>
                </a:extLst>
              </p:cNvPr>
              <p:cNvSpPr/>
              <p:nvPr/>
            </p:nvSpPr>
            <p:spPr>
              <a:xfrm>
                <a:off x="6096623" y="1510731"/>
                <a:ext cx="25728" cy="1668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4" name="Freeform: Shape 49">
                <a:extLst>
                  <a:ext uri="{FF2B5EF4-FFF2-40B4-BE49-F238E27FC236}">
                    <a16:creationId xmlns:a16="http://schemas.microsoft.com/office/drawing/2014/main" id="{0CB100A4-BF60-49A1-AA43-83D07B0E62DB}"/>
                  </a:ext>
                </a:extLst>
              </p:cNvPr>
              <p:cNvSpPr/>
              <p:nvPr/>
            </p:nvSpPr>
            <p:spPr>
              <a:xfrm>
                <a:off x="6414317"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5" name="Freeform: Shape 50">
                <a:extLst>
                  <a:ext uri="{FF2B5EF4-FFF2-40B4-BE49-F238E27FC236}">
                    <a16:creationId xmlns:a16="http://schemas.microsoft.com/office/drawing/2014/main" id="{E20B8C80-0DB2-465A-A11C-4A6CCC1EEDDF}"/>
                  </a:ext>
                </a:extLst>
              </p:cNvPr>
              <p:cNvSpPr/>
              <p:nvPr/>
            </p:nvSpPr>
            <p:spPr>
              <a:xfrm>
                <a:off x="6257707" y="1413971"/>
                <a:ext cx="11186" cy="3336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16" name="Freeform: Shape 51">
                <a:extLst>
                  <a:ext uri="{FF2B5EF4-FFF2-40B4-BE49-F238E27FC236}">
                    <a16:creationId xmlns:a16="http://schemas.microsoft.com/office/drawing/2014/main" id="{F2A7C72E-F59C-4D59-B311-688A0621899D}"/>
                  </a:ext>
                </a:extLst>
              </p:cNvPr>
              <p:cNvSpPr/>
              <p:nvPr/>
            </p:nvSpPr>
            <p:spPr>
              <a:xfrm>
                <a:off x="6257707" y="1758751"/>
                <a:ext cx="11186" cy="3336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grpSp>
      <p:grpSp>
        <p:nvGrpSpPr>
          <p:cNvPr id="11" name="Group 10"/>
          <p:cNvGrpSpPr/>
          <p:nvPr/>
        </p:nvGrpSpPr>
        <p:grpSpPr>
          <a:xfrm>
            <a:off x="9483723" y="5454345"/>
            <a:ext cx="2047489" cy="609948"/>
            <a:chOff x="9673791" y="5082071"/>
            <a:chExt cx="2023634" cy="610107"/>
          </a:xfrm>
        </p:grpSpPr>
        <p:sp>
          <p:nvSpPr>
            <p:cNvPr id="418" name="Rectangle: Rounded Corners 417">
              <a:extLst>
                <a:ext uri="{FF2B5EF4-FFF2-40B4-BE49-F238E27FC236}">
                  <a16:creationId xmlns:a16="http://schemas.microsoft.com/office/drawing/2014/main" id="{C46A7504-1C41-4EC9-8E5D-820CA9CF0628}"/>
                </a:ext>
              </a:extLst>
            </p:cNvPr>
            <p:cNvSpPr/>
            <p:nvPr/>
          </p:nvSpPr>
          <p:spPr bwMode="auto">
            <a:xfrm>
              <a:off x="9673791" y="5082071"/>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419" name="Group 418">
              <a:extLst>
                <a:ext uri="{FF2B5EF4-FFF2-40B4-BE49-F238E27FC236}">
                  <a16:creationId xmlns:a16="http://schemas.microsoft.com/office/drawing/2014/main" id="{37A10922-E7CE-4EDC-A190-08842B11D4D7}"/>
                </a:ext>
              </a:extLst>
            </p:cNvPr>
            <p:cNvGrpSpPr/>
            <p:nvPr/>
          </p:nvGrpSpPr>
          <p:grpSpPr>
            <a:xfrm>
              <a:off x="9832675" y="5155486"/>
              <a:ext cx="447339" cy="511475"/>
              <a:chOff x="2602899" y="5149856"/>
              <a:chExt cx="440082" cy="506093"/>
            </a:xfrm>
          </p:grpSpPr>
          <p:sp>
            <p:nvSpPr>
              <p:cNvPr id="420" name="Freeform: Shape 29">
                <a:extLst>
                  <a:ext uri="{FF2B5EF4-FFF2-40B4-BE49-F238E27FC236}">
                    <a16:creationId xmlns:a16="http://schemas.microsoft.com/office/drawing/2014/main" id="{8245B637-CA34-42CD-AF1E-60682DA7890F}"/>
                  </a:ext>
                </a:extLst>
              </p:cNvPr>
              <p:cNvSpPr/>
              <p:nvPr/>
            </p:nvSpPr>
            <p:spPr>
              <a:xfrm>
                <a:off x="2873549" y="5211467"/>
                <a:ext cx="90216" cy="53909"/>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1" name="Freeform: Shape 30">
                <a:extLst>
                  <a:ext uri="{FF2B5EF4-FFF2-40B4-BE49-F238E27FC236}">
                    <a16:creationId xmlns:a16="http://schemas.microsoft.com/office/drawing/2014/main" id="{C32D1BDB-032B-4DED-A2DA-6FE4C7EE49EA}"/>
                  </a:ext>
                </a:extLst>
              </p:cNvPr>
              <p:cNvSpPr/>
              <p:nvPr/>
            </p:nvSpPr>
            <p:spPr>
              <a:xfrm>
                <a:off x="3009975" y="5347892"/>
                <a:ext cx="11002" cy="110020"/>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2" name="Freeform: Shape 31">
                <a:extLst>
                  <a:ext uri="{FF2B5EF4-FFF2-40B4-BE49-F238E27FC236}">
                    <a16:creationId xmlns:a16="http://schemas.microsoft.com/office/drawing/2014/main" id="{5284D388-056E-49FF-AD65-C854200F3098}"/>
                  </a:ext>
                </a:extLst>
              </p:cNvPr>
              <p:cNvSpPr/>
              <p:nvPr/>
            </p:nvSpPr>
            <p:spPr>
              <a:xfrm>
                <a:off x="2635905" y="5347892"/>
                <a:ext cx="11002" cy="110020"/>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3" name="Freeform: Shape 32">
                <a:extLst>
                  <a:ext uri="{FF2B5EF4-FFF2-40B4-BE49-F238E27FC236}">
                    <a16:creationId xmlns:a16="http://schemas.microsoft.com/office/drawing/2014/main" id="{A21C3D99-DCEE-48F7-B7EE-587A57901359}"/>
                  </a:ext>
                </a:extLst>
              </p:cNvPr>
              <p:cNvSpPr/>
              <p:nvPr/>
            </p:nvSpPr>
            <p:spPr>
              <a:xfrm>
                <a:off x="2682114" y="5211467"/>
                <a:ext cx="90217" cy="53909"/>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4" name="Freeform: Shape 33">
                <a:extLst>
                  <a:ext uri="{FF2B5EF4-FFF2-40B4-BE49-F238E27FC236}">
                    <a16:creationId xmlns:a16="http://schemas.microsoft.com/office/drawing/2014/main" id="{4A7C643C-B416-4A72-A58C-76CA48DFB22F}"/>
                  </a:ext>
                </a:extLst>
              </p:cNvPr>
              <p:cNvSpPr/>
              <p:nvPr/>
            </p:nvSpPr>
            <p:spPr>
              <a:xfrm>
                <a:off x="2873549" y="5541528"/>
                <a:ext cx="90216" cy="53909"/>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5" name="Freeform: Shape 34">
                <a:extLst>
                  <a:ext uri="{FF2B5EF4-FFF2-40B4-BE49-F238E27FC236}">
                    <a16:creationId xmlns:a16="http://schemas.microsoft.com/office/drawing/2014/main" id="{C2DC16D5-BE4D-4907-93D8-E3FB88470157}"/>
                  </a:ext>
                </a:extLst>
              </p:cNvPr>
              <p:cNvSpPr/>
              <p:nvPr/>
            </p:nvSpPr>
            <p:spPr>
              <a:xfrm>
                <a:off x="2682114" y="5541528"/>
                <a:ext cx="90217" cy="53909"/>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6" name="Freeform: Shape 35">
                <a:extLst>
                  <a:ext uri="{FF2B5EF4-FFF2-40B4-BE49-F238E27FC236}">
                    <a16:creationId xmlns:a16="http://schemas.microsoft.com/office/drawing/2014/main" id="{CB45A2DD-82D2-4A0B-8DEB-A469A0477CAA}"/>
                  </a:ext>
                </a:extLst>
              </p:cNvPr>
              <p:cNvSpPr/>
              <p:nvPr/>
            </p:nvSpPr>
            <p:spPr>
              <a:xfrm>
                <a:off x="2789934" y="514985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7" name="Freeform: Shape 36">
                <a:extLst>
                  <a:ext uri="{FF2B5EF4-FFF2-40B4-BE49-F238E27FC236}">
                    <a16:creationId xmlns:a16="http://schemas.microsoft.com/office/drawing/2014/main" id="{2A842E54-4220-450E-98A7-32D302D783B4}"/>
                  </a:ext>
                </a:extLst>
              </p:cNvPr>
              <p:cNvSpPr/>
              <p:nvPr/>
            </p:nvSpPr>
            <p:spPr>
              <a:xfrm>
                <a:off x="2789874" y="5589937"/>
                <a:ext cx="66130" cy="66012"/>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8" name="Freeform: Shape 37">
                <a:extLst>
                  <a:ext uri="{FF2B5EF4-FFF2-40B4-BE49-F238E27FC236}">
                    <a16:creationId xmlns:a16="http://schemas.microsoft.com/office/drawing/2014/main" id="{575A9593-10C1-4EE7-98C2-7BFCC445CB3B}"/>
                  </a:ext>
                </a:extLst>
              </p:cNvPr>
              <p:cNvSpPr/>
              <p:nvPr/>
            </p:nvSpPr>
            <p:spPr>
              <a:xfrm>
                <a:off x="297696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29" name="Freeform: Shape 38">
                <a:extLst>
                  <a:ext uri="{FF2B5EF4-FFF2-40B4-BE49-F238E27FC236}">
                    <a16:creationId xmlns:a16="http://schemas.microsoft.com/office/drawing/2014/main" id="{8F3A1232-E0E7-48FC-835C-EAB4428C0628}"/>
                  </a:ext>
                </a:extLst>
              </p:cNvPr>
              <p:cNvSpPr/>
              <p:nvPr/>
            </p:nvSpPr>
            <p:spPr>
              <a:xfrm>
                <a:off x="260289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0" name="Freeform: Shape 39">
                <a:extLst>
                  <a:ext uri="{FF2B5EF4-FFF2-40B4-BE49-F238E27FC236}">
                    <a16:creationId xmlns:a16="http://schemas.microsoft.com/office/drawing/2014/main" id="{A04B1511-3697-406B-ACFF-A806AA3275AB}"/>
                  </a:ext>
                </a:extLst>
              </p:cNvPr>
              <p:cNvSpPr/>
              <p:nvPr/>
            </p:nvSpPr>
            <p:spPr>
              <a:xfrm>
                <a:off x="260289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1" name="Freeform: Shape 45">
                <a:extLst>
                  <a:ext uri="{FF2B5EF4-FFF2-40B4-BE49-F238E27FC236}">
                    <a16:creationId xmlns:a16="http://schemas.microsoft.com/office/drawing/2014/main" id="{5CCB0879-4509-48FD-880F-D3083B4E906E}"/>
                  </a:ext>
                </a:extLst>
              </p:cNvPr>
              <p:cNvSpPr/>
              <p:nvPr/>
            </p:nvSpPr>
            <p:spPr>
              <a:xfrm>
                <a:off x="2664510" y="5477716"/>
                <a:ext cx="25304" cy="1650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2" name="Freeform: Shape 46">
                <a:extLst>
                  <a:ext uri="{FF2B5EF4-FFF2-40B4-BE49-F238E27FC236}">
                    <a16:creationId xmlns:a16="http://schemas.microsoft.com/office/drawing/2014/main" id="{C55D314E-01FB-4687-95A9-63A231F3C2A9}"/>
                  </a:ext>
                </a:extLst>
              </p:cNvPr>
              <p:cNvSpPr/>
              <p:nvPr/>
            </p:nvSpPr>
            <p:spPr>
              <a:xfrm>
                <a:off x="2956064" y="5477716"/>
                <a:ext cx="24203" cy="1650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3" name="Freeform: Shape 47">
                <a:extLst>
                  <a:ext uri="{FF2B5EF4-FFF2-40B4-BE49-F238E27FC236}">
                    <a16:creationId xmlns:a16="http://schemas.microsoft.com/office/drawing/2014/main" id="{41E56D8F-B5C1-41F1-9A19-7F137A850BB9}"/>
                  </a:ext>
                </a:extLst>
              </p:cNvPr>
              <p:cNvSpPr/>
              <p:nvPr/>
            </p:nvSpPr>
            <p:spPr>
              <a:xfrm>
                <a:off x="2956064" y="5311585"/>
                <a:ext cx="24203" cy="1650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4" name="Freeform: Shape 48">
                <a:extLst>
                  <a:ext uri="{FF2B5EF4-FFF2-40B4-BE49-F238E27FC236}">
                    <a16:creationId xmlns:a16="http://schemas.microsoft.com/office/drawing/2014/main" id="{51EEBFD5-E7C5-47B5-B93A-E88C61424518}"/>
                  </a:ext>
                </a:extLst>
              </p:cNvPr>
              <p:cNvSpPr/>
              <p:nvPr/>
            </p:nvSpPr>
            <p:spPr>
              <a:xfrm>
                <a:off x="2664510" y="5311585"/>
                <a:ext cx="25304" cy="1650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5" name="Freeform: Shape 49">
                <a:extLst>
                  <a:ext uri="{FF2B5EF4-FFF2-40B4-BE49-F238E27FC236}">
                    <a16:creationId xmlns:a16="http://schemas.microsoft.com/office/drawing/2014/main" id="{F67D7364-3D6B-409B-9FC2-D9460CC6645D}"/>
                  </a:ext>
                </a:extLst>
              </p:cNvPr>
              <p:cNvSpPr/>
              <p:nvPr/>
            </p:nvSpPr>
            <p:spPr>
              <a:xfrm>
                <a:off x="297696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6" name="Freeform: Shape 50">
                <a:extLst>
                  <a:ext uri="{FF2B5EF4-FFF2-40B4-BE49-F238E27FC236}">
                    <a16:creationId xmlns:a16="http://schemas.microsoft.com/office/drawing/2014/main" id="{B5F93D10-D050-49A8-98B5-EFAB8FA98316}"/>
                  </a:ext>
                </a:extLst>
              </p:cNvPr>
              <p:cNvSpPr/>
              <p:nvPr/>
            </p:nvSpPr>
            <p:spPr>
              <a:xfrm>
                <a:off x="2822940" y="5215868"/>
                <a:ext cx="11002" cy="3300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37" name="Freeform: Shape 51">
                <a:extLst>
                  <a:ext uri="{FF2B5EF4-FFF2-40B4-BE49-F238E27FC236}">
                    <a16:creationId xmlns:a16="http://schemas.microsoft.com/office/drawing/2014/main" id="{EB9C4585-9282-493D-81E2-F408914FA25B}"/>
                  </a:ext>
                </a:extLst>
              </p:cNvPr>
              <p:cNvSpPr/>
              <p:nvPr/>
            </p:nvSpPr>
            <p:spPr>
              <a:xfrm>
                <a:off x="2822940" y="5556931"/>
                <a:ext cx="11002" cy="3300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nvGrpSpPr>
              <p:cNvPr id="438" name="Graphic 52">
                <a:extLst>
                  <a:ext uri="{FF2B5EF4-FFF2-40B4-BE49-F238E27FC236}">
                    <a16:creationId xmlns:a16="http://schemas.microsoft.com/office/drawing/2014/main" id="{507CF272-CA77-4C99-81D0-025E97E6DEDA}"/>
                  </a:ext>
                </a:extLst>
              </p:cNvPr>
              <p:cNvGrpSpPr/>
              <p:nvPr/>
            </p:nvGrpSpPr>
            <p:grpSpPr>
              <a:xfrm>
                <a:off x="2724318" y="5292882"/>
                <a:ext cx="199973" cy="269194"/>
                <a:chOff x="9334200" y="1398702"/>
                <a:chExt cx="247650" cy="333375"/>
              </a:xfrm>
              <a:noFill/>
            </p:grpSpPr>
            <p:sp>
              <p:nvSpPr>
                <p:cNvPr id="439" name="Freeform: Shape 54">
                  <a:extLst>
                    <a:ext uri="{FF2B5EF4-FFF2-40B4-BE49-F238E27FC236}">
                      <a16:creationId xmlns:a16="http://schemas.microsoft.com/office/drawing/2014/main" id="{C5644662-C654-4DED-99FC-4FBD1D1F2ECD}"/>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0" name="Freeform: Shape 55">
                  <a:extLst>
                    <a:ext uri="{FF2B5EF4-FFF2-40B4-BE49-F238E27FC236}">
                      <a16:creationId xmlns:a16="http://schemas.microsoft.com/office/drawing/2014/main" id="{7532CCB2-716B-415B-B9C3-A352BE9A9B78}"/>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1" name="Freeform: Shape 56">
                  <a:extLst>
                    <a:ext uri="{FF2B5EF4-FFF2-40B4-BE49-F238E27FC236}">
                      <a16:creationId xmlns:a16="http://schemas.microsoft.com/office/drawing/2014/main" id="{2D7CE9B2-8243-446C-846D-3869A2E7D61B}"/>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2" name="Freeform: Shape 57">
                  <a:extLst>
                    <a:ext uri="{FF2B5EF4-FFF2-40B4-BE49-F238E27FC236}">
                      <a16:creationId xmlns:a16="http://schemas.microsoft.com/office/drawing/2014/main" id="{862A44A7-D869-441C-B1F8-FE698F753FF5}"/>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3" name="Freeform: Shape 58">
                  <a:extLst>
                    <a:ext uri="{FF2B5EF4-FFF2-40B4-BE49-F238E27FC236}">
                      <a16:creationId xmlns:a16="http://schemas.microsoft.com/office/drawing/2014/main" id="{133E45F4-F813-42E7-99B1-4B79EC574E04}"/>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4" name="Freeform: Shape 59">
                  <a:extLst>
                    <a:ext uri="{FF2B5EF4-FFF2-40B4-BE49-F238E27FC236}">
                      <a16:creationId xmlns:a16="http://schemas.microsoft.com/office/drawing/2014/main" id="{66D86444-0490-4D09-9CD3-AAA2196D0DCE}"/>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5" name="Freeform: Shape 60">
                  <a:extLst>
                    <a:ext uri="{FF2B5EF4-FFF2-40B4-BE49-F238E27FC236}">
                      <a16:creationId xmlns:a16="http://schemas.microsoft.com/office/drawing/2014/main" id="{3027EF53-6D53-4C1D-824D-8343F679794E}"/>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6" name="Freeform: Shape 61">
                  <a:extLst>
                    <a:ext uri="{FF2B5EF4-FFF2-40B4-BE49-F238E27FC236}">
                      <a16:creationId xmlns:a16="http://schemas.microsoft.com/office/drawing/2014/main" id="{63973E57-8308-4B8C-B272-A0FDEFF9C7B2}"/>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7" name="Freeform: Shape 66">
                  <a:extLst>
                    <a:ext uri="{FF2B5EF4-FFF2-40B4-BE49-F238E27FC236}">
                      <a16:creationId xmlns:a16="http://schemas.microsoft.com/office/drawing/2014/main" id="{5D82B998-2F89-40E6-B3B3-C8DC1AAB6A69}"/>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8" name="Freeform: Shape 67">
                  <a:extLst>
                    <a:ext uri="{FF2B5EF4-FFF2-40B4-BE49-F238E27FC236}">
                      <a16:creationId xmlns:a16="http://schemas.microsoft.com/office/drawing/2014/main" id="{DFF42C9B-E3B9-4589-806B-F40D46234D4F}"/>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49" name="Freeform: Shape 68">
                  <a:extLst>
                    <a:ext uri="{FF2B5EF4-FFF2-40B4-BE49-F238E27FC236}">
                      <a16:creationId xmlns:a16="http://schemas.microsoft.com/office/drawing/2014/main" id="{4960DFFE-794C-406E-B99F-393C1D3363A5}"/>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450" name="Freeform: Shape 69">
                  <a:extLst>
                    <a:ext uri="{FF2B5EF4-FFF2-40B4-BE49-F238E27FC236}">
                      <a16:creationId xmlns:a16="http://schemas.microsoft.com/office/drawing/2014/main" id="{49E0D5B5-5ACF-46F4-9C68-73C8139C7B66}"/>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sp>
          <p:nvSpPr>
            <p:cNvPr id="451" name="TextBox 450">
              <a:extLst>
                <a:ext uri="{FF2B5EF4-FFF2-40B4-BE49-F238E27FC236}">
                  <a16:creationId xmlns:a16="http://schemas.microsoft.com/office/drawing/2014/main" id="{F7CF893B-59BC-4088-B8C4-226CA90F1D13}"/>
                </a:ext>
              </a:extLst>
            </p:cNvPr>
            <p:cNvSpPr txBox="1"/>
            <p:nvPr/>
          </p:nvSpPr>
          <p:spPr bwMode="auto">
            <a:xfrm>
              <a:off x="10117658" y="5241074"/>
              <a:ext cx="1579767" cy="307697"/>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INTRANET</a:t>
              </a:r>
            </a:p>
          </p:txBody>
        </p:sp>
      </p:grpSp>
      <p:grpSp>
        <p:nvGrpSpPr>
          <p:cNvPr id="18" name="Group 17"/>
          <p:cNvGrpSpPr/>
          <p:nvPr/>
        </p:nvGrpSpPr>
        <p:grpSpPr>
          <a:xfrm>
            <a:off x="9483723" y="4628221"/>
            <a:ext cx="2047489" cy="609948"/>
            <a:chOff x="9673791" y="4360076"/>
            <a:chExt cx="2048022" cy="610107"/>
          </a:xfrm>
        </p:grpSpPr>
        <p:sp>
          <p:nvSpPr>
            <p:cNvPr id="196" name="Rectangle: Rounded Corners 195">
              <a:extLst>
                <a:ext uri="{FF2B5EF4-FFF2-40B4-BE49-F238E27FC236}">
                  <a16:creationId xmlns:a16="http://schemas.microsoft.com/office/drawing/2014/main" id="{91DF2152-D28B-4B7D-87F0-4FD808371D65}"/>
                </a:ext>
              </a:extLst>
            </p:cNvPr>
            <p:cNvSpPr/>
            <p:nvPr/>
          </p:nvSpPr>
          <p:spPr bwMode="auto">
            <a:xfrm>
              <a:off x="9673791" y="4360076"/>
              <a:ext cx="2048022"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9" name="Group 8"/>
            <p:cNvGrpSpPr/>
            <p:nvPr/>
          </p:nvGrpSpPr>
          <p:grpSpPr>
            <a:xfrm>
              <a:off x="9725664" y="4421203"/>
              <a:ext cx="1927181" cy="530094"/>
              <a:chOff x="9795983" y="4421203"/>
              <a:chExt cx="1927181" cy="530094"/>
            </a:xfrm>
          </p:grpSpPr>
          <p:grpSp>
            <p:nvGrpSpPr>
              <p:cNvPr id="160" name="Group 159">
                <a:extLst>
                  <a:ext uri="{FF2B5EF4-FFF2-40B4-BE49-F238E27FC236}">
                    <a16:creationId xmlns:a16="http://schemas.microsoft.com/office/drawing/2014/main" id="{083DB3FB-2099-4337-AB30-C5E27BC6D019}"/>
                  </a:ext>
                </a:extLst>
              </p:cNvPr>
              <p:cNvGrpSpPr/>
              <p:nvPr/>
            </p:nvGrpSpPr>
            <p:grpSpPr>
              <a:xfrm>
                <a:off x="9795983" y="4421203"/>
                <a:ext cx="478403" cy="478403"/>
                <a:chOff x="9733030" y="4421460"/>
                <a:chExt cx="478528" cy="478528"/>
              </a:xfrm>
            </p:grpSpPr>
            <p:sp>
              <p:nvSpPr>
                <p:cNvPr id="164" name="Oval 163">
                  <a:extLst>
                    <a:ext uri="{FF2B5EF4-FFF2-40B4-BE49-F238E27FC236}">
                      <a16:creationId xmlns:a16="http://schemas.microsoft.com/office/drawing/2014/main" id="{23965E66-E6FF-433B-A0B4-4A91DCB1E49D}"/>
                    </a:ext>
                  </a:extLst>
                </p:cNvPr>
                <p:cNvSpPr/>
                <p:nvPr/>
              </p:nvSpPr>
              <p:spPr bwMode="auto">
                <a:xfrm>
                  <a:off x="9868294" y="4556750"/>
                  <a:ext cx="212099" cy="212099"/>
                </a:xfrm>
                <a:prstGeom prst="ellipse">
                  <a:avLst/>
                </a:prstGeom>
                <a:solidFill>
                  <a:schemeClr val="bg2"/>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8" kern="1200" dirty="0" err="1">
                    <a:solidFill>
                      <a:srgbClr val="4D4D4F"/>
                    </a:solidFill>
                    <a:latin typeface="+mj-lt"/>
                    <a:ea typeface="+mn-ea"/>
                    <a:cs typeface="Calibri" panose="020F0502020204030204" pitchFamily="34" charset="0"/>
                  </a:endParaRPr>
                </a:p>
              </p:txBody>
            </p:sp>
            <p:pic>
              <p:nvPicPr>
                <p:cNvPr id="166" name="Graphic 165">
                  <a:extLst>
                    <a:ext uri="{FF2B5EF4-FFF2-40B4-BE49-F238E27FC236}">
                      <a16:creationId xmlns:a16="http://schemas.microsoft.com/office/drawing/2014/main" id="{3FC4EB70-B6A7-44CF-BC3C-FA8BFA9DC2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33030" y="4421460"/>
                  <a:ext cx="478528" cy="478528"/>
                </a:xfrm>
                <a:prstGeom prst="rect">
                  <a:avLst/>
                </a:prstGeom>
              </p:spPr>
            </p:pic>
          </p:grpSp>
          <p:sp>
            <p:nvSpPr>
              <p:cNvPr id="189" name="TextBox 188">
                <a:extLst>
                  <a:ext uri="{FF2B5EF4-FFF2-40B4-BE49-F238E27FC236}">
                    <a16:creationId xmlns:a16="http://schemas.microsoft.com/office/drawing/2014/main" id="{3E21AF7F-BCF5-44DF-B2AD-6E3F9D1D0998}"/>
                  </a:ext>
                </a:extLst>
              </p:cNvPr>
              <p:cNvSpPr txBox="1"/>
              <p:nvPr/>
            </p:nvSpPr>
            <p:spPr bwMode="auto">
              <a:xfrm>
                <a:off x="10348616" y="4427988"/>
                <a:ext cx="1374548" cy="52330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REMOTE DESKTOP</a:t>
                </a:r>
              </a:p>
            </p:txBody>
          </p:sp>
        </p:grpSp>
      </p:grpSp>
      <p:grpSp>
        <p:nvGrpSpPr>
          <p:cNvPr id="6" name="Group 5"/>
          <p:cNvGrpSpPr/>
          <p:nvPr/>
        </p:nvGrpSpPr>
        <p:grpSpPr>
          <a:xfrm>
            <a:off x="9483726" y="2975978"/>
            <a:ext cx="2004665" cy="609948"/>
            <a:chOff x="9688518" y="1581109"/>
            <a:chExt cx="2005187" cy="610107"/>
          </a:xfrm>
        </p:grpSpPr>
        <p:sp>
          <p:nvSpPr>
            <p:cNvPr id="192" name="Rectangle: Rounded Corners 191">
              <a:extLst>
                <a:ext uri="{FF2B5EF4-FFF2-40B4-BE49-F238E27FC236}">
                  <a16:creationId xmlns:a16="http://schemas.microsoft.com/office/drawing/2014/main" id="{076AF032-900F-42E8-8F14-21A9FE6A317F}"/>
                </a:ext>
              </a:extLst>
            </p:cNvPr>
            <p:cNvSpPr/>
            <p:nvPr/>
          </p:nvSpPr>
          <p:spPr bwMode="auto">
            <a:xfrm>
              <a:off x="9688518" y="1581109"/>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199" name="Graphic 52">
              <a:extLst>
                <a:ext uri="{FF2B5EF4-FFF2-40B4-BE49-F238E27FC236}">
                  <a16:creationId xmlns:a16="http://schemas.microsoft.com/office/drawing/2014/main" id="{4EB51446-F139-4905-AE56-B12EEEDA68AB}"/>
                </a:ext>
              </a:extLst>
            </p:cNvPr>
            <p:cNvGrpSpPr/>
            <p:nvPr/>
          </p:nvGrpSpPr>
          <p:grpSpPr>
            <a:xfrm>
              <a:off x="9823929" y="1681273"/>
              <a:ext cx="440895" cy="447883"/>
              <a:chOff x="9248475" y="1284402"/>
              <a:chExt cx="438150" cy="447675"/>
            </a:xfrm>
            <a:noFill/>
          </p:grpSpPr>
          <p:sp>
            <p:nvSpPr>
              <p:cNvPr id="200" name="Freeform: Shape 54">
                <a:extLst>
                  <a:ext uri="{FF2B5EF4-FFF2-40B4-BE49-F238E27FC236}">
                    <a16:creationId xmlns:a16="http://schemas.microsoft.com/office/drawing/2014/main" id="{94E30462-CC4F-4BE5-A52F-DFD67917C0E5}"/>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01" name="Freeform: Shape 55">
                <a:extLst>
                  <a:ext uri="{FF2B5EF4-FFF2-40B4-BE49-F238E27FC236}">
                    <a16:creationId xmlns:a16="http://schemas.microsoft.com/office/drawing/2014/main" id="{CF6323B9-4C34-409B-B7CC-03C437A245D2}"/>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02" name="Freeform: Shape 56">
                <a:extLst>
                  <a:ext uri="{FF2B5EF4-FFF2-40B4-BE49-F238E27FC236}">
                    <a16:creationId xmlns:a16="http://schemas.microsoft.com/office/drawing/2014/main" id="{F19B9C41-504C-4777-9D9D-9895C08E95FC}"/>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86" name="Freeform: Shape 57">
                <a:extLst>
                  <a:ext uri="{FF2B5EF4-FFF2-40B4-BE49-F238E27FC236}">
                    <a16:creationId xmlns:a16="http://schemas.microsoft.com/office/drawing/2014/main" id="{6016843C-6AE0-4393-AAC8-CF878353C899}"/>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3" name="Freeform: Shape 58">
                <a:extLst>
                  <a:ext uri="{FF2B5EF4-FFF2-40B4-BE49-F238E27FC236}">
                    <a16:creationId xmlns:a16="http://schemas.microsoft.com/office/drawing/2014/main" id="{B46645A2-1172-4C80-99DF-17DBDDDAF8FE}"/>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4" name="Freeform: Shape 59">
                <a:extLst>
                  <a:ext uri="{FF2B5EF4-FFF2-40B4-BE49-F238E27FC236}">
                    <a16:creationId xmlns:a16="http://schemas.microsoft.com/office/drawing/2014/main" id="{8491C85D-1CD1-4794-B77C-5B6F2D78F848}"/>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5" name="Freeform: Shape 60">
                <a:extLst>
                  <a:ext uri="{FF2B5EF4-FFF2-40B4-BE49-F238E27FC236}">
                    <a16:creationId xmlns:a16="http://schemas.microsoft.com/office/drawing/2014/main" id="{DD70E446-DEA4-444E-A5EC-4115937AA8BC}"/>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6" name="Freeform: Shape 61">
                <a:extLst>
                  <a:ext uri="{FF2B5EF4-FFF2-40B4-BE49-F238E27FC236}">
                    <a16:creationId xmlns:a16="http://schemas.microsoft.com/office/drawing/2014/main" id="{B5FB915A-5970-4EF2-9EC2-7DECFC8E54A4}"/>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7" name="Freeform: Shape 62">
                <a:extLst>
                  <a:ext uri="{FF2B5EF4-FFF2-40B4-BE49-F238E27FC236}">
                    <a16:creationId xmlns:a16="http://schemas.microsoft.com/office/drawing/2014/main" id="{2195C3ED-C374-4E91-8A52-BA355ECC5EA7}"/>
                  </a:ext>
                </a:extLst>
              </p:cNvPr>
              <p:cNvSpPr/>
              <p:nvPr/>
            </p:nvSpPr>
            <p:spPr>
              <a:xfrm>
                <a:off x="9248475" y="1284402"/>
                <a:ext cx="438150" cy="257175"/>
              </a:xfrm>
              <a:custGeom>
                <a:avLst/>
                <a:gdLst>
                  <a:gd name="connsiteX0" fmla="*/ 361950 w 438150"/>
                  <a:gd name="connsiteY0" fmla="*/ 257175 h 257175"/>
                  <a:gd name="connsiteX1" fmla="*/ 371475 w 438150"/>
                  <a:gd name="connsiteY1" fmla="*/ 257175 h 257175"/>
                  <a:gd name="connsiteX2" fmla="*/ 438150 w 438150"/>
                  <a:gd name="connsiteY2" fmla="*/ 190500 h 257175"/>
                  <a:gd name="connsiteX3" fmla="*/ 371475 w 438150"/>
                  <a:gd name="connsiteY3" fmla="*/ 123825 h 257175"/>
                  <a:gd name="connsiteX4" fmla="*/ 351473 w 438150"/>
                  <a:gd name="connsiteY4" fmla="*/ 126683 h 257175"/>
                  <a:gd name="connsiteX5" fmla="*/ 352425 w 438150"/>
                  <a:gd name="connsiteY5" fmla="*/ 114300 h 257175"/>
                  <a:gd name="connsiteX6" fmla="*/ 285750 w 438150"/>
                  <a:gd name="connsiteY6" fmla="*/ 47625 h 257175"/>
                  <a:gd name="connsiteX7" fmla="*/ 241935 w 438150"/>
                  <a:gd name="connsiteY7" fmla="*/ 63818 h 257175"/>
                  <a:gd name="connsiteX8" fmla="*/ 152400 w 438150"/>
                  <a:gd name="connsiteY8" fmla="*/ 0 h 257175"/>
                  <a:gd name="connsiteX9" fmla="*/ 57150 w 438150"/>
                  <a:gd name="connsiteY9" fmla="*/ 95250 h 257175"/>
                  <a:gd name="connsiteX10" fmla="*/ 61913 w 438150"/>
                  <a:gd name="connsiteY10" fmla="*/ 123825 h 257175"/>
                  <a:gd name="connsiteX11" fmla="*/ 0 w 438150"/>
                  <a:gd name="connsiteY11" fmla="*/ 190500 h 257175"/>
                  <a:gd name="connsiteX12" fmla="*/ 66675 w 438150"/>
                  <a:gd name="connsiteY12" fmla="*/ 257175 h 257175"/>
                  <a:gd name="connsiteX13" fmla="*/ 142875 w 438150"/>
                  <a:gd name="connsiteY13"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50" h="257175">
                    <a:moveTo>
                      <a:pt x="361950" y="257175"/>
                    </a:moveTo>
                    <a:lnTo>
                      <a:pt x="371475" y="257175"/>
                    </a:lnTo>
                    <a:cubicBezTo>
                      <a:pt x="408623" y="257175"/>
                      <a:pt x="438150" y="227648"/>
                      <a:pt x="438150" y="190500"/>
                    </a:cubicBezTo>
                    <a:cubicBezTo>
                      <a:pt x="438150" y="153353"/>
                      <a:pt x="408623" y="123825"/>
                      <a:pt x="371475" y="123825"/>
                    </a:cubicBezTo>
                    <a:cubicBezTo>
                      <a:pt x="364808" y="123825"/>
                      <a:pt x="357188" y="124778"/>
                      <a:pt x="351473" y="126683"/>
                    </a:cubicBezTo>
                    <a:cubicBezTo>
                      <a:pt x="352425" y="122873"/>
                      <a:pt x="352425" y="119063"/>
                      <a:pt x="352425" y="114300"/>
                    </a:cubicBezTo>
                    <a:cubicBezTo>
                      <a:pt x="352425" y="77153"/>
                      <a:pt x="322898" y="47625"/>
                      <a:pt x="285750" y="47625"/>
                    </a:cubicBezTo>
                    <a:cubicBezTo>
                      <a:pt x="269558" y="47625"/>
                      <a:pt x="254318" y="53340"/>
                      <a:pt x="241935" y="63818"/>
                    </a:cubicBezTo>
                    <a:cubicBezTo>
                      <a:pt x="229553" y="26670"/>
                      <a:pt x="194310" y="0"/>
                      <a:pt x="152400" y="0"/>
                    </a:cubicBezTo>
                    <a:cubicBezTo>
                      <a:pt x="100013" y="0"/>
                      <a:pt x="57150" y="42863"/>
                      <a:pt x="57150" y="95250"/>
                    </a:cubicBezTo>
                    <a:cubicBezTo>
                      <a:pt x="57150" y="105728"/>
                      <a:pt x="59055" y="115253"/>
                      <a:pt x="61913" y="123825"/>
                    </a:cubicBezTo>
                    <a:cubicBezTo>
                      <a:pt x="26670" y="126683"/>
                      <a:pt x="0" y="155258"/>
                      <a:pt x="0" y="190500"/>
                    </a:cubicBezTo>
                    <a:cubicBezTo>
                      <a:pt x="0" y="227648"/>
                      <a:pt x="29528" y="257175"/>
                      <a:pt x="66675" y="257175"/>
                    </a:cubicBezTo>
                    <a:lnTo>
                      <a:pt x="142875" y="257175"/>
                    </a:ln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8" name="Freeform: Shape 63">
                <a:extLst>
                  <a:ext uri="{FF2B5EF4-FFF2-40B4-BE49-F238E27FC236}">
                    <a16:creationId xmlns:a16="http://schemas.microsoft.com/office/drawing/2014/main" id="{B6834A96-EC62-4E65-B31F-057D2F95B56F}"/>
                  </a:ext>
                </a:extLst>
              </p:cNvPr>
              <p:cNvSpPr/>
              <p:nvPr/>
            </p:nvSpPr>
            <p:spPr>
              <a:xfrm>
                <a:off x="9490409" y="1348219"/>
                <a:ext cx="4762" cy="21907"/>
              </a:xfrm>
              <a:custGeom>
                <a:avLst/>
                <a:gdLst>
                  <a:gd name="connsiteX0" fmla="*/ 0 w 4762"/>
                  <a:gd name="connsiteY0" fmla="*/ 0 h 21907"/>
                  <a:gd name="connsiteX1" fmla="*/ 4763 w 4762"/>
                  <a:gd name="connsiteY1" fmla="*/ 21908 h 21907"/>
                </a:gdLst>
                <a:ahLst/>
                <a:cxnLst>
                  <a:cxn ang="0">
                    <a:pos x="connsiteX0" y="connsiteY0"/>
                  </a:cxn>
                  <a:cxn ang="0">
                    <a:pos x="connsiteX1" y="connsiteY1"/>
                  </a:cxn>
                </a:cxnLst>
                <a:rect l="l" t="t" r="r" b="b"/>
                <a:pathLst>
                  <a:path w="4762" h="21907">
                    <a:moveTo>
                      <a:pt x="0" y="0"/>
                    </a:moveTo>
                    <a:cubicBezTo>
                      <a:pt x="2858" y="6667"/>
                      <a:pt x="3810" y="14288"/>
                      <a:pt x="4763" y="21908"/>
                    </a:cubicBez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39" name="Freeform: Shape 64">
                <a:extLst>
                  <a:ext uri="{FF2B5EF4-FFF2-40B4-BE49-F238E27FC236}">
                    <a16:creationId xmlns:a16="http://schemas.microsoft.com/office/drawing/2014/main" id="{20F9784A-6FBC-41FB-9FC6-BAB96F8DACCD}"/>
                  </a:ext>
                </a:extLst>
              </p:cNvPr>
              <p:cNvSpPr/>
              <p:nvPr/>
            </p:nvSpPr>
            <p:spPr>
              <a:xfrm>
                <a:off x="9591375" y="1411084"/>
                <a:ext cx="8572" cy="21907"/>
              </a:xfrm>
              <a:custGeom>
                <a:avLst/>
                <a:gdLst>
                  <a:gd name="connsiteX0" fmla="*/ 8573 w 8572"/>
                  <a:gd name="connsiteY0" fmla="*/ 0 h 21907"/>
                  <a:gd name="connsiteX1" fmla="*/ 0 w 8572"/>
                  <a:gd name="connsiteY1" fmla="*/ 21908 h 21907"/>
                </a:gdLst>
                <a:ahLst/>
                <a:cxnLst>
                  <a:cxn ang="0">
                    <a:pos x="connsiteX0" y="connsiteY0"/>
                  </a:cxn>
                  <a:cxn ang="0">
                    <a:pos x="connsiteX1" y="connsiteY1"/>
                  </a:cxn>
                </a:cxnLst>
                <a:rect l="l" t="t" r="r" b="b"/>
                <a:pathLst>
                  <a:path w="8572" h="21907">
                    <a:moveTo>
                      <a:pt x="8573" y="0"/>
                    </a:moveTo>
                    <a:cubicBezTo>
                      <a:pt x="6668" y="7620"/>
                      <a:pt x="3810" y="15240"/>
                      <a:pt x="0" y="21908"/>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0" name="Freeform: Shape 65">
                <a:extLst>
                  <a:ext uri="{FF2B5EF4-FFF2-40B4-BE49-F238E27FC236}">
                    <a16:creationId xmlns:a16="http://schemas.microsoft.com/office/drawing/2014/main" id="{F73D9E2B-29C9-429C-8BDF-A8B1ED8754EC}"/>
                  </a:ext>
                </a:extLst>
              </p:cNvPr>
              <p:cNvSpPr/>
              <p:nvPr/>
            </p:nvSpPr>
            <p:spPr>
              <a:xfrm>
                <a:off x="9310387" y="1407869"/>
                <a:ext cx="24765" cy="3214"/>
              </a:xfrm>
              <a:custGeom>
                <a:avLst/>
                <a:gdLst>
                  <a:gd name="connsiteX0" fmla="*/ 0 w 24765"/>
                  <a:gd name="connsiteY0" fmla="*/ 357 h 3214"/>
                  <a:gd name="connsiteX1" fmla="*/ 24765 w 24765"/>
                  <a:gd name="connsiteY1" fmla="*/ 3215 h 3214"/>
                </a:gdLst>
                <a:ahLst/>
                <a:cxnLst>
                  <a:cxn ang="0">
                    <a:pos x="connsiteX0" y="connsiteY0"/>
                  </a:cxn>
                  <a:cxn ang="0">
                    <a:pos x="connsiteX1" y="connsiteY1"/>
                  </a:cxn>
                </a:cxnLst>
                <a:rect l="l" t="t" r="r" b="b"/>
                <a:pathLst>
                  <a:path w="24765" h="3214">
                    <a:moveTo>
                      <a:pt x="0" y="357"/>
                    </a:moveTo>
                    <a:cubicBezTo>
                      <a:pt x="8572" y="-595"/>
                      <a:pt x="16192" y="357"/>
                      <a:pt x="24765" y="3215"/>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1" name="Freeform: Shape 66">
                <a:extLst>
                  <a:ext uri="{FF2B5EF4-FFF2-40B4-BE49-F238E27FC236}">
                    <a16:creationId xmlns:a16="http://schemas.microsoft.com/office/drawing/2014/main" id="{DD64FBDD-E327-46E2-91AC-20C634A66368}"/>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6" name="Freeform: Shape 67">
                <a:extLst>
                  <a:ext uri="{FF2B5EF4-FFF2-40B4-BE49-F238E27FC236}">
                    <a16:creationId xmlns:a16="http://schemas.microsoft.com/office/drawing/2014/main" id="{A45DAF7B-58B0-416A-AA81-AB64EB94EA03}"/>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49" name="Freeform: Shape 68">
                <a:extLst>
                  <a:ext uri="{FF2B5EF4-FFF2-40B4-BE49-F238E27FC236}">
                    <a16:creationId xmlns:a16="http://schemas.microsoft.com/office/drawing/2014/main" id="{CC8F0058-F4D8-4DB6-B5C9-9F6BF9490446}"/>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50" name="Freeform: Shape 69">
                <a:extLst>
                  <a:ext uri="{FF2B5EF4-FFF2-40B4-BE49-F238E27FC236}">
                    <a16:creationId xmlns:a16="http://schemas.microsoft.com/office/drawing/2014/main" id="{2FFB1F9A-CCCF-442D-B983-C91C1BC94292}"/>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190" name="TextBox 189">
              <a:extLst>
                <a:ext uri="{FF2B5EF4-FFF2-40B4-BE49-F238E27FC236}">
                  <a16:creationId xmlns:a16="http://schemas.microsoft.com/office/drawing/2014/main" id="{A1655CB5-CDFF-4C39-91A1-51496BDFC4CD}"/>
                </a:ext>
              </a:extLst>
            </p:cNvPr>
            <p:cNvSpPr txBox="1"/>
            <p:nvPr/>
          </p:nvSpPr>
          <p:spPr bwMode="auto">
            <a:xfrm>
              <a:off x="10149891" y="1736132"/>
              <a:ext cx="1543814" cy="307808"/>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CLOUD</a:t>
              </a:r>
            </a:p>
          </p:txBody>
        </p:sp>
      </p:grpSp>
      <p:sp>
        <p:nvSpPr>
          <p:cNvPr id="191" name="TextBox 190">
            <a:extLst>
              <a:ext uri="{FF2B5EF4-FFF2-40B4-BE49-F238E27FC236}">
                <a16:creationId xmlns:a16="http://schemas.microsoft.com/office/drawing/2014/main" id="{364E3CFB-73B8-437F-97D1-50D91A69D2DB}"/>
              </a:ext>
            </a:extLst>
          </p:cNvPr>
          <p:cNvSpPr txBox="1"/>
          <p:nvPr/>
        </p:nvSpPr>
        <p:spPr bwMode="auto">
          <a:xfrm rot="5400000">
            <a:off x="11040080" y="4797367"/>
            <a:ext cx="1560838"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On-Premise</a:t>
            </a:r>
            <a:endParaRPr lang="aa-ET" sz="1799" b="1" kern="1200" dirty="0">
              <a:solidFill>
                <a:srgbClr val="4D4D4F"/>
              </a:solidFill>
              <a:latin typeface="+mj-lt"/>
              <a:ea typeface="+mn-ea"/>
              <a:cs typeface="Calibri" panose="020F0502020204030204" pitchFamily="34" charset="0"/>
            </a:endParaRPr>
          </a:p>
        </p:txBody>
      </p:sp>
      <p:sp>
        <p:nvSpPr>
          <p:cNvPr id="197" name="TextBox 196">
            <a:extLst>
              <a:ext uri="{FF2B5EF4-FFF2-40B4-BE49-F238E27FC236}">
                <a16:creationId xmlns:a16="http://schemas.microsoft.com/office/drawing/2014/main" id="{8D518139-1C51-4AD7-B845-E6D0A7E8C904}"/>
              </a:ext>
            </a:extLst>
          </p:cNvPr>
          <p:cNvSpPr txBox="1"/>
          <p:nvPr/>
        </p:nvSpPr>
        <p:spPr bwMode="auto">
          <a:xfrm rot="5400000">
            <a:off x="11355312" y="2722301"/>
            <a:ext cx="930372"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Cloud</a:t>
            </a:r>
            <a:endParaRPr lang="aa-ET" sz="1799" b="1" kern="1200" dirty="0">
              <a:solidFill>
                <a:srgbClr val="4D4D4F"/>
              </a:solidFill>
              <a:latin typeface="+mj-lt"/>
              <a:ea typeface="+mn-ea"/>
              <a:cs typeface="Calibri" panose="020F0502020204030204" pitchFamily="34" charset="0"/>
            </a:endParaRPr>
          </a:p>
        </p:txBody>
      </p:sp>
      <p:sp>
        <p:nvSpPr>
          <p:cNvPr id="198" name="TextBox 197">
            <a:extLst>
              <a:ext uri="{FF2B5EF4-FFF2-40B4-BE49-F238E27FC236}">
                <a16:creationId xmlns:a16="http://schemas.microsoft.com/office/drawing/2014/main" id="{8D518139-1C51-4AD7-B845-E6D0A7E8C904}"/>
              </a:ext>
            </a:extLst>
          </p:cNvPr>
          <p:cNvSpPr txBox="1"/>
          <p:nvPr/>
        </p:nvSpPr>
        <p:spPr bwMode="auto">
          <a:xfrm rot="5400000">
            <a:off x="11441814" y="1494556"/>
            <a:ext cx="757370"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Web</a:t>
            </a:r>
            <a:endParaRPr lang="aa-ET" sz="1799" b="1" kern="1200" dirty="0">
              <a:solidFill>
                <a:srgbClr val="4D4D4F"/>
              </a:solidFill>
              <a:latin typeface="+mj-lt"/>
              <a:ea typeface="+mn-ea"/>
              <a:cs typeface="Calibri" panose="020F0502020204030204" pitchFamily="34" charset="0"/>
            </a:endParaRPr>
          </a:p>
        </p:txBody>
      </p:sp>
      <p:cxnSp>
        <p:nvCxnSpPr>
          <p:cNvPr id="203" name="Straight Connector 202">
            <a:extLst>
              <a:ext uri="{FF2B5EF4-FFF2-40B4-BE49-F238E27FC236}">
                <a16:creationId xmlns:a16="http://schemas.microsoft.com/office/drawing/2014/main" id="{9C1E3CE3-E9A6-4D63-A2C0-BB15062AC84D}"/>
              </a:ext>
            </a:extLst>
          </p:cNvPr>
          <p:cNvCxnSpPr>
            <a:cxnSpLocks/>
            <a:endCxn id="193" idx="1"/>
          </p:cNvCxnSpPr>
          <p:nvPr/>
        </p:nvCxnSpPr>
        <p:spPr bwMode="auto">
          <a:xfrm flipV="1">
            <a:off x="2566589" y="2454830"/>
            <a:ext cx="6917134" cy="130642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6" name="Oval 205">
            <a:extLst>
              <a:ext uri="{FF2B5EF4-FFF2-40B4-BE49-F238E27FC236}">
                <a16:creationId xmlns:a16="http://schemas.microsoft.com/office/drawing/2014/main" id="{D73C17D9-61F8-44C1-8654-4DD663478F34}"/>
              </a:ext>
            </a:extLst>
          </p:cNvPr>
          <p:cNvSpPr/>
          <p:nvPr/>
        </p:nvSpPr>
        <p:spPr bwMode="auto">
          <a:xfrm>
            <a:off x="4031623" y="1564069"/>
            <a:ext cx="4155366" cy="4109998"/>
          </a:xfrm>
          <a:prstGeom prst="ellipse">
            <a:avLst/>
          </a:prstGeom>
          <a:ln>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8" b="1" kern="1200" dirty="0">
              <a:solidFill>
                <a:srgbClr val="4D4D4F"/>
              </a:solidFill>
              <a:latin typeface="+mj-lt"/>
            </a:endParaRPr>
          </a:p>
          <a:p>
            <a:pPr algn="ctr" defTabSz="914126" fontAlgn="base">
              <a:lnSpc>
                <a:spcPct val="80000"/>
              </a:lnSpc>
              <a:spcBef>
                <a:spcPts val="1200"/>
              </a:spcBef>
              <a:buClr>
                <a:srgbClr val="FF0000"/>
              </a:buClr>
              <a:buSzPct val="115000"/>
              <a:defRPr/>
            </a:pPr>
            <a:endParaRPr lang="en-US" sz="2398" kern="1200" dirty="0">
              <a:solidFill>
                <a:srgbClr val="4D4D4F"/>
              </a:solidFill>
              <a:latin typeface="+mj-lt"/>
            </a:endParaRPr>
          </a:p>
          <a:p>
            <a:pPr algn="ctr" defTabSz="914126" fontAlgn="base">
              <a:lnSpc>
                <a:spcPct val="80000"/>
              </a:lnSpc>
              <a:spcBef>
                <a:spcPts val="1200"/>
              </a:spcBef>
              <a:buClr>
                <a:srgbClr val="FF0000"/>
              </a:buClr>
              <a:buSzPct val="115000"/>
              <a:defRPr/>
            </a:pPr>
            <a:endParaRPr lang="en-US" sz="2398" kern="1200" dirty="0">
              <a:solidFill>
                <a:srgbClr val="4D4D4F"/>
              </a:solidFill>
              <a:latin typeface="+mj-lt"/>
            </a:endParaRPr>
          </a:p>
          <a:p>
            <a:pPr algn="ctr" defTabSz="914126" fontAlgn="base">
              <a:lnSpc>
                <a:spcPct val="80000"/>
              </a:lnSpc>
              <a:spcBef>
                <a:spcPts val="1200"/>
              </a:spcBef>
              <a:buClr>
                <a:srgbClr val="FF0000"/>
              </a:buClr>
              <a:buSzPct val="115000"/>
              <a:defRPr/>
            </a:pPr>
            <a:endParaRPr lang="en-US" sz="2398" kern="1200" dirty="0">
              <a:solidFill>
                <a:srgbClr val="4D4D4F"/>
              </a:solidFill>
              <a:latin typeface="+mj-lt"/>
            </a:endParaRPr>
          </a:p>
          <a:p>
            <a:pPr algn="ctr" defTabSz="914126" fontAlgn="base">
              <a:lnSpc>
                <a:spcPct val="80000"/>
              </a:lnSpc>
              <a:spcBef>
                <a:spcPts val="1200"/>
              </a:spcBef>
              <a:buClr>
                <a:srgbClr val="FF0000"/>
              </a:buClr>
              <a:buSzPct val="115000"/>
              <a:defRPr/>
            </a:pPr>
            <a:endParaRPr lang="en-US" sz="2398" kern="1200" dirty="0">
              <a:solidFill>
                <a:srgbClr val="4D4D4F"/>
              </a:solidFill>
              <a:latin typeface="+mj-lt"/>
            </a:endParaRPr>
          </a:p>
          <a:p>
            <a:pPr marL="342694" indent="-342694" defTabSz="914126" fontAlgn="base">
              <a:lnSpc>
                <a:spcPct val="80000"/>
              </a:lnSpc>
              <a:spcBef>
                <a:spcPts val="1200"/>
              </a:spcBef>
              <a:buClr>
                <a:srgbClr val="FF0000"/>
              </a:buClr>
              <a:buSzPct val="115000"/>
              <a:buFont typeface="Arial" panose="020B0604020202020204" pitchFamily="34" charset="0"/>
              <a:buChar char="•"/>
              <a:defRPr/>
            </a:pPr>
            <a:endParaRPr lang="en-US" kern="1200" dirty="0">
              <a:solidFill>
                <a:srgbClr val="4D4D4F"/>
              </a:solidFill>
              <a:latin typeface="+mj-lt"/>
            </a:endParaRPr>
          </a:p>
        </p:txBody>
      </p:sp>
      <p:pic>
        <p:nvPicPr>
          <p:cNvPr id="207" name="Picture 206">
            <a:extLst>
              <a:ext uri="{FF2B5EF4-FFF2-40B4-BE49-F238E27FC236}">
                <a16:creationId xmlns:a16="http://schemas.microsoft.com/office/drawing/2014/main" id="{A2C4CEC2-2134-4842-9F19-38D612008E8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47904" y="4379239"/>
            <a:ext cx="1072090" cy="221812"/>
          </a:xfrm>
          <a:prstGeom prst="rect">
            <a:avLst/>
          </a:prstGeom>
        </p:spPr>
      </p:pic>
      <p:pic>
        <p:nvPicPr>
          <p:cNvPr id="208" name="Picture 20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902457" y="4878416"/>
            <a:ext cx="510500" cy="257292"/>
          </a:xfrm>
          <a:prstGeom prst="rect">
            <a:avLst/>
          </a:prstGeom>
        </p:spPr>
      </p:pic>
      <p:pic>
        <p:nvPicPr>
          <p:cNvPr id="209" name="Picture 208"/>
          <p:cNvPicPr>
            <a:picLocks noChangeAspect="1"/>
          </p:cNvPicPr>
          <p:nvPr/>
        </p:nvPicPr>
        <p:blipFill>
          <a:blip r:embed="rId9"/>
          <a:stretch>
            <a:fillRect/>
          </a:stretch>
        </p:blipFill>
        <p:spPr>
          <a:xfrm>
            <a:off x="4604739" y="4771575"/>
            <a:ext cx="750900" cy="119349"/>
          </a:xfrm>
          <a:prstGeom prst="rect">
            <a:avLst/>
          </a:prstGeom>
        </p:spPr>
      </p:pic>
      <p:pic>
        <p:nvPicPr>
          <p:cNvPr id="210" name="Picture 209"/>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512386" y="4382428"/>
            <a:ext cx="601230" cy="189837"/>
          </a:xfrm>
          <a:prstGeom prst="rect">
            <a:avLst/>
          </a:prstGeom>
        </p:spPr>
      </p:pic>
      <p:pic>
        <p:nvPicPr>
          <p:cNvPr id="211" name="Picture 2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31017" y="5113921"/>
            <a:ext cx="745510" cy="418882"/>
          </a:xfrm>
          <a:prstGeom prst="rect">
            <a:avLst/>
          </a:prstGeom>
        </p:spPr>
      </p:pic>
      <p:pic>
        <p:nvPicPr>
          <p:cNvPr id="212" name="Picture 2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454709" y="3763660"/>
            <a:ext cx="595266" cy="398157"/>
          </a:xfrm>
          <a:prstGeom prst="rect">
            <a:avLst/>
          </a:prstGeom>
        </p:spPr>
      </p:pic>
      <p:pic>
        <p:nvPicPr>
          <p:cNvPr id="213" name="Picture 2" descr="תוצאת תמונה עבור ‪mcafee logo png‬‏">
            <a:extLst>
              <a:ext uri="{FF2B5EF4-FFF2-40B4-BE49-F238E27FC236}">
                <a16:creationId xmlns:a16="http://schemas.microsoft.com/office/drawing/2014/main" id="{62776B29-ECFE-40CC-B0EB-1B366738A93F}"/>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035592" y="3845627"/>
            <a:ext cx="868963" cy="213765"/>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6" descr="https://wiki.checkpoint.com/confluence/download/attachments/149818076/CP_horiz_color_logo.png?version=1&amp;modificationDate=1445539495000&amp;api=v2"/>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382949" y="3399441"/>
            <a:ext cx="860102" cy="147830"/>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15"/>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5406594" y="4513377"/>
            <a:ext cx="821571" cy="191848"/>
          </a:xfrm>
          <a:prstGeom prst="rect">
            <a:avLst/>
          </a:prstGeom>
        </p:spPr>
      </p:pic>
      <p:pic>
        <p:nvPicPr>
          <p:cNvPr id="217" name="Picture 21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29044" y="4079551"/>
            <a:ext cx="469568" cy="158596"/>
          </a:xfrm>
          <a:prstGeom prst="rect">
            <a:avLst/>
          </a:prstGeom>
        </p:spPr>
      </p:pic>
      <p:pic>
        <p:nvPicPr>
          <p:cNvPr id="218" name="Picture 34" descr="File:Lookout (IT security) logo.png - Wikipedia">
            <a:extLst>
              <a:ext uri="{FF2B5EF4-FFF2-40B4-BE49-F238E27FC236}">
                <a16:creationId xmlns:a16="http://schemas.microsoft.com/office/drawing/2014/main" id="{23AAA54F-777E-407B-A2D6-37DEDD7BCBC7}"/>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l="12016" t="38319" r="14031" b="39514"/>
          <a:stretch/>
        </p:blipFill>
        <p:spPr bwMode="auto">
          <a:xfrm>
            <a:off x="5325578" y="3505256"/>
            <a:ext cx="1097050" cy="253720"/>
          </a:xfrm>
          <a:prstGeom prst="rect">
            <a:avLst/>
          </a:prstGeom>
          <a:noFill/>
          <a:extLst>
            <a:ext uri="{909E8E84-426E-40DD-AFC4-6F175D3DCCD1}">
              <a14:hiddenFill xmlns:a14="http://schemas.microsoft.com/office/drawing/2010/main">
                <a:solidFill>
                  <a:srgbClr val="FFFFFF"/>
                </a:solidFill>
              </a14:hiddenFill>
            </a:ext>
          </a:extLst>
        </p:spPr>
      </p:pic>
      <p:pic>
        <p:nvPicPr>
          <p:cNvPr id="219" name="Picture 218"/>
          <p:cNvPicPr>
            <a:picLocks noChangeAspect="1"/>
          </p:cNvPicPr>
          <p:nvPr/>
        </p:nvPicPr>
        <p:blipFill>
          <a:blip r:embed="rId18"/>
          <a:stretch>
            <a:fillRect/>
          </a:stretch>
        </p:blipFill>
        <p:spPr>
          <a:xfrm>
            <a:off x="6027988" y="4726711"/>
            <a:ext cx="746196" cy="138367"/>
          </a:xfrm>
          <a:prstGeom prst="rect">
            <a:avLst/>
          </a:prstGeom>
        </p:spPr>
      </p:pic>
      <p:pic>
        <p:nvPicPr>
          <p:cNvPr id="220" name="Picture 219"/>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422629" y="3730260"/>
            <a:ext cx="758857" cy="162390"/>
          </a:xfrm>
          <a:prstGeom prst="rect">
            <a:avLst/>
          </a:prstGeom>
        </p:spPr>
      </p:pic>
      <p:pic>
        <p:nvPicPr>
          <p:cNvPr id="221" name="Picture 4" descr="קובץ:Fortinet logo.svg – ויקיפדיה"/>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282302" y="5312389"/>
            <a:ext cx="807791" cy="97819"/>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221"/>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805072" y="4045086"/>
            <a:ext cx="1065517" cy="142069"/>
          </a:xfrm>
          <a:prstGeom prst="rect">
            <a:avLst/>
          </a:prstGeom>
        </p:spPr>
      </p:pic>
      <p:pic>
        <p:nvPicPr>
          <p:cNvPr id="223" name="Picture 222"/>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048362" y="3424634"/>
            <a:ext cx="776637" cy="158146"/>
          </a:xfrm>
          <a:prstGeom prst="rect">
            <a:avLst/>
          </a:prstGeom>
        </p:spPr>
      </p:pic>
      <p:pic>
        <p:nvPicPr>
          <p:cNvPr id="224" name="Picture 223"/>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216140" y="4280064"/>
            <a:ext cx="903462" cy="164890"/>
          </a:xfrm>
          <a:prstGeom prst="rect">
            <a:avLst/>
          </a:prstGeom>
        </p:spPr>
      </p:pic>
      <p:pic>
        <p:nvPicPr>
          <p:cNvPr id="225" name="Picture 10" descr="Brand - Palo Alto Networks"/>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5252971" y="4881131"/>
            <a:ext cx="1202774" cy="437372"/>
          </a:xfrm>
          <a:prstGeom prst="rect">
            <a:avLst/>
          </a:prstGeom>
          <a:noFill/>
          <a:extLst>
            <a:ext uri="{909E8E84-426E-40DD-AFC4-6F175D3DCCD1}">
              <a14:hiddenFill xmlns:a14="http://schemas.microsoft.com/office/drawing/2010/main">
                <a:solidFill>
                  <a:srgbClr val="FFFFFF"/>
                </a:solidFill>
              </a14:hiddenFill>
            </a:ext>
          </a:extLst>
        </p:spPr>
      </p:pic>
      <p:sp>
        <p:nvSpPr>
          <p:cNvPr id="226" name="Freeform: Shape 206">
            <a:extLst>
              <a:ext uri="{FF2B5EF4-FFF2-40B4-BE49-F238E27FC236}">
                <a16:creationId xmlns:a16="http://schemas.microsoft.com/office/drawing/2014/main" id="{7575308D-1AB7-475D-B5EE-3560CAE507D2}"/>
              </a:ext>
            </a:extLst>
          </p:cNvPr>
          <p:cNvSpPr/>
          <p:nvPr/>
        </p:nvSpPr>
        <p:spPr bwMode="auto">
          <a:xfrm>
            <a:off x="4048713" y="2283173"/>
            <a:ext cx="4113313" cy="984989"/>
          </a:xfrm>
          <a:custGeom>
            <a:avLst/>
            <a:gdLst>
              <a:gd name="connsiteX0" fmla="*/ 417255 w 4114384"/>
              <a:gd name="connsiteY0" fmla="*/ 0 h 985246"/>
              <a:gd name="connsiteX1" fmla="*/ 3697129 w 4114384"/>
              <a:gd name="connsiteY1" fmla="*/ 0 h 985246"/>
              <a:gd name="connsiteX2" fmla="*/ 3780039 w 4114384"/>
              <a:gd name="connsiteY2" fmla="*/ 109664 h 985246"/>
              <a:gd name="connsiteX3" fmla="*/ 4092664 w 4114384"/>
              <a:gd name="connsiteY3" fmla="*/ 844480 h 985246"/>
              <a:gd name="connsiteX4" fmla="*/ 4114384 w 4114384"/>
              <a:gd name="connsiteY4" fmla="*/ 985246 h 985246"/>
              <a:gd name="connsiteX5" fmla="*/ 0 w 4114384"/>
              <a:gd name="connsiteY5" fmla="*/ 985246 h 985246"/>
              <a:gd name="connsiteX6" fmla="*/ 21720 w 4114384"/>
              <a:gd name="connsiteY6" fmla="*/ 844480 h 985246"/>
              <a:gd name="connsiteX7" fmla="*/ 334345 w 4114384"/>
              <a:gd name="connsiteY7" fmla="*/ 109664 h 98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84" h="985246">
                <a:moveTo>
                  <a:pt x="417255" y="0"/>
                </a:moveTo>
                <a:lnTo>
                  <a:pt x="3697129" y="0"/>
                </a:lnTo>
                <a:lnTo>
                  <a:pt x="3780039" y="109664"/>
                </a:lnTo>
                <a:cubicBezTo>
                  <a:pt x="3929389" y="328318"/>
                  <a:pt x="4037311" y="576929"/>
                  <a:pt x="4092664" y="844480"/>
                </a:cubicBezTo>
                <a:lnTo>
                  <a:pt x="4114384" y="985246"/>
                </a:lnTo>
                <a:lnTo>
                  <a:pt x="0" y="985246"/>
                </a:lnTo>
                <a:lnTo>
                  <a:pt x="21720" y="844480"/>
                </a:lnTo>
                <a:cubicBezTo>
                  <a:pt x="77074" y="576929"/>
                  <a:pt x="184995" y="328318"/>
                  <a:pt x="334345" y="109664"/>
                </a:cubicBezTo>
                <a:close/>
              </a:path>
            </a:pathLst>
          </a:custGeom>
          <a:solidFill>
            <a:schemeClr val="tx2"/>
          </a:solid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852">
              <a:lnSpc>
                <a:spcPct val="80000"/>
              </a:lnSpc>
              <a:spcBef>
                <a:spcPts val="1200"/>
              </a:spcBef>
              <a:buClr>
                <a:srgbClr val="FF0000"/>
              </a:buClr>
              <a:buSzPct val="115000"/>
              <a:defRPr/>
            </a:pPr>
            <a:r>
              <a:rPr lang="en-US" sz="2799" b="1" kern="1200" dirty="0">
                <a:solidFill>
                  <a:srgbClr val="FFFFFF"/>
                </a:solidFill>
                <a:latin typeface="+mj-lt"/>
              </a:rPr>
              <a:t>TOO MANY </a:t>
            </a:r>
            <a:br>
              <a:rPr lang="en-US" sz="2799" b="1" kern="1200" dirty="0">
                <a:solidFill>
                  <a:srgbClr val="FFFFFF"/>
                </a:solidFill>
                <a:latin typeface="+mj-lt"/>
              </a:rPr>
            </a:br>
            <a:r>
              <a:rPr lang="en-US" sz="2799" b="1" kern="1200" dirty="0">
                <a:solidFill>
                  <a:srgbClr val="FFFFFF"/>
                </a:solidFill>
                <a:latin typeface="+mj-lt"/>
              </a:rPr>
              <a:t>SOLUTIONS…</a:t>
            </a:r>
            <a:endParaRPr lang="en-US" sz="2397" b="1" kern="1200" dirty="0">
              <a:solidFill>
                <a:srgbClr val="4D4D4F"/>
              </a:solidFill>
              <a:latin typeface="+mj-lt"/>
            </a:endParaRPr>
          </a:p>
        </p:txBody>
      </p:sp>
    </p:spTree>
    <p:extLst>
      <p:ext uri="{BB962C8B-B14F-4D97-AF65-F5344CB8AC3E}">
        <p14:creationId xmlns:p14="http://schemas.microsoft.com/office/powerpoint/2010/main" val="25093323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 name="Picture 179">
            <a:extLst>
              <a:ext uri="{FF2B5EF4-FFF2-40B4-BE49-F238E27FC236}">
                <a16:creationId xmlns:a16="http://schemas.microsoft.com/office/drawing/2014/main" id="{55263C21-22F7-49D9-A6C8-7436EEFED7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5871" y="4677686"/>
            <a:ext cx="1547194" cy="1547194"/>
          </a:xfrm>
          <a:prstGeom prst="ellipse">
            <a:avLst/>
          </a:prstGeom>
          <a:effectLst>
            <a:outerShdw blurRad="50800" dist="38100" dir="2700000" algn="tl" rotWithShape="0">
              <a:prstClr val="black">
                <a:alpha val="40000"/>
              </a:prstClr>
            </a:outerShdw>
          </a:effectLst>
        </p:spPr>
      </p:pic>
      <p:pic>
        <p:nvPicPr>
          <p:cNvPr id="181" name="Picture 180">
            <a:extLst>
              <a:ext uri="{FF2B5EF4-FFF2-40B4-BE49-F238E27FC236}">
                <a16:creationId xmlns:a16="http://schemas.microsoft.com/office/drawing/2014/main" id="{9E402B4C-E315-4499-B20A-C63632C46E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453745" y="1183826"/>
            <a:ext cx="1547194" cy="1547194"/>
          </a:xfrm>
          <a:prstGeom prst="ellipse">
            <a:avLst/>
          </a:prstGeom>
          <a:effectLst>
            <a:outerShdw blurRad="50800" dist="38100" dir="2700000" algn="tl" rotWithShape="0">
              <a:prstClr val="black">
                <a:alpha val="40000"/>
              </a:prstClr>
            </a:outerShdw>
          </a:effectLst>
        </p:spPr>
      </p:pic>
      <p:pic>
        <p:nvPicPr>
          <p:cNvPr id="182" name="Picture 181">
            <a:extLst>
              <a:ext uri="{FF2B5EF4-FFF2-40B4-BE49-F238E27FC236}">
                <a16:creationId xmlns:a16="http://schemas.microsoft.com/office/drawing/2014/main" id="{FC6B787D-C7FF-4005-BEA8-D595F37492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464736" y="2950265"/>
            <a:ext cx="1547194" cy="1547194"/>
          </a:xfrm>
          <a:prstGeom prst="ellipse">
            <a:avLst/>
          </a:prstGeom>
          <a:effectLst>
            <a:outerShdw blurRad="50800" dist="38100" dir="2700000" algn="tl" rotWithShape="0">
              <a:prstClr val="black">
                <a:alpha val="40000"/>
              </a:prstClr>
            </a:outerShdw>
          </a:effectLst>
        </p:spPr>
      </p:pic>
      <p:sp>
        <p:nvSpPr>
          <p:cNvPr id="24" name="Title 1">
            <a:extLst>
              <a:ext uri="{FF2B5EF4-FFF2-40B4-BE49-F238E27FC236}">
                <a16:creationId xmlns:a16="http://schemas.microsoft.com/office/drawing/2014/main" id="{D1436F6B-6078-47C2-96EF-122E14779BCF}"/>
              </a:ext>
            </a:extLst>
          </p:cNvPr>
          <p:cNvSpPr>
            <a:spLocks noGrp="1"/>
          </p:cNvSpPr>
          <p:nvPr>
            <p:ph type="title"/>
          </p:nvPr>
        </p:nvSpPr>
        <p:spPr>
          <a:xfrm>
            <a:off x="513263" y="253308"/>
            <a:ext cx="11209619" cy="711127"/>
          </a:xfrm>
        </p:spPr>
        <p:txBody>
          <a:bodyPr/>
          <a:lstStyle/>
          <a:p>
            <a:pPr algn="ctr"/>
            <a:r>
              <a:rPr lang="en-GB" sz="3200" b="1" dirty="0"/>
              <a:t>CHECK POINT HARMONY </a:t>
            </a:r>
            <a:br>
              <a:rPr lang="en-GB" sz="3200" b="1" dirty="0">
                <a:solidFill>
                  <a:schemeClr val="tx1"/>
                </a:solidFill>
              </a:rPr>
            </a:br>
            <a:r>
              <a:rPr lang="en-GB" sz="3200" b="1" dirty="0">
                <a:solidFill>
                  <a:srgbClr val="700046"/>
                </a:solidFill>
              </a:rPr>
              <a:t>UNIFIED SECURITY FOR USERS &amp; ACCESS</a:t>
            </a:r>
          </a:p>
        </p:txBody>
      </p:sp>
      <p:sp>
        <p:nvSpPr>
          <p:cNvPr id="4" name="Date Placeholder 3" hidden="1"/>
          <p:cNvSpPr>
            <a:spLocks noGrp="1"/>
          </p:cNvSpPr>
          <p:nvPr>
            <p:ph type="dt" sz="half" idx="12"/>
          </p:nvPr>
        </p:nvSpPr>
        <p:spPr/>
        <p:txBody>
          <a:bodyPr/>
          <a:lstStyle/>
          <a:p>
            <a:pPr defTabSz="913852">
              <a:buClr>
                <a:srgbClr val="FF0000"/>
              </a:buClr>
              <a:defRPr/>
            </a:pPr>
            <a:endParaRPr lang="en-US" dirty="0">
              <a:solidFill>
                <a:srgbClr val="4D4D4F">
                  <a:tint val="75000"/>
                </a:srgbClr>
              </a:solidFill>
            </a:endParaRPr>
          </a:p>
        </p:txBody>
      </p:sp>
      <p:cxnSp>
        <p:nvCxnSpPr>
          <p:cNvPr id="159" name="Straight Connector 158">
            <a:extLst>
              <a:ext uri="{FF2B5EF4-FFF2-40B4-BE49-F238E27FC236}">
                <a16:creationId xmlns:a16="http://schemas.microsoft.com/office/drawing/2014/main" id="{49C77106-0681-4493-B740-947CE0C5906F}"/>
              </a:ext>
            </a:extLst>
          </p:cNvPr>
          <p:cNvCxnSpPr>
            <a:cxnSpLocks/>
          </p:cNvCxnSpPr>
          <p:nvPr/>
        </p:nvCxnSpPr>
        <p:spPr bwMode="auto">
          <a:xfrm flipV="1">
            <a:off x="1978991" y="4526831"/>
            <a:ext cx="2824452" cy="1097055"/>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Freeform: Shape 188">
            <a:extLst>
              <a:ext uri="{FF2B5EF4-FFF2-40B4-BE49-F238E27FC236}">
                <a16:creationId xmlns:a16="http://schemas.microsoft.com/office/drawing/2014/main" id="{D2E135FE-F1A0-4739-9F61-2EA63A70073A}"/>
              </a:ext>
            </a:extLst>
          </p:cNvPr>
          <p:cNvSpPr/>
          <p:nvPr/>
        </p:nvSpPr>
        <p:spPr bwMode="auto">
          <a:xfrm>
            <a:off x="508959" y="3953158"/>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n the go</a:t>
            </a:r>
            <a:endParaRPr lang="en-US" sz="1798" kern="1200" cap="all" dirty="0" err="1">
              <a:solidFill>
                <a:srgbClr val="FFFFFF"/>
              </a:solidFill>
              <a:latin typeface="+mj-lt"/>
              <a:ea typeface="+mn-ea"/>
              <a:cs typeface="Calibri" panose="020F0502020204030204" pitchFamily="34" charset="0"/>
            </a:endParaRPr>
          </a:p>
        </p:txBody>
      </p:sp>
      <p:sp>
        <p:nvSpPr>
          <p:cNvPr id="190" name="Freeform: Shape 189">
            <a:extLst>
              <a:ext uri="{FF2B5EF4-FFF2-40B4-BE49-F238E27FC236}">
                <a16:creationId xmlns:a16="http://schemas.microsoft.com/office/drawing/2014/main" id="{9919FF86-D354-4440-978F-35C22319D039}"/>
              </a:ext>
            </a:extLst>
          </p:cNvPr>
          <p:cNvSpPr/>
          <p:nvPr/>
        </p:nvSpPr>
        <p:spPr bwMode="auto">
          <a:xfrm>
            <a:off x="485040" y="5638759"/>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office</a:t>
            </a:r>
            <a:endParaRPr lang="en-US" sz="1798" kern="1200" cap="all" dirty="0" err="1">
              <a:solidFill>
                <a:srgbClr val="FFFFFF"/>
              </a:solidFill>
              <a:latin typeface="+mj-lt"/>
              <a:ea typeface="+mn-ea"/>
              <a:cs typeface="Calibri" panose="020F0502020204030204" pitchFamily="34" charset="0"/>
            </a:endParaRPr>
          </a:p>
        </p:txBody>
      </p:sp>
      <p:sp>
        <p:nvSpPr>
          <p:cNvPr id="191" name="Freeform: Shape 190">
            <a:extLst>
              <a:ext uri="{FF2B5EF4-FFF2-40B4-BE49-F238E27FC236}">
                <a16:creationId xmlns:a16="http://schemas.microsoft.com/office/drawing/2014/main" id="{139F2F1D-4E11-4901-9220-1040592FC644}"/>
              </a:ext>
            </a:extLst>
          </p:cNvPr>
          <p:cNvSpPr/>
          <p:nvPr/>
        </p:nvSpPr>
        <p:spPr bwMode="auto">
          <a:xfrm>
            <a:off x="476019" y="2130586"/>
            <a:ext cx="1502972" cy="359812"/>
          </a:xfrm>
          <a:custGeom>
            <a:avLst/>
            <a:gdLst>
              <a:gd name="connsiteX0" fmla="*/ 0 w 1503756"/>
              <a:gd name="connsiteY0" fmla="*/ 0 h 360000"/>
              <a:gd name="connsiteX1" fmla="*/ 1503756 w 1503756"/>
              <a:gd name="connsiteY1" fmla="*/ 0 h 360000"/>
              <a:gd name="connsiteX2" fmla="*/ 1465053 w 1503756"/>
              <a:gd name="connsiteY2" fmla="*/ 124681 h 360000"/>
              <a:gd name="connsiteX3" fmla="*/ 1393691 w 1503756"/>
              <a:gd name="connsiteY3" fmla="*/ 256156 h 360000"/>
              <a:gd name="connsiteX4" fmla="*/ 1308011 w 1503756"/>
              <a:gd name="connsiteY4" fmla="*/ 360000 h 360000"/>
              <a:gd name="connsiteX5" fmla="*/ 195745 w 1503756"/>
              <a:gd name="connsiteY5" fmla="*/ 360000 h 360000"/>
              <a:gd name="connsiteX6" fmla="*/ 110065 w 1503756"/>
              <a:gd name="connsiteY6" fmla="*/ 256156 h 360000"/>
              <a:gd name="connsiteX7" fmla="*/ 38703 w 1503756"/>
              <a:gd name="connsiteY7" fmla="*/ 12468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3756" h="360000">
                <a:moveTo>
                  <a:pt x="0" y="0"/>
                </a:moveTo>
                <a:lnTo>
                  <a:pt x="1503756" y="0"/>
                </a:lnTo>
                <a:lnTo>
                  <a:pt x="1465053" y="124681"/>
                </a:lnTo>
                <a:cubicBezTo>
                  <a:pt x="1445470" y="170981"/>
                  <a:pt x="1421510" y="214979"/>
                  <a:pt x="1393691" y="256156"/>
                </a:cubicBezTo>
                <a:lnTo>
                  <a:pt x="1308011" y="360000"/>
                </a:lnTo>
                <a:lnTo>
                  <a:pt x="195745" y="360000"/>
                </a:lnTo>
                <a:lnTo>
                  <a:pt x="110065" y="256156"/>
                </a:lnTo>
                <a:cubicBezTo>
                  <a:pt x="82247" y="214979"/>
                  <a:pt x="58286" y="170981"/>
                  <a:pt x="38703" y="124681"/>
                </a:cubicBezTo>
                <a:close/>
              </a:path>
            </a:pathLst>
          </a:custGeom>
          <a:solidFill>
            <a:srgbClr val="700046"/>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a:lnSpc>
                <a:spcPct val="80000"/>
              </a:lnSpc>
              <a:spcBef>
                <a:spcPts val="1200"/>
              </a:spcBef>
              <a:buClrTx/>
              <a:buSzPct val="115000"/>
              <a:defRPr/>
            </a:pPr>
            <a:r>
              <a:rPr lang="en-GB" sz="1798" kern="1200" cap="all" dirty="0">
                <a:solidFill>
                  <a:srgbClr val="FFFFFF"/>
                </a:solidFill>
                <a:latin typeface="+mj-lt"/>
                <a:ea typeface="+mn-ea"/>
                <a:cs typeface="Calibri" panose="020F0502020204030204" pitchFamily="34" charset="0"/>
              </a:rPr>
              <a:t>Home</a:t>
            </a:r>
            <a:endParaRPr lang="en-US" sz="1798" kern="1200" cap="all" dirty="0" err="1">
              <a:solidFill>
                <a:srgbClr val="FFFFFF"/>
              </a:solidFill>
              <a:latin typeface="+mj-lt"/>
              <a:ea typeface="+mn-ea"/>
              <a:cs typeface="Calibri" panose="020F0502020204030204" pitchFamily="34" charset="0"/>
            </a:endParaRPr>
          </a:p>
        </p:txBody>
      </p:sp>
      <p:cxnSp>
        <p:nvCxnSpPr>
          <p:cNvPr id="322" name="Straight Connector 321">
            <a:extLst>
              <a:ext uri="{FF2B5EF4-FFF2-40B4-BE49-F238E27FC236}">
                <a16:creationId xmlns:a16="http://schemas.microsoft.com/office/drawing/2014/main" id="{250FF296-2BB6-4D2C-8EA9-60752BD6ACC4}"/>
              </a:ext>
            </a:extLst>
          </p:cNvPr>
          <p:cNvCxnSpPr>
            <a:cxnSpLocks/>
            <a:stCxn id="181" idx="2"/>
          </p:cNvCxnSpPr>
          <p:nvPr/>
        </p:nvCxnSpPr>
        <p:spPr bwMode="auto">
          <a:xfrm>
            <a:off x="2000939" y="1957423"/>
            <a:ext cx="2692627" cy="1389218"/>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Straight Connector 323">
            <a:extLst>
              <a:ext uri="{FF2B5EF4-FFF2-40B4-BE49-F238E27FC236}">
                <a16:creationId xmlns:a16="http://schemas.microsoft.com/office/drawing/2014/main" id="{2F22357C-5FB6-4357-9B73-9B840D23772A}"/>
              </a:ext>
            </a:extLst>
          </p:cNvPr>
          <p:cNvCxnSpPr>
            <a:endCxn id="177" idx="6"/>
          </p:cNvCxnSpPr>
          <p:nvPr/>
        </p:nvCxnSpPr>
        <p:spPr bwMode="auto">
          <a:xfrm>
            <a:off x="2185444" y="3855787"/>
            <a:ext cx="2580972" cy="3419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6" name="Straight Connector 185">
            <a:extLst>
              <a:ext uri="{FF2B5EF4-FFF2-40B4-BE49-F238E27FC236}">
                <a16:creationId xmlns:a16="http://schemas.microsoft.com/office/drawing/2014/main" id="{9905ED5B-EC64-4423-B9BB-5BEE9FC4AB2D}"/>
              </a:ext>
            </a:extLst>
          </p:cNvPr>
          <p:cNvCxnSpPr>
            <a:cxnSpLocks/>
            <a:endCxn id="268" idx="1"/>
          </p:cNvCxnSpPr>
          <p:nvPr/>
        </p:nvCxnSpPr>
        <p:spPr bwMode="auto">
          <a:xfrm>
            <a:off x="6975142" y="4408089"/>
            <a:ext cx="2606683" cy="143607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4" name="Straight Connector 333">
            <a:extLst>
              <a:ext uri="{FF2B5EF4-FFF2-40B4-BE49-F238E27FC236}">
                <a16:creationId xmlns:a16="http://schemas.microsoft.com/office/drawing/2014/main" id="{771746C0-1058-485F-85FA-D75D1AB93810}"/>
              </a:ext>
            </a:extLst>
          </p:cNvPr>
          <p:cNvCxnSpPr>
            <a:cxnSpLocks/>
            <a:stCxn id="176" idx="7"/>
            <a:endCxn id="304" idx="1"/>
          </p:cNvCxnSpPr>
          <p:nvPr/>
        </p:nvCxnSpPr>
        <p:spPr bwMode="auto">
          <a:xfrm>
            <a:off x="7133050" y="4198766"/>
            <a:ext cx="2448775" cy="819269"/>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5" name="Straight Connector 334">
            <a:extLst>
              <a:ext uri="{FF2B5EF4-FFF2-40B4-BE49-F238E27FC236}">
                <a16:creationId xmlns:a16="http://schemas.microsoft.com/office/drawing/2014/main" id="{738E3F2F-AAB6-4708-9B57-9A61BE6EDAFA}"/>
              </a:ext>
            </a:extLst>
          </p:cNvPr>
          <p:cNvCxnSpPr>
            <a:cxnSpLocks/>
            <a:endCxn id="222" idx="1"/>
          </p:cNvCxnSpPr>
          <p:nvPr/>
        </p:nvCxnSpPr>
        <p:spPr bwMode="auto">
          <a:xfrm>
            <a:off x="7020941" y="3983384"/>
            <a:ext cx="2560885" cy="208529"/>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6" name="Straight Connector 335">
            <a:extLst>
              <a:ext uri="{FF2B5EF4-FFF2-40B4-BE49-F238E27FC236}">
                <a16:creationId xmlns:a16="http://schemas.microsoft.com/office/drawing/2014/main" id="{D6FF49EB-7EDF-4D07-A9AA-FBE8EC148FD2}"/>
              </a:ext>
            </a:extLst>
          </p:cNvPr>
          <p:cNvCxnSpPr>
            <a:cxnSpLocks/>
            <a:endCxn id="311" idx="1"/>
          </p:cNvCxnSpPr>
          <p:nvPr/>
        </p:nvCxnSpPr>
        <p:spPr bwMode="auto">
          <a:xfrm flipV="1">
            <a:off x="7013369" y="3365792"/>
            <a:ext cx="2568457" cy="491851"/>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7" name="Straight Connector 336">
            <a:extLst>
              <a:ext uri="{FF2B5EF4-FFF2-40B4-BE49-F238E27FC236}">
                <a16:creationId xmlns:a16="http://schemas.microsoft.com/office/drawing/2014/main" id="{926944AD-13B5-427B-B35D-C5D7E69222FE}"/>
              </a:ext>
            </a:extLst>
          </p:cNvPr>
          <p:cNvCxnSpPr>
            <a:cxnSpLocks/>
            <a:endCxn id="225" idx="1"/>
          </p:cNvCxnSpPr>
          <p:nvPr/>
        </p:nvCxnSpPr>
        <p:spPr bwMode="auto">
          <a:xfrm flipV="1">
            <a:off x="7013370" y="2539670"/>
            <a:ext cx="2568455" cy="1092777"/>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8" name="Straight Connector 337">
            <a:extLst>
              <a:ext uri="{FF2B5EF4-FFF2-40B4-BE49-F238E27FC236}">
                <a16:creationId xmlns:a16="http://schemas.microsoft.com/office/drawing/2014/main" id="{D8B9BD44-C9A7-4814-9868-D6CA3FBE49B0}"/>
              </a:ext>
            </a:extLst>
          </p:cNvPr>
          <p:cNvCxnSpPr>
            <a:cxnSpLocks/>
            <a:endCxn id="241" idx="1"/>
          </p:cNvCxnSpPr>
          <p:nvPr/>
        </p:nvCxnSpPr>
        <p:spPr bwMode="auto">
          <a:xfrm flipV="1">
            <a:off x="6940645" y="1713548"/>
            <a:ext cx="2641181" cy="1674590"/>
          </a:xfrm>
          <a:prstGeom prst="line">
            <a:avLst/>
          </a:prstGeom>
          <a:solidFill>
            <a:schemeClr val="bg1"/>
          </a:solidFill>
          <a:ln w="9525" cap="rnd" cmpd="sng" algn="ctr">
            <a:solidFill>
              <a:schemeClr val="tx1">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8" name="Group 167">
            <a:extLst>
              <a:ext uri="{FF2B5EF4-FFF2-40B4-BE49-F238E27FC236}">
                <a16:creationId xmlns:a16="http://schemas.microsoft.com/office/drawing/2014/main" id="{5438B3F3-BDD8-4D79-9605-E9BEA2BD2FEE}"/>
              </a:ext>
            </a:extLst>
          </p:cNvPr>
          <p:cNvGrpSpPr/>
          <p:nvPr/>
        </p:nvGrpSpPr>
        <p:grpSpPr>
          <a:xfrm>
            <a:off x="4766414" y="2691844"/>
            <a:ext cx="2403561" cy="2387930"/>
            <a:chOff x="6468325" y="1561966"/>
            <a:chExt cx="4376534" cy="4394093"/>
          </a:xfrm>
        </p:grpSpPr>
        <p:grpSp>
          <p:nvGrpSpPr>
            <p:cNvPr id="170" name="Group 169">
              <a:extLst>
                <a:ext uri="{FF2B5EF4-FFF2-40B4-BE49-F238E27FC236}">
                  <a16:creationId xmlns:a16="http://schemas.microsoft.com/office/drawing/2014/main" id="{C5694139-8293-4326-A1A0-E1C73F056965}"/>
                </a:ext>
              </a:extLst>
            </p:cNvPr>
            <p:cNvGrpSpPr/>
            <p:nvPr/>
          </p:nvGrpSpPr>
          <p:grpSpPr>
            <a:xfrm>
              <a:off x="6468325" y="1561966"/>
              <a:ext cx="4376534" cy="4394093"/>
              <a:chOff x="6468422" y="1561478"/>
              <a:chExt cx="4377674" cy="4395238"/>
            </a:xfrm>
          </p:grpSpPr>
          <p:sp>
            <p:nvSpPr>
              <p:cNvPr id="173" name="Freeform: Shape 172">
                <a:extLst>
                  <a:ext uri="{FF2B5EF4-FFF2-40B4-BE49-F238E27FC236}">
                    <a16:creationId xmlns:a16="http://schemas.microsoft.com/office/drawing/2014/main" id="{BE9D0195-9501-4071-845E-9E49CFB394A9}"/>
                  </a:ext>
                </a:extLst>
              </p:cNvPr>
              <p:cNvSpPr/>
              <p:nvPr/>
            </p:nvSpPr>
            <p:spPr>
              <a:xfrm>
                <a:off x="8467149" y="1561478"/>
                <a:ext cx="1968650" cy="3015564"/>
              </a:xfrm>
              <a:custGeom>
                <a:avLst/>
                <a:gdLst>
                  <a:gd name="connsiteX0" fmla="*/ 1349026 w 2194892"/>
                  <a:gd name="connsiteY0" fmla="*/ 1645920 h 3362118"/>
                  <a:gd name="connsiteX1" fmla="*/ 750284 w 2194892"/>
                  <a:gd name="connsiteY1" fmla="*/ 3148870 h 3362118"/>
                  <a:gd name="connsiteX2" fmla="*/ 750284 w 2194892"/>
                  <a:gd name="connsiteY2" fmla="*/ 3148870 h 3362118"/>
                  <a:gd name="connsiteX3" fmla="*/ 0 w 2194892"/>
                  <a:gd name="connsiteY3" fmla="*/ 3320320 h 3362118"/>
                  <a:gd name="connsiteX4" fmla="*/ 0 w 2194892"/>
                  <a:gd name="connsiteY4" fmla="*/ 3320320 h 3362118"/>
                  <a:gd name="connsiteX5" fmla="*/ 1548384 w 2194892"/>
                  <a:gd name="connsiteY5" fmla="*/ 2851499 h 3362118"/>
                  <a:gd name="connsiteX6" fmla="*/ 2183130 w 2194892"/>
                  <a:gd name="connsiteY6" fmla="*/ 1007174 h 3362118"/>
                  <a:gd name="connsiteX7" fmla="*/ 2183130 w 2194892"/>
                  <a:gd name="connsiteY7" fmla="*/ 1007174 h 3362118"/>
                  <a:gd name="connsiteX8" fmla="*/ 303086 w 2194892"/>
                  <a:gd name="connsiteY8" fmla="*/ 0 h 3362118"/>
                  <a:gd name="connsiteX9" fmla="*/ 1349026 w 2194892"/>
                  <a:gd name="connsiteY9" fmla="*/ 1645920 h 336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4892" h="3362118">
                    <a:moveTo>
                      <a:pt x="1349026" y="1645920"/>
                    </a:moveTo>
                    <a:cubicBezTo>
                      <a:pt x="1487901" y="2623280"/>
                      <a:pt x="750284" y="3148870"/>
                      <a:pt x="750284" y="3148870"/>
                    </a:cubicBezTo>
                    <a:lnTo>
                      <a:pt x="750284" y="3148870"/>
                    </a:lnTo>
                    <a:cubicBezTo>
                      <a:pt x="539325" y="3317253"/>
                      <a:pt x="263157" y="3380356"/>
                      <a:pt x="0" y="3320320"/>
                    </a:cubicBezTo>
                    <a:lnTo>
                      <a:pt x="0" y="3320320"/>
                    </a:lnTo>
                    <a:cubicBezTo>
                      <a:pt x="0" y="3320320"/>
                      <a:pt x="870776" y="3569399"/>
                      <a:pt x="1548384" y="2851499"/>
                    </a:cubicBezTo>
                    <a:cubicBezTo>
                      <a:pt x="2334863" y="2018062"/>
                      <a:pt x="2183130" y="1007174"/>
                      <a:pt x="2183130" y="1007174"/>
                    </a:cubicBezTo>
                    <a:lnTo>
                      <a:pt x="2183130" y="1007174"/>
                    </a:lnTo>
                    <a:cubicBezTo>
                      <a:pt x="1742685" y="402477"/>
                      <a:pt x="1050512" y="31664"/>
                      <a:pt x="303086" y="0"/>
                    </a:cubicBezTo>
                    <a:cubicBezTo>
                      <a:pt x="311944" y="5144"/>
                      <a:pt x="1188720" y="517303"/>
                      <a:pt x="1349026" y="1645920"/>
                    </a:cubicBezTo>
                    <a:close/>
                  </a:path>
                </a:pathLst>
              </a:custGeom>
              <a:solidFill>
                <a:srgbClr val="700046"/>
              </a:solidFill>
              <a:ln w="9525" cap="flat">
                <a:noFill/>
                <a:prstDash val="solid"/>
                <a:miter/>
              </a:ln>
              <a:effectLst>
                <a:outerShdw blurRad="50800" dist="38100" dir="8100000" algn="tr"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4" name="Freeform: Shape 173">
                <a:extLst>
                  <a:ext uri="{FF2B5EF4-FFF2-40B4-BE49-F238E27FC236}">
                    <a16:creationId xmlns:a16="http://schemas.microsoft.com/office/drawing/2014/main" id="{296E6A35-7234-4A40-814C-3C32808C95EB}"/>
                  </a:ext>
                </a:extLst>
              </p:cNvPr>
              <p:cNvSpPr/>
              <p:nvPr/>
            </p:nvSpPr>
            <p:spPr>
              <a:xfrm>
                <a:off x="7002040" y="1565371"/>
                <a:ext cx="2711333" cy="2826347"/>
              </a:xfrm>
              <a:custGeom>
                <a:avLst/>
                <a:gdLst>
                  <a:gd name="connsiteX0" fmla="*/ 1939385 w 3022925"/>
                  <a:gd name="connsiteY0" fmla="*/ 1052609 h 3151157"/>
                  <a:gd name="connsiteX1" fmla="*/ 2740628 w 3022925"/>
                  <a:gd name="connsiteY1" fmla="*/ 2457928 h 3151157"/>
                  <a:gd name="connsiteX2" fmla="*/ 2406682 w 3022925"/>
                  <a:gd name="connsiteY2" fmla="*/ 3151157 h 3151157"/>
                  <a:gd name="connsiteX3" fmla="*/ 2406682 w 3022925"/>
                  <a:gd name="connsiteY3" fmla="*/ 3151157 h 3151157"/>
                  <a:gd name="connsiteX4" fmla="*/ 3005519 w 3022925"/>
                  <a:gd name="connsiteY4" fmla="*/ 1648303 h 3151157"/>
                  <a:gd name="connsiteX5" fmla="*/ 1959578 w 3022925"/>
                  <a:gd name="connsiteY5" fmla="*/ 2383 h 3151157"/>
                  <a:gd name="connsiteX6" fmla="*/ 1853660 w 3022925"/>
                  <a:gd name="connsiteY6" fmla="*/ 1 h 3151157"/>
                  <a:gd name="connsiteX7" fmla="*/ 0 w 3022925"/>
                  <a:gd name="connsiteY7" fmla="*/ 843917 h 3151157"/>
                  <a:gd name="connsiteX8" fmla="*/ 1939385 w 3022925"/>
                  <a:gd name="connsiteY8" fmla="*/ 1052609 h 315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2925" h="3151157">
                    <a:moveTo>
                      <a:pt x="1939385" y="1052609"/>
                    </a:moveTo>
                    <a:cubicBezTo>
                      <a:pt x="2789777" y="1553529"/>
                      <a:pt x="2740628" y="2457928"/>
                      <a:pt x="2740628" y="2457928"/>
                    </a:cubicBezTo>
                    <a:cubicBezTo>
                      <a:pt x="2740838" y="2727838"/>
                      <a:pt x="2617880" y="2983089"/>
                      <a:pt x="2406682" y="3151157"/>
                    </a:cubicBezTo>
                    <a:lnTo>
                      <a:pt x="2406682" y="3151157"/>
                    </a:lnTo>
                    <a:cubicBezTo>
                      <a:pt x="2406682" y="3151157"/>
                      <a:pt x="3144393" y="2625758"/>
                      <a:pt x="3005519" y="1648303"/>
                    </a:cubicBezTo>
                    <a:cubicBezTo>
                      <a:pt x="2845213" y="519686"/>
                      <a:pt x="1968436" y="7526"/>
                      <a:pt x="1959578" y="2383"/>
                    </a:cubicBezTo>
                    <a:cubicBezTo>
                      <a:pt x="1924431" y="954"/>
                      <a:pt x="1889189" y="1"/>
                      <a:pt x="1853660" y="1"/>
                    </a:cubicBezTo>
                    <a:cubicBezTo>
                      <a:pt x="1142638" y="-779"/>
                      <a:pt x="466287" y="307141"/>
                      <a:pt x="0" y="843917"/>
                    </a:cubicBezTo>
                    <a:cubicBezTo>
                      <a:pt x="2667" y="842869"/>
                      <a:pt x="953167" y="471965"/>
                      <a:pt x="1939385" y="1052609"/>
                    </a:cubicBezTo>
                    <a:close/>
                  </a:path>
                </a:pathLst>
              </a:custGeom>
              <a:solidFill>
                <a:srgbClr val="7D00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5" name="Freeform: Shape 174">
                <a:extLst>
                  <a:ext uri="{FF2B5EF4-FFF2-40B4-BE49-F238E27FC236}">
                    <a16:creationId xmlns:a16="http://schemas.microsoft.com/office/drawing/2014/main" id="{30CEA8A2-7E3C-4BE0-B1CB-F40D491AB028}"/>
                  </a:ext>
                </a:extLst>
              </p:cNvPr>
              <p:cNvSpPr/>
              <p:nvPr/>
            </p:nvSpPr>
            <p:spPr>
              <a:xfrm>
                <a:off x="7926021" y="2466104"/>
                <a:ext cx="2920075" cy="2475468"/>
              </a:xfrm>
              <a:custGeom>
                <a:avLst/>
                <a:gdLst>
                  <a:gd name="connsiteX0" fmla="*/ 2783872 w 3255658"/>
                  <a:gd name="connsiteY0" fmla="*/ 0 h 2759954"/>
                  <a:gd name="connsiteX1" fmla="*/ 2783872 w 3255658"/>
                  <a:gd name="connsiteY1" fmla="*/ 0 h 2759954"/>
                  <a:gd name="connsiteX2" fmla="*/ 2149126 w 3255658"/>
                  <a:gd name="connsiteY2" fmla="*/ 1844326 h 2759954"/>
                  <a:gd name="connsiteX3" fmla="*/ 600742 w 3255658"/>
                  <a:gd name="connsiteY3" fmla="*/ 2313146 h 2759954"/>
                  <a:gd name="connsiteX4" fmla="*/ 600742 w 3255658"/>
                  <a:gd name="connsiteY4" fmla="*/ 2313146 h 2759954"/>
                  <a:gd name="connsiteX5" fmla="*/ 0 w 3255658"/>
                  <a:gd name="connsiteY5" fmla="*/ 1835848 h 2759954"/>
                  <a:gd name="connsiteX6" fmla="*/ 1330833 w 3255658"/>
                  <a:gd name="connsiteY6" fmla="*/ 2751582 h 2759954"/>
                  <a:gd name="connsiteX7" fmla="*/ 3168587 w 3255658"/>
                  <a:gd name="connsiteY7" fmla="*/ 2097977 h 2759954"/>
                  <a:gd name="connsiteX8" fmla="*/ 3168587 w 3255658"/>
                  <a:gd name="connsiteY8" fmla="*/ 2098643 h 2759954"/>
                  <a:gd name="connsiteX9" fmla="*/ 2783586 w 3255658"/>
                  <a:gd name="connsiteY9" fmla="*/ 0 h 27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5658" h="2759954">
                    <a:moveTo>
                      <a:pt x="2783872" y="0"/>
                    </a:moveTo>
                    <a:lnTo>
                      <a:pt x="2783872" y="0"/>
                    </a:lnTo>
                    <a:cubicBezTo>
                      <a:pt x="2783872" y="0"/>
                      <a:pt x="2935605" y="1010888"/>
                      <a:pt x="2149126" y="1844326"/>
                    </a:cubicBezTo>
                    <a:cubicBezTo>
                      <a:pt x="1471517" y="2562225"/>
                      <a:pt x="600742" y="2313146"/>
                      <a:pt x="600742" y="2313146"/>
                    </a:cubicBezTo>
                    <a:lnTo>
                      <a:pt x="600742" y="2313146"/>
                    </a:lnTo>
                    <a:cubicBezTo>
                      <a:pt x="338595" y="2253129"/>
                      <a:pt x="117719" y="2077641"/>
                      <a:pt x="0" y="1835848"/>
                    </a:cubicBezTo>
                    <a:cubicBezTo>
                      <a:pt x="21812" y="1886045"/>
                      <a:pt x="378524" y="2672048"/>
                      <a:pt x="1330833" y="2751582"/>
                    </a:cubicBezTo>
                    <a:cubicBezTo>
                      <a:pt x="2472785" y="2846832"/>
                      <a:pt x="3168587" y="2097977"/>
                      <a:pt x="3168587" y="2097977"/>
                    </a:cubicBezTo>
                    <a:lnTo>
                      <a:pt x="3168587" y="2098643"/>
                    </a:lnTo>
                    <a:cubicBezTo>
                      <a:pt x="3365773" y="1376934"/>
                      <a:pt x="3224108" y="604723"/>
                      <a:pt x="2783586" y="0"/>
                    </a:cubicBezTo>
                    <a:close/>
                  </a:path>
                </a:pathLst>
              </a:custGeom>
              <a:solidFill>
                <a:schemeClr val="tx2">
                  <a:lumMod val="50000"/>
                </a:schemeClr>
              </a:solidFill>
              <a:ln w="9525" cap="flat">
                <a:noFill/>
                <a:prstDash val="solid"/>
                <a:miter/>
              </a:ln>
              <a:effectLst>
                <a:outerShdw blurRad="50800" dist="38100" dir="18900000" algn="b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6" name="Freeform: Shape 175">
                <a:extLst>
                  <a:ext uri="{FF2B5EF4-FFF2-40B4-BE49-F238E27FC236}">
                    <a16:creationId xmlns:a16="http://schemas.microsoft.com/office/drawing/2014/main" id="{0EFACCFA-E40E-4508-BAE9-2C0765D92644}"/>
                  </a:ext>
                </a:extLst>
              </p:cNvPr>
              <p:cNvSpPr/>
              <p:nvPr/>
            </p:nvSpPr>
            <p:spPr>
              <a:xfrm>
                <a:off x="7787580" y="3409986"/>
                <a:ext cx="2991265" cy="2368772"/>
              </a:xfrm>
              <a:custGeom>
                <a:avLst/>
                <a:gdLst>
                  <a:gd name="connsiteX0" fmla="*/ 1496514 w 3335029"/>
                  <a:gd name="connsiteY0" fmla="*/ 1685068 h 2640996"/>
                  <a:gd name="connsiteX1" fmla="*/ 165681 w 3335029"/>
                  <a:gd name="connsiteY1" fmla="*/ 769334 h 2640996"/>
                  <a:gd name="connsiteX2" fmla="*/ 162919 w 3335029"/>
                  <a:gd name="connsiteY2" fmla="*/ 0 h 2640996"/>
                  <a:gd name="connsiteX3" fmla="*/ 277219 w 3335029"/>
                  <a:gd name="connsiteY3" fmla="*/ 1610963 h 2640996"/>
                  <a:gd name="connsiteX4" fmla="*/ 1933902 w 3335029"/>
                  <a:gd name="connsiteY4" fmla="*/ 2640330 h 2640996"/>
                  <a:gd name="connsiteX5" fmla="*/ 1933902 w 3335029"/>
                  <a:gd name="connsiteY5" fmla="*/ 2640997 h 2640996"/>
                  <a:gd name="connsiteX6" fmla="*/ 3335030 w 3335029"/>
                  <a:gd name="connsiteY6" fmla="*/ 1032129 h 2640996"/>
                  <a:gd name="connsiteX7" fmla="*/ 3335030 w 3335029"/>
                  <a:gd name="connsiteY7" fmla="*/ 1031462 h 2640996"/>
                  <a:gd name="connsiteX8" fmla="*/ 1496514 w 3335029"/>
                  <a:gd name="connsiteY8" fmla="*/ 1685068 h 26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5029" h="2640996">
                    <a:moveTo>
                      <a:pt x="1496514" y="1685068"/>
                    </a:moveTo>
                    <a:cubicBezTo>
                      <a:pt x="544585" y="1605534"/>
                      <a:pt x="187493" y="820007"/>
                      <a:pt x="165681" y="769334"/>
                    </a:cubicBezTo>
                    <a:cubicBezTo>
                      <a:pt x="48038" y="526599"/>
                      <a:pt x="47018" y="243573"/>
                      <a:pt x="162919" y="0"/>
                    </a:cubicBezTo>
                    <a:cubicBezTo>
                      <a:pt x="135296" y="52483"/>
                      <a:pt x="-252943" y="819150"/>
                      <a:pt x="277219" y="1610963"/>
                    </a:cubicBezTo>
                    <a:cubicBezTo>
                      <a:pt x="914632" y="2563463"/>
                      <a:pt x="1933902" y="2640330"/>
                      <a:pt x="1933902" y="2640330"/>
                    </a:cubicBezTo>
                    <a:lnTo>
                      <a:pt x="1933902" y="2640997"/>
                    </a:lnTo>
                    <a:cubicBezTo>
                      <a:pt x="2620969" y="2345217"/>
                      <a:pt x="3136443" y="1753314"/>
                      <a:pt x="3335030" y="1032129"/>
                    </a:cubicBezTo>
                    <a:lnTo>
                      <a:pt x="3335030" y="1031462"/>
                    </a:lnTo>
                    <a:cubicBezTo>
                      <a:pt x="3335030" y="1031462"/>
                      <a:pt x="2638466" y="1780413"/>
                      <a:pt x="1496514" y="1685068"/>
                    </a:cubicBezTo>
                    <a:close/>
                  </a:path>
                </a:pathLst>
              </a:custGeom>
              <a:solidFill>
                <a:srgbClr val="EA7EA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7" name="Freeform: Shape 176">
                <a:extLst>
                  <a:ext uri="{FF2B5EF4-FFF2-40B4-BE49-F238E27FC236}">
                    <a16:creationId xmlns:a16="http://schemas.microsoft.com/office/drawing/2014/main" id="{082875F9-5AC2-40BF-B3BB-1C52FCDF186F}"/>
                  </a:ext>
                </a:extLst>
              </p:cNvPr>
              <p:cNvSpPr/>
              <p:nvPr/>
            </p:nvSpPr>
            <p:spPr>
              <a:xfrm>
                <a:off x="6468422" y="2213504"/>
                <a:ext cx="3000163" cy="1950439"/>
              </a:xfrm>
              <a:custGeom>
                <a:avLst/>
                <a:gdLst>
                  <a:gd name="connsiteX0" fmla="*/ 1411990 w 3344948"/>
                  <a:gd name="connsiteY0" fmla="*/ 788795 h 2174587"/>
                  <a:gd name="connsiteX1" fmla="*/ 3010475 w 3344948"/>
                  <a:gd name="connsiteY1" fmla="*/ 1038255 h 2174587"/>
                  <a:gd name="connsiteX2" fmla="*/ 3010475 w 3344948"/>
                  <a:gd name="connsiteY2" fmla="*/ 1038255 h 2174587"/>
                  <a:gd name="connsiteX3" fmla="*/ 3344422 w 3344948"/>
                  <a:gd name="connsiteY3" fmla="*/ 1731770 h 2174587"/>
                  <a:gd name="connsiteX4" fmla="*/ 2542988 w 3344948"/>
                  <a:gd name="connsiteY4" fmla="*/ 326452 h 2174587"/>
                  <a:gd name="connsiteX5" fmla="*/ 603793 w 3344948"/>
                  <a:gd name="connsiteY5" fmla="*/ 117759 h 2174587"/>
                  <a:gd name="connsiteX6" fmla="*/ 4 w 3344948"/>
                  <a:gd name="connsiteY6" fmla="*/ 1731770 h 2174587"/>
                  <a:gd name="connsiteX7" fmla="*/ 39818 w 3344948"/>
                  <a:gd name="connsiteY7" fmla="*/ 2174587 h 2174587"/>
                  <a:gd name="connsiteX8" fmla="*/ 39818 w 3344948"/>
                  <a:gd name="connsiteY8" fmla="*/ 2174587 h 2174587"/>
                  <a:gd name="connsiteX9" fmla="*/ 1411990 w 3344948"/>
                  <a:gd name="connsiteY9" fmla="*/ 788795 h 217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4948" h="2174587">
                    <a:moveTo>
                      <a:pt x="1411990" y="788795"/>
                    </a:moveTo>
                    <a:cubicBezTo>
                      <a:pt x="2334010" y="436370"/>
                      <a:pt x="3010475" y="1038255"/>
                      <a:pt x="3010475" y="1038255"/>
                    </a:cubicBezTo>
                    <a:lnTo>
                      <a:pt x="3010475" y="1038255"/>
                    </a:lnTo>
                    <a:cubicBezTo>
                      <a:pt x="3221749" y="1206390"/>
                      <a:pt x="3344717" y="1461765"/>
                      <a:pt x="3344422" y="1731770"/>
                    </a:cubicBezTo>
                    <a:cubicBezTo>
                      <a:pt x="3344422" y="1731770"/>
                      <a:pt x="3393571" y="827371"/>
                      <a:pt x="2542988" y="326452"/>
                    </a:cubicBezTo>
                    <a:cubicBezTo>
                      <a:pt x="1556960" y="-254573"/>
                      <a:pt x="606460" y="116902"/>
                      <a:pt x="603793" y="117759"/>
                    </a:cubicBezTo>
                    <a:cubicBezTo>
                      <a:pt x="213556" y="564796"/>
                      <a:pt x="-1013" y="1138363"/>
                      <a:pt x="4" y="1731770"/>
                    </a:cubicBezTo>
                    <a:cubicBezTo>
                      <a:pt x="-28" y="1880274"/>
                      <a:pt x="13297" y="2028474"/>
                      <a:pt x="39818" y="2174587"/>
                    </a:cubicBezTo>
                    <a:lnTo>
                      <a:pt x="39818" y="2174587"/>
                    </a:lnTo>
                    <a:cubicBezTo>
                      <a:pt x="39818" y="2174587"/>
                      <a:pt x="341761" y="1198370"/>
                      <a:pt x="1411990" y="788795"/>
                    </a:cubicBezTo>
                    <a:close/>
                  </a:path>
                </a:pathLst>
              </a:custGeom>
              <a:solidFill>
                <a:srgbClr val="7300D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8" name="Freeform: Shape 177">
                <a:extLst>
                  <a:ext uri="{FF2B5EF4-FFF2-40B4-BE49-F238E27FC236}">
                    <a16:creationId xmlns:a16="http://schemas.microsoft.com/office/drawing/2014/main" id="{FB7ED223-E430-4C96-92C6-FEE33EAA14F4}"/>
                  </a:ext>
                </a:extLst>
              </p:cNvPr>
              <p:cNvSpPr/>
              <p:nvPr/>
            </p:nvSpPr>
            <p:spPr>
              <a:xfrm>
                <a:off x="7318793" y="2976590"/>
                <a:ext cx="2215877" cy="2980126"/>
              </a:xfrm>
              <a:custGeom>
                <a:avLst/>
                <a:gdLst>
                  <a:gd name="connsiteX0" fmla="*/ 813848 w 2470531"/>
                  <a:gd name="connsiteY0" fmla="*/ 2093786 h 3322608"/>
                  <a:gd name="connsiteX1" fmla="*/ 699548 w 2470531"/>
                  <a:gd name="connsiteY1" fmla="*/ 482822 h 3322608"/>
                  <a:gd name="connsiteX2" fmla="*/ 1302957 w 2470531"/>
                  <a:gd name="connsiteY2" fmla="*/ 0 h 3322608"/>
                  <a:gd name="connsiteX3" fmla="*/ 1302957 w 2470531"/>
                  <a:gd name="connsiteY3" fmla="*/ 0 h 3322608"/>
                  <a:gd name="connsiteX4" fmla="*/ 111284 w 2470531"/>
                  <a:gd name="connsiteY4" fmla="*/ 1094232 h 3322608"/>
                  <a:gd name="connsiteX5" fmla="*/ 339884 w 2470531"/>
                  <a:gd name="connsiteY5" fmla="*/ 3031331 h 3322608"/>
                  <a:gd name="connsiteX6" fmla="*/ 339312 w 2470531"/>
                  <a:gd name="connsiteY6" fmla="*/ 3031331 h 3322608"/>
                  <a:gd name="connsiteX7" fmla="*/ 2470531 w 2470531"/>
                  <a:gd name="connsiteY7" fmla="*/ 3123819 h 3322608"/>
                  <a:gd name="connsiteX8" fmla="*/ 2470531 w 2470531"/>
                  <a:gd name="connsiteY8" fmla="*/ 3123153 h 3322608"/>
                  <a:gd name="connsiteX9" fmla="*/ 813848 w 2470531"/>
                  <a:gd name="connsiteY9" fmla="*/ 2093786 h 332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0531" h="3322608">
                    <a:moveTo>
                      <a:pt x="813848" y="2093786"/>
                    </a:moveTo>
                    <a:cubicBezTo>
                      <a:pt x="283877" y="1301972"/>
                      <a:pt x="672116" y="535305"/>
                      <a:pt x="699548" y="482822"/>
                    </a:cubicBezTo>
                    <a:cubicBezTo>
                      <a:pt x="816486" y="238249"/>
                      <a:pt x="1038685" y="60446"/>
                      <a:pt x="1302957" y="0"/>
                    </a:cubicBezTo>
                    <a:lnTo>
                      <a:pt x="1302957" y="0"/>
                    </a:lnTo>
                    <a:cubicBezTo>
                      <a:pt x="1302957" y="0"/>
                      <a:pt x="410369" y="153448"/>
                      <a:pt x="111284" y="1094232"/>
                    </a:cubicBezTo>
                    <a:cubicBezTo>
                      <a:pt x="-235807" y="2186273"/>
                      <a:pt x="339884" y="3031331"/>
                      <a:pt x="339884" y="3031331"/>
                    </a:cubicBezTo>
                    <a:lnTo>
                      <a:pt x="339312" y="3031331"/>
                    </a:lnTo>
                    <a:cubicBezTo>
                      <a:pt x="998823" y="3384185"/>
                      <a:pt x="1782941" y="3418208"/>
                      <a:pt x="2470531" y="3123819"/>
                    </a:cubicBezTo>
                    <a:lnTo>
                      <a:pt x="2470531" y="3123153"/>
                    </a:lnTo>
                    <a:cubicBezTo>
                      <a:pt x="2470531" y="3123153"/>
                      <a:pt x="1451261" y="3046286"/>
                      <a:pt x="813848" y="2093786"/>
                    </a:cubicBezTo>
                    <a:close/>
                  </a:path>
                </a:pathLst>
              </a:custGeom>
              <a:solidFill>
                <a:srgbClr val="E45785"/>
              </a:solidFill>
              <a:ln w="9525" cap="flat">
                <a:noFill/>
                <a:prstDash val="solid"/>
                <a:miter/>
              </a:ln>
              <a:effectLst>
                <a:outerShdw blurRad="50800" dist="38100" dir="2700000" algn="t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sp>
            <p:nvSpPr>
              <p:cNvPr id="179" name="Freeform: Shape 178">
                <a:extLst>
                  <a:ext uri="{FF2B5EF4-FFF2-40B4-BE49-F238E27FC236}">
                    <a16:creationId xmlns:a16="http://schemas.microsoft.com/office/drawing/2014/main" id="{56C7515E-2FE1-4FF9-B097-894CDF0BCF9A}"/>
                  </a:ext>
                </a:extLst>
              </p:cNvPr>
              <p:cNvSpPr/>
              <p:nvPr/>
            </p:nvSpPr>
            <p:spPr>
              <a:xfrm>
                <a:off x="6501193" y="2806186"/>
                <a:ext cx="2664366" cy="2888775"/>
              </a:xfrm>
              <a:custGeom>
                <a:avLst/>
                <a:gdLst>
                  <a:gd name="connsiteX0" fmla="*/ 1028605 w 2970561"/>
                  <a:gd name="connsiteY0" fmla="*/ 1283088 h 3220759"/>
                  <a:gd name="connsiteX1" fmla="*/ 2220278 w 2970561"/>
                  <a:gd name="connsiteY1" fmla="*/ 188856 h 3220759"/>
                  <a:gd name="connsiteX2" fmla="*/ 2220278 w 2970561"/>
                  <a:gd name="connsiteY2" fmla="*/ 188856 h 3220759"/>
                  <a:gd name="connsiteX3" fmla="*/ 2970562 w 2970561"/>
                  <a:gd name="connsiteY3" fmla="*/ 360306 h 3220759"/>
                  <a:gd name="connsiteX4" fmla="*/ 2970562 w 2970561"/>
                  <a:gd name="connsiteY4" fmla="*/ 360306 h 3220759"/>
                  <a:gd name="connsiteX5" fmla="*/ 1372267 w 2970561"/>
                  <a:gd name="connsiteY5" fmla="*/ 110656 h 3220759"/>
                  <a:gd name="connsiteX6" fmla="*/ 0 w 2970561"/>
                  <a:gd name="connsiteY6" fmla="*/ 1496734 h 3220759"/>
                  <a:gd name="connsiteX7" fmla="*/ 0 w 2970561"/>
                  <a:gd name="connsiteY7" fmla="*/ 1496734 h 3220759"/>
                  <a:gd name="connsiteX8" fmla="*/ 1256633 w 2970561"/>
                  <a:gd name="connsiteY8" fmla="*/ 3220759 h 3220759"/>
                  <a:gd name="connsiteX9" fmla="*/ 1257205 w 2970561"/>
                  <a:gd name="connsiteY9" fmla="*/ 3220759 h 3220759"/>
                  <a:gd name="connsiteX10" fmla="*/ 1028605 w 2970561"/>
                  <a:gd name="connsiteY10" fmla="*/ 1283088 h 322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0561" h="3220759">
                    <a:moveTo>
                      <a:pt x="1028605" y="1283088"/>
                    </a:moveTo>
                    <a:cubicBezTo>
                      <a:pt x="1327690" y="342304"/>
                      <a:pt x="2220278" y="188856"/>
                      <a:pt x="2220278" y="188856"/>
                    </a:cubicBezTo>
                    <a:lnTo>
                      <a:pt x="2220278" y="188856"/>
                    </a:lnTo>
                    <a:cubicBezTo>
                      <a:pt x="2483434" y="128706"/>
                      <a:pt x="2759650" y="191819"/>
                      <a:pt x="2970562" y="360306"/>
                    </a:cubicBezTo>
                    <a:lnTo>
                      <a:pt x="2970562" y="360306"/>
                    </a:lnTo>
                    <a:cubicBezTo>
                      <a:pt x="2970562" y="360306"/>
                      <a:pt x="2293906" y="-241769"/>
                      <a:pt x="1372267" y="110656"/>
                    </a:cubicBezTo>
                    <a:cubicBezTo>
                      <a:pt x="302038" y="520231"/>
                      <a:pt x="0" y="1496734"/>
                      <a:pt x="0" y="1496734"/>
                    </a:cubicBezTo>
                    <a:lnTo>
                      <a:pt x="0" y="1496734"/>
                    </a:lnTo>
                    <a:cubicBezTo>
                      <a:pt x="135093" y="2232521"/>
                      <a:pt x="597513" y="2866934"/>
                      <a:pt x="1256633" y="3220759"/>
                    </a:cubicBezTo>
                    <a:lnTo>
                      <a:pt x="1257205" y="3220759"/>
                    </a:lnTo>
                    <a:cubicBezTo>
                      <a:pt x="1257205" y="3220759"/>
                      <a:pt x="681514" y="2375130"/>
                      <a:pt x="1028605" y="1283088"/>
                    </a:cubicBezTo>
                    <a:close/>
                  </a:path>
                </a:pathLst>
              </a:custGeom>
              <a:solidFill>
                <a:schemeClr val="bg2"/>
              </a:solidFill>
              <a:ln w="9525" cap="flat">
                <a:noFill/>
                <a:prstDash val="solid"/>
                <a:miter/>
              </a:ln>
              <a:effectLst>
                <a:outerShdw blurRad="50800" dist="38100" dir="2700000" algn="tl" rotWithShape="0">
                  <a:prstClr val="black">
                    <a:alpha val="40000"/>
                  </a:prstClr>
                </a:outerShdw>
              </a:effectLst>
            </p:spPr>
            <p:txBody>
              <a:bodyPr rtlCol="0" anchor="ctr"/>
              <a:lstStyle/>
              <a:p>
                <a:pPr defTabSz="913578" fontAlgn="base">
                  <a:spcBef>
                    <a:spcPct val="20000"/>
                  </a:spcBef>
                  <a:spcAft>
                    <a:spcPct val="0"/>
                  </a:spcAft>
                  <a:buClr>
                    <a:srgbClr val="FF0000"/>
                  </a:buClr>
                  <a:buSzPct val="65000"/>
                  <a:defRPr/>
                </a:pPr>
                <a:endParaRPr lang="en-US" sz="1797" b="1" kern="1200" dirty="0">
                  <a:solidFill>
                    <a:srgbClr val="4D4D4F"/>
                  </a:solidFill>
                  <a:latin typeface="Arial Narrow" panose="020B0606020202030204" pitchFamily="34" charset="0"/>
                  <a:ea typeface="+mn-ea"/>
                  <a:cs typeface="Calibri" panose="020F0502020204030204" pitchFamily="34" charset="0"/>
                </a:endParaRPr>
              </a:p>
            </p:txBody>
          </p:sp>
        </p:grpSp>
        <p:sp>
          <p:nvSpPr>
            <p:cNvPr id="171" name="Oval 170">
              <a:extLst>
                <a:ext uri="{FF2B5EF4-FFF2-40B4-BE49-F238E27FC236}">
                  <a16:creationId xmlns:a16="http://schemas.microsoft.com/office/drawing/2014/main" id="{568F09D6-A934-42F3-B749-7D3D24504725}"/>
                </a:ext>
              </a:extLst>
            </p:cNvPr>
            <p:cNvSpPr/>
            <p:nvPr/>
          </p:nvSpPr>
          <p:spPr bwMode="auto">
            <a:xfrm>
              <a:off x="7206407" y="2314697"/>
              <a:ext cx="2889899" cy="2889899"/>
            </a:xfrm>
            <a:prstGeom prst="ellipse">
              <a:avLst/>
            </a:prstGeom>
            <a:solidFill>
              <a:schemeClr val="bg1"/>
            </a:solidFill>
            <a:ln w="12700" algn="ctr">
              <a:no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ts val="1200"/>
                </a:spcBef>
                <a:spcAft>
                  <a:spcPct val="0"/>
                </a:spcAft>
                <a:buClr>
                  <a:srgbClr val="FF0000"/>
                </a:buClr>
                <a:buSzPct val="115000"/>
                <a:defRPr/>
              </a:pPr>
              <a:endParaRPr lang="en-US" sz="2397" b="1" kern="1200" dirty="0" err="1">
                <a:solidFill>
                  <a:srgbClr val="4D4D4F"/>
                </a:solidFill>
                <a:latin typeface="Arial Narrow" panose="020B0606020202030204" pitchFamily="34" charset="0"/>
                <a:ea typeface="+mn-ea"/>
                <a:cs typeface="Calibri" panose="020F0502020204030204" pitchFamily="34" charset="0"/>
              </a:endParaRPr>
            </a:p>
          </p:txBody>
        </p:sp>
      </p:grpSp>
      <p:grpSp>
        <p:nvGrpSpPr>
          <p:cNvPr id="5" name="Group 4"/>
          <p:cNvGrpSpPr/>
          <p:nvPr/>
        </p:nvGrpSpPr>
        <p:grpSpPr>
          <a:xfrm>
            <a:off x="2705693" y="1603264"/>
            <a:ext cx="6218234" cy="4452743"/>
            <a:chOff x="3413223" y="1637930"/>
            <a:chExt cx="6219855" cy="4453899"/>
          </a:xfrm>
        </p:grpSpPr>
        <p:sp>
          <p:nvSpPr>
            <p:cNvPr id="197" name="TextBox 196">
              <a:extLst>
                <a:ext uri="{FF2B5EF4-FFF2-40B4-BE49-F238E27FC236}">
                  <a16:creationId xmlns:a16="http://schemas.microsoft.com/office/drawing/2014/main" id="{53E56A20-790A-4D15-93DB-0EC632BE6AE5}"/>
                </a:ext>
              </a:extLst>
            </p:cNvPr>
            <p:cNvSpPr txBox="1"/>
            <p:nvPr/>
          </p:nvSpPr>
          <p:spPr bwMode="auto">
            <a:xfrm>
              <a:off x="8159360" y="1637930"/>
              <a:ext cx="1473718" cy="584855"/>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Clientless Zero Trust Access </a:t>
              </a:r>
            </a:p>
          </p:txBody>
        </p:sp>
        <p:sp>
          <p:nvSpPr>
            <p:cNvPr id="198" name="TextBox 197">
              <a:extLst>
                <a:ext uri="{FF2B5EF4-FFF2-40B4-BE49-F238E27FC236}">
                  <a16:creationId xmlns:a16="http://schemas.microsoft.com/office/drawing/2014/main" id="{B8523963-7E8C-43EF-A463-BA625C7D4D08}"/>
                </a:ext>
              </a:extLst>
            </p:cNvPr>
            <p:cNvSpPr txBox="1"/>
            <p:nvPr/>
          </p:nvSpPr>
          <p:spPr bwMode="auto">
            <a:xfrm>
              <a:off x="3828766" y="1665370"/>
              <a:ext cx="966604" cy="584727"/>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Endpoint</a:t>
              </a:r>
              <a:endParaRPr lang="he-IL" sz="1600" kern="1200" dirty="0">
                <a:solidFill>
                  <a:srgbClr val="700046"/>
                </a:solidFill>
                <a:latin typeface="Arial Narrow" panose="020B0606020202030204" pitchFamily="34" charset="0"/>
                <a:ea typeface="+mn-ea"/>
                <a:cs typeface="Calibri" panose="020F0502020204030204" pitchFamily="34" charset="0"/>
              </a:endParaRPr>
            </a:p>
            <a:p>
              <a:pPr defTabSz="913578" fontAlgn="base">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Security </a:t>
              </a:r>
            </a:p>
          </p:txBody>
        </p:sp>
        <p:sp>
          <p:nvSpPr>
            <p:cNvPr id="199" name="TextBox 198">
              <a:extLst>
                <a:ext uri="{FF2B5EF4-FFF2-40B4-BE49-F238E27FC236}">
                  <a16:creationId xmlns:a16="http://schemas.microsoft.com/office/drawing/2014/main" id="{B442FEF6-7CE3-4D4E-8B1F-9B5BC047CD90}"/>
                </a:ext>
              </a:extLst>
            </p:cNvPr>
            <p:cNvSpPr txBox="1"/>
            <p:nvPr/>
          </p:nvSpPr>
          <p:spPr bwMode="auto">
            <a:xfrm>
              <a:off x="5831156" y="5506974"/>
              <a:ext cx="1634542" cy="584855"/>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Secure Internet browsing </a:t>
              </a:r>
            </a:p>
          </p:txBody>
        </p:sp>
        <p:sp>
          <p:nvSpPr>
            <p:cNvPr id="2" name="Oval 1">
              <a:extLst>
                <a:ext uri="{FF2B5EF4-FFF2-40B4-BE49-F238E27FC236}">
                  <a16:creationId xmlns:a16="http://schemas.microsoft.com/office/drawing/2014/main" id="{DD98A9DD-09D1-4F09-8253-97B4443AC03D}"/>
                </a:ext>
              </a:extLst>
            </p:cNvPr>
            <p:cNvSpPr/>
            <p:nvPr/>
          </p:nvSpPr>
          <p:spPr bwMode="auto">
            <a:xfrm>
              <a:off x="3413223" y="1767909"/>
              <a:ext cx="353021" cy="377825"/>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1</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sp>
          <p:nvSpPr>
            <p:cNvPr id="188" name="Oval 187">
              <a:extLst>
                <a:ext uri="{FF2B5EF4-FFF2-40B4-BE49-F238E27FC236}">
                  <a16:creationId xmlns:a16="http://schemas.microsoft.com/office/drawing/2014/main" id="{9D60D016-19E7-4C02-9759-0C3B65EDE2DE}"/>
                </a:ext>
              </a:extLst>
            </p:cNvPr>
            <p:cNvSpPr/>
            <p:nvPr/>
          </p:nvSpPr>
          <p:spPr bwMode="auto">
            <a:xfrm>
              <a:off x="5175961" y="1773260"/>
              <a:ext cx="353021" cy="377825"/>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2</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sp>
          <p:nvSpPr>
            <p:cNvPr id="192" name="Oval 191">
              <a:extLst>
                <a:ext uri="{FF2B5EF4-FFF2-40B4-BE49-F238E27FC236}">
                  <a16:creationId xmlns:a16="http://schemas.microsoft.com/office/drawing/2014/main" id="{58CD70ED-CF97-4779-81D2-F381F7565F00}"/>
                </a:ext>
              </a:extLst>
            </p:cNvPr>
            <p:cNvSpPr/>
            <p:nvPr/>
          </p:nvSpPr>
          <p:spPr bwMode="auto">
            <a:xfrm>
              <a:off x="7719221" y="1773260"/>
              <a:ext cx="353021" cy="377825"/>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3</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grpSp>
      <p:sp>
        <p:nvSpPr>
          <p:cNvPr id="193" name="TextBox 192">
            <a:extLst>
              <a:ext uri="{FF2B5EF4-FFF2-40B4-BE49-F238E27FC236}">
                <a16:creationId xmlns:a16="http://schemas.microsoft.com/office/drawing/2014/main" id="{6655270A-9A7C-4D3C-8871-41590439EB71}"/>
              </a:ext>
            </a:extLst>
          </p:cNvPr>
          <p:cNvSpPr txBox="1"/>
          <p:nvPr/>
        </p:nvSpPr>
        <p:spPr bwMode="auto">
          <a:xfrm>
            <a:off x="4916721" y="1630569"/>
            <a:ext cx="2092464" cy="584703"/>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Cloud-delivered Network Security (SASE)</a:t>
            </a:r>
          </a:p>
        </p:txBody>
      </p:sp>
      <p:sp>
        <p:nvSpPr>
          <p:cNvPr id="194" name="TextBox 193">
            <a:extLst>
              <a:ext uri="{FF2B5EF4-FFF2-40B4-BE49-F238E27FC236}">
                <a16:creationId xmlns:a16="http://schemas.microsoft.com/office/drawing/2014/main" id="{EB23059F-A64C-42B2-9AC4-A87639A4ACB0}"/>
              </a:ext>
            </a:extLst>
          </p:cNvPr>
          <p:cNvSpPr txBox="1"/>
          <p:nvPr/>
        </p:nvSpPr>
        <p:spPr bwMode="auto">
          <a:xfrm>
            <a:off x="3115313" y="5471303"/>
            <a:ext cx="1331071" cy="584703"/>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Bef>
                <a:spcPct val="20000"/>
              </a:spcBef>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Email &amp; Office Security</a:t>
            </a:r>
          </a:p>
        </p:txBody>
      </p:sp>
      <p:sp>
        <p:nvSpPr>
          <p:cNvPr id="195" name="TextBox 194">
            <a:extLst>
              <a:ext uri="{FF2B5EF4-FFF2-40B4-BE49-F238E27FC236}">
                <a16:creationId xmlns:a16="http://schemas.microsoft.com/office/drawing/2014/main" id="{AB51A8E2-7DA0-4D0F-A167-E0E18FEA9D04}"/>
              </a:ext>
            </a:extLst>
          </p:cNvPr>
          <p:cNvSpPr txBox="1"/>
          <p:nvPr/>
        </p:nvSpPr>
        <p:spPr bwMode="auto">
          <a:xfrm>
            <a:off x="7509760" y="5459591"/>
            <a:ext cx="1653064" cy="338482"/>
          </a:xfrm>
          <a:prstGeom prst="rect">
            <a:avLst/>
          </a:prstGeom>
          <a:noFill/>
          <a:ln>
            <a:noFill/>
          </a:ln>
          <a:effectLst/>
        </p:spPr>
        <p:txBody>
          <a:bodyPr vert="horz" wrap="square" lIns="91368" tIns="45684" rIns="91368" bIns="45684" numCol="1" rtlCol="0" anchor="ctr" anchorCtr="0" compatLnSpc="1">
            <a:prstTxWarp prst="textNoShape">
              <a:avLst/>
            </a:prstTxWarp>
            <a:spAutoFit/>
          </a:bodyPr>
          <a:lstStyle/>
          <a:p>
            <a:pPr defTabSz="913578" fontAlgn="base">
              <a:spcBef>
                <a:spcPct val="20000"/>
              </a:spcBef>
              <a:spcAft>
                <a:spcPct val="0"/>
              </a:spcAft>
              <a:buClr>
                <a:srgbClr val="FF0000"/>
              </a:buClr>
              <a:buSzPct val="65000"/>
              <a:defRPr/>
            </a:pPr>
            <a:r>
              <a:rPr lang="en-US" sz="1600" kern="1200" dirty="0">
                <a:solidFill>
                  <a:srgbClr val="700046"/>
                </a:solidFill>
                <a:latin typeface="Arial Narrow" panose="020B0606020202030204" pitchFamily="34" charset="0"/>
                <a:ea typeface="+mn-ea"/>
                <a:cs typeface="Calibri" panose="020F0502020204030204" pitchFamily="34" charset="0"/>
              </a:rPr>
              <a:t>Mobile Security </a:t>
            </a:r>
            <a:endParaRPr lang="aa-ET" sz="1600" kern="1200" dirty="0" err="1">
              <a:solidFill>
                <a:srgbClr val="700046"/>
              </a:solidFill>
              <a:latin typeface="Arial Narrow" panose="020B0606020202030204" pitchFamily="34" charset="0"/>
              <a:ea typeface="+mn-ea"/>
              <a:cs typeface="Calibri" panose="020F0502020204030204" pitchFamily="34" charset="0"/>
            </a:endParaRPr>
          </a:p>
        </p:txBody>
      </p:sp>
      <p:sp>
        <p:nvSpPr>
          <p:cNvPr id="196" name="Oval 195">
            <a:extLst>
              <a:ext uri="{FF2B5EF4-FFF2-40B4-BE49-F238E27FC236}">
                <a16:creationId xmlns:a16="http://schemas.microsoft.com/office/drawing/2014/main" id="{3C2A1C7E-CB6B-495F-890A-AFA3115C208E}"/>
              </a:ext>
            </a:extLst>
          </p:cNvPr>
          <p:cNvSpPr/>
          <p:nvPr/>
        </p:nvSpPr>
        <p:spPr bwMode="auto">
          <a:xfrm>
            <a:off x="2705693" y="5460959"/>
            <a:ext cx="352929" cy="377727"/>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4</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sp>
        <p:nvSpPr>
          <p:cNvPr id="200" name="Oval 199">
            <a:extLst>
              <a:ext uri="{FF2B5EF4-FFF2-40B4-BE49-F238E27FC236}">
                <a16:creationId xmlns:a16="http://schemas.microsoft.com/office/drawing/2014/main" id="{F3D838E7-0377-4E2A-84EC-6CD414B34440}"/>
              </a:ext>
            </a:extLst>
          </p:cNvPr>
          <p:cNvSpPr/>
          <p:nvPr/>
        </p:nvSpPr>
        <p:spPr bwMode="auto">
          <a:xfrm>
            <a:off x="4648396" y="5477058"/>
            <a:ext cx="352929" cy="377727"/>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5</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sp>
        <p:nvSpPr>
          <p:cNvPr id="202" name="Oval 201">
            <a:extLst>
              <a:ext uri="{FF2B5EF4-FFF2-40B4-BE49-F238E27FC236}">
                <a16:creationId xmlns:a16="http://schemas.microsoft.com/office/drawing/2014/main" id="{D4CBB9B5-8D0B-43F3-ABAC-BC51CCF6116E}"/>
              </a:ext>
            </a:extLst>
          </p:cNvPr>
          <p:cNvSpPr/>
          <p:nvPr/>
        </p:nvSpPr>
        <p:spPr bwMode="auto">
          <a:xfrm>
            <a:off x="7042745" y="5476587"/>
            <a:ext cx="352929" cy="377727"/>
          </a:xfrm>
          <a:prstGeom prst="ellipse">
            <a:avLst/>
          </a:prstGeom>
          <a:solidFill>
            <a:srgbClr val="700046"/>
          </a:solidFill>
          <a:ln w="12700" algn="ctr">
            <a:noFill/>
            <a:miter lim="800000"/>
            <a:headEnd/>
            <a:tailEnd/>
          </a:ln>
          <a:effectLst/>
        </p:spPr>
        <p:txBody>
          <a:bodyPr rot="0" spcFirstLastPara="0" vertOverflow="overflow" horzOverflow="overflow" vert="horz" wrap="square" lIns="91416" tIns="71981" rIns="91416" bIns="45708"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r>
              <a:rPr lang="en-GB" sz="1200" kern="1200" dirty="0">
                <a:solidFill>
                  <a:srgbClr val="FFFFFF"/>
                </a:solidFill>
                <a:latin typeface="Arial Black" panose="020B0A04020102020204" pitchFamily="34" charset="0"/>
                <a:ea typeface="+mn-ea"/>
                <a:cs typeface="Calibri" panose="020F0502020204030204" pitchFamily="34" charset="0"/>
              </a:rPr>
              <a:t>6</a:t>
            </a:r>
            <a:endParaRPr lang="en-US" sz="1200" kern="1200" dirty="0" err="1">
              <a:solidFill>
                <a:srgbClr val="FFFFFF"/>
              </a:solidFill>
              <a:latin typeface="Arial Black" panose="020B0A04020102020204" pitchFamily="34" charset="0"/>
              <a:ea typeface="+mn-ea"/>
              <a:cs typeface="Calibri" panose="020F0502020204030204" pitchFamily="34" charset="0"/>
            </a:endParaRPr>
          </a:p>
        </p:txBody>
      </p:sp>
      <p:grpSp>
        <p:nvGrpSpPr>
          <p:cNvPr id="184" name="Group 183"/>
          <p:cNvGrpSpPr/>
          <p:nvPr/>
        </p:nvGrpSpPr>
        <p:grpSpPr>
          <a:xfrm>
            <a:off x="9581826" y="3886939"/>
            <a:ext cx="2021972" cy="609948"/>
            <a:chOff x="10459732" y="3546672"/>
            <a:chExt cx="2022499" cy="610107"/>
          </a:xfrm>
        </p:grpSpPr>
        <p:grpSp>
          <p:nvGrpSpPr>
            <p:cNvPr id="185" name="Group 184"/>
            <p:cNvGrpSpPr/>
            <p:nvPr/>
          </p:nvGrpSpPr>
          <p:grpSpPr>
            <a:xfrm>
              <a:off x="10459732" y="3546672"/>
              <a:ext cx="2022499" cy="610107"/>
              <a:chOff x="9673791" y="3667836"/>
              <a:chExt cx="2022499" cy="610107"/>
            </a:xfrm>
          </p:grpSpPr>
          <p:sp>
            <p:nvSpPr>
              <p:cNvPr id="222" name="Rectangle: Rounded Corners 194">
                <a:extLst>
                  <a:ext uri="{FF2B5EF4-FFF2-40B4-BE49-F238E27FC236}">
                    <a16:creationId xmlns:a16="http://schemas.microsoft.com/office/drawing/2014/main" id="{E3B50E10-910F-4FF9-A355-1AD8EEBB9AC3}"/>
                  </a:ext>
                </a:extLst>
              </p:cNvPr>
              <p:cNvSpPr/>
              <p:nvPr/>
            </p:nvSpPr>
            <p:spPr bwMode="auto">
              <a:xfrm>
                <a:off x="9673791" y="3667836"/>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sp>
            <p:nvSpPr>
              <p:cNvPr id="223" name="TextBox 222">
                <a:extLst>
                  <a:ext uri="{FF2B5EF4-FFF2-40B4-BE49-F238E27FC236}">
                    <a16:creationId xmlns:a16="http://schemas.microsoft.com/office/drawing/2014/main" id="{86AA2C53-82E7-4915-BF19-E92E0BFAE4C1}"/>
                  </a:ext>
                </a:extLst>
              </p:cNvPr>
              <p:cNvSpPr txBox="1"/>
              <p:nvPr/>
            </p:nvSpPr>
            <p:spPr bwMode="auto">
              <a:xfrm>
                <a:off x="10199492" y="3786281"/>
                <a:ext cx="1496798" cy="307697"/>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DATACENTER</a:t>
                </a:r>
              </a:p>
            </p:txBody>
          </p:sp>
        </p:grpSp>
        <p:grpSp>
          <p:nvGrpSpPr>
            <p:cNvPr id="203" name="Group 202">
              <a:extLst>
                <a:ext uri="{FF2B5EF4-FFF2-40B4-BE49-F238E27FC236}">
                  <a16:creationId xmlns:a16="http://schemas.microsoft.com/office/drawing/2014/main" id="{9A75ED88-04CA-433F-ABAC-54EDD766C9CA}"/>
                </a:ext>
              </a:extLst>
            </p:cNvPr>
            <p:cNvGrpSpPr/>
            <p:nvPr/>
          </p:nvGrpSpPr>
          <p:grpSpPr>
            <a:xfrm>
              <a:off x="10595564" y="3607562"/>
              <a:ext cx="463248" cy="479404"/>
              <a:chOff x="7760977" y="4769381"/>
              <a:chExt cx="334126" cy="474360"/>
            </a:xfrm>
          </p:grpSpPr>
          <p:grpSp>
            <p:nvGrpSpPr>
              <p:cNvPr id="204" name="Group 203">
                <a:extLst>
                  <a:ext uri="{FF2B5EF4-FFF2-40B4-BE49-F238E27FC236}">
                    <a16:creationId xmlns:a16="http://schemas.microsoft.com/office/drawing/2014/main" id="{DF20E7E5-05D3-4B08-B7F4-C8D7EEAB937E}"/>
                  </a:ext>
                </a:extLst>
              </p:cNvPr>
              <p:cNvGrpSpPr/>
              <p:nvPr/>
            </p:nvGrpSpPr>
            <p:grpSpPr>
              <a:xfrm>
                <a:off x="7764821" y="4769381"/>
                <a:ext cx="301509" cy="343140"/>
                <a:chOff x="6704013" y="5259388"/>
                <a:chExt cx="379413" cy="431800"/>
              </a:xfrm>
              <a:noFill/>
            </p:grpSpPr>
            <p:sp>
              <p:nvSpPr>
                <p:cNvPr id="208" name="Freeform 736">
                  <a:extLst>
                    <a:ext uri="{FF2B5EF4-FFF2-40B4-BE49-F238E27FC236}">
                      <a16:creationId xmlns:a16="http://schemas.microsoft.com/office/drawing/2014/main" id="{5B39AFE6-6429-49FB-84D9-D76A281E22FF}"/>
                    </a:ext>
                  </a:extLst>
                </p:cNvPr>
                <p:cNvSpPr>
                  <a:spLocks/>
                </p:cNvSpPr>
                <p:nvPr/>
              </p:nvSpPr>
              <p:spPr bwMode="auto">
                <a:xfrm>
                  <a:off x="6704013" y="5259388"/>
                  <a:ext cx="379413" cy="431800"/>
                </a:xfrm>
                <a:custGeom>
                  <a:avLst/>
                  <a:gdLst>
                    <a:gd name="T0" fmla="*/ 228 w 241"/>
                    <a:gd name="T1" fmla="*/ 272 h 272"/>
                    <a:gd name="T2" fmla="*/ 228 w 241"/>
                    <a:gd name="T3" fmla="*/ 272 h 272"/>
                    <a:gd name="T4" fmla="*/ 13 w 241"/>
                    <a:gd name="T5" fmla="*/ 272 h 272"/>
                    <a:gd name="T6" fmla="*/ 0 w 241"/>
                    <a:gd name="T7" fmla="*/ 260 h 272"/>
                    <a:gd name="T8" fmla="*/ 0 w 241"/>
                    <a:gd name="T9" fmla="*/ 56 h 272"/>
                    <a:gd name="T10" fmla="*/ 4 w 241"/>
                    <a:gd name="T11" fmla="*/ 47 h 272"/>
                    <a:gd name="T12" fmla="*/ 53 w 241"/>
                    <a:gd name="T13" fmla="*/ 3 h 272"/>
                    <a:gd name="T14" fmla="*/ 62 w 241"/>
                    <a:gd name="T15" fmla="*/ 0 h 272"/>
                    <a:gd name="T16" fmla="*/ 179 w 241"/>
                    <a:gd name="T17" fmla="*/ 0 h 272"/>
                    <a:gd name="T18" fmla="*/ 187 w 241"/>
                    <a:gd name="T19" fmla="*/ 3 h 272"/>
                    <a:gd name="T20" fmla="*/ 236 w 241"/>
                    <a:gd name="T21" fmla="*/ 47 h 272"/>
                    <a:gd name="T22" fmla="*/ 241 w 241"/>
                    <a:gd name="T23" fmla="*/ 56 h 272"/>
                    <a:gd name="T24" fmla="*/ 241 w 241"/>
                    <a:gd name="T25" fmla="*/ 260 h 272"/>
                    <a:gd name="T26" fmla="*/ 228 w 241"/>
                    <a:gd name="T27" fmla="*/ 272 h 272"/>
                    <a:gd name="T28" fmla="*/ 228 w 241"/>
                    <a:gd name="T29"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272">
                      <a:moveTo>
                        <a:pt x="228" y="272"/>
                      </a:moveTo>
                      <a:lnTo>
                        <a:pt x="228" y="272"/>
                      </a:lnTo>
                      <a:lnTo>
                        <a:pt x="13" y="272"/>
                      </a:lnTo>
                      <a:cubicBezTo>
                        <a:pt x="6" y="272"/>
                        <a:pt x="0" y="267"/>
                        <a:pt x="0" y="260"/>
                      </a:cubicBezTo>
                      <a:lnTo>
                        <a:pt x="0" y="56"/>
                      </a:lnTo>
                      <a:cubicBezTo>
                        <a:pt x="0" y="53"/>
                        <a:pt x="2" y="49"/>
                        <a:pt x="4" y="47"/>
                      </a:cubicBezTo>
                      <a:lnTo>
                        <a:pt x="53" y="3"/>
                      </a:lnTo>
                      <a:cubicBezTo>
                        <a:pt x="56" y="1"/>
                        <a:pt x="59" y="0"/>
                        <a:pt x="62" y="0"/>
                      </a:cubicBezTo>
                      <a:lnTo>
                        <a:pt x="179" y="0"/>
                      </a:lnTo>
                      <a:cubicBezTo>
                        <a:pt x="182" y="0"/>
                        <a:pt x="185" y="1"/>
                        <a:pt x="187" y="3"/>
                      </a:cubicBezTo>
                      <a:lnTo>
                        <a:pt x="236" y="47"/>
                      </a:lnTo>
                      <a:cubicBezTo>
                        <a:pt x="239" y="49"/>
                        <a:pt x="241" y="53"/>
                        <a:pt x="241" y="56"/>
                      </a:cubicBezTo>
                      <a:lnTo>
                        <a:pt x="241" y="260"/>
                      </a:lnTo>
                      <a:cubicBezTo>
                        <a:pt x="241" y="267"/>
                        <a:pt x="235" y="272"/>
                        <a:pt x="228" y="272"/>
                      </a:cubicBezTo>
                      <a:lnTo>
                        <a:pt x="228" y="272"/>
                      </a:lnTo>
                      <a:close/>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09" name="Freeform 737">
                  <a:extLst>
                    <a:ext uri="{FF2B5EF4-FFF2-40B4-BE49-F238E27FC236}">
                      <a16:creationId xmlns:a16="http://schemas.microsoft.com/office/drawing/2014/main" id="{35200C96-49C4-496A-9431-C256790CD28D}"/>
                    </a:ext>
                  </a:extLst>
                </p:cNvPr>
                <p:cNvSpPr>
                  <a:spLocks/>
                </p:cNvSpPr>
                <p:nvPr/>
              </p:nvSpPr>
              <p:spPr bwMode="auto">
                <a:xfrm>
                  <a:off x="6704013" y="535940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0" name="Freeform 738">
                  <a:extLst>
                    <a:ext uri="{FF2B5EF4-FFF2-40B4-BE49-F238E27FC236}">
                      <a16:creationId xmlns:a16="http://schemas.microsoft.com/office/drawing/2014/main" id="{EC6691CA-210F-4BD7-A0FE-5E59DB96B648}"/>
                    </a:ext>
                  </a:extLst>
                </p:cNvPr>
                <p:cNvSpPr>
                  <a:spLocks/>
                </p:cNvSpPr>
                <p:nvPr/>
              </p:nvSpPr>
              <p:spPr bwMode="auto">
                <a:xfrm>
                  <a:off x="6704013" y="5470525"/>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1" name="Freeform 740">
                  <a:extLst>
                    <a:ext uri="{FF2B5EF4-FFF2-40B4-BE49-F238E27FC236}">
                      <a16:creationId xmlns:a16="http://schemas.microsoft.com/office/drawing/2014/main" id="{CB7F240E-99C9-4F2B-8C2E-6B34595EDFFE}"/>
                    </a:ext>
                  </a:extLst>
                </p:cNvPr>
                <p:cNvSpPr>
                  <a:spLocks/>
                </p:cNvSpPr>
                <p:nvPr/>
              </p:nvSpPr>
              <p:spPr bwMode="auto">
                <a:xfrm>
                  <a:off x="6704013" y="5581650"/>
                  <a:ext cx="379413" cy="0"/>
                </a:xfrm>
                <a:custGeom>
                  <a:avLst/>
                  <a:gdLst>
                    <a:gd name="T0" fmla="*/ 0 w 241"/>
                    <a:gd name="T1" fmla="*/ 0 w 241"/>
                    <a:gd name="T2" fmla="*/ 241 w 241"/>
                  </a:gdLst>
                  <a:ahLst/>
                  <a:cxnLst>
                    <a:cxn ang="0">
                      <a:pos x="T0" y="0"/>
                    </a:cxn>
                    <a:cxn ang="0">
                      <a:pos x="T1" y="0"/>
                    </a:cxn>
                    <a:cxn ang="0">
                      <a:pos x="T2" y="0"/>
                    </a:cxn>
                  </a:cxnLst>
                  <a:rect l="0" t="0" r="r" b="b"/>
                  <a:pathLst>
                    <a:path w="241">
                      <a:moveTo>
                        <a:pt x="0" y="0"/>
                      </a:moveTo>
                      <a:lnTo>
                        <a:pt x="0" y="0"/>
                      </a:lnTo>
                      <a:lnTo>
                        <a:pt x="241"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2" name="Freeform 741">
                  <a:extLst>
                    <a:ext uri="{FF2B5EF4-FFF2-40B4-BE49-F238E27FC236}">
                      <a16:creationId xmlns:a16="http://schemas.microsoft.com/office/drawing/2014/main" id="{C3B5F81A-8077-4946-92E5-EB7142DC9A4A}"/>
                    </a:ext>
                  </a:extLst>
                </p:cNvPr>
                <p:cNvSpPr>
                  <a:spLocks/>
                </p:cNvSpPr>
                <p:nvPr/>
              </p:nvSpPr>
              <p:spPr bwMode="auto">
                <a:xfrm>
                  <a:off x="6983406" y="5419726"/>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3" name="Freeform 742">
                  <a:extLst>
                    <a:ext uri="{FF2B5EF4-FFF2-40B4-BE49-F238E27FC236}">
                      <a16:creationId xmlns:a16="http://schemas.microsoft.com/office/drawing/2014/main" id="{F0C887E0-FC4B-48FB-84B7-C4D3F4D5BDC0}"/>
                    </a:ext>
                  </a:extLst>
                </p:cNvPr>
                <p:cNvSpPr>
                  <a:spLocks/>
                </p:cNvSpPr>
                <p:nvPr/>
              </p:nvSpPr>
              <p:spPr bwMode="auto">
                <a:xfrm>
                  <a:off x="6983413" y="5530850"/>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5" name="Freeform 743">
                  <a:extLst>
                    <a:ext uri="{FF2B5EF4-FFF2-40B4-BE49-F238E27FC236}">
                      <a16:creationId xmlns:a16="http://schemas.microsoft.com/office/drawing/2014/main" id="{23EBC5AF-A839-4739-8436-65B10AD1D62D}"/>
                    </a:ext>
                  </a:extLst>
                </p:cNvPr>
                <p:cNvSpPr>
                  <a:spLocks/>
                </p:cNvSpPr>
                <p:nvPr/>
              </p:nvSpPr>
              <p:spPr bwMode="auto">
                <a:xfrm>
                  <a:off x="6983413" y="5641975"/>
                  <a:ext cx="58738" cy="0"/>
                </a:xfrm>
                <a:custGeom>
                  <a:avLst/>
                  <a:gdLst>
                    <a:gd name="T0" fmla="*/ 38 w 38"/>
                    <a:gd name="T1" fmla="*/ 38 w 38"/>
                    <a:gd name="T2" fmla="*/ 0 w 38"/>
                  </a:gdLst>
                  <a:ahLst/>
                  <a:cxnLst>
                    <a:cxn ang="0">
                      <a:pos x="T0" y="0"/>
                    </a:cxn>
                    <a:cxn ang="0">
                      <a:pos x="T1" y="0"/>
                    </a:cxn>
                    <a:cxn ang="0">
                      <a:pos x="T2" y="0"/>
                    </a:cxn>
                  </a:cxnLst>
                  <a:rect l="0" t="0" r="r" b="b"/>
                  <a:pathLst>
                    <a:path w="38">
                      <a:moveTo>
                        <a:pt x="38" y="0"/>
                      </a:moveTo>
                      <a:lnTo>
                        <a:pt x="38"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6" name="Freeform 744">
                  <a:extLst>
                    <a:ext uri="{FF2B5EF4-FFF2-40B4-BE49-F238E27FC236}">
                      <a16:creationId xmlns:a16="http://schemas.microsoft.com/office/drawing/2014/main" id="{9A4D6B35-2C34-4724-B88F-73E50823C786}"/>
                    </a:ext>
                  </a:extLst>
                </p:cNvPr>
                <p:cNvSpPr>
                  <a:spLocks/>
                </p:cNvSpPr>
                <p:nvPr/>
              </p:nvSpPr>
              <p:spPr bwMode="auto">
                <a:xfrm>
                  <a:off x="6743701" y="541972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7" name="Freeform 745">
                  <a:extLst>
                    <a:ext uri="{FF2B5EF4-FFF2-40B4-BE49-F238E27FC236}">
                      <a16:creationId xmlns:a16="http://schemas.microsoft.com/office/drawing/2014/main" id="{1D509D44-36C6-4C98-8C6C-CEC83BD7F887}"/>
                    </a:ext>
                  </a:extLst>
                </p:cNvPr>
                <p:cNvSpPr>
                  <a:spLocks/>
                </p:cNvSpPr>
                <p:nvPr/>
              </p:nvSpPr>
              <p:spPr bwMode="auto">
                <a:xfrm>
                  <a:off x="6743701" y="5530850"/>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8" name="Freeform 746">
                  <a:extLst>
                    <a:ext uri="{FF2B5EF4-FFF2-40B4-BE49-F238E27FC236}">
                      <a16:creationId xmlns:a16="http://schemas.microsoft.com/office/drawing/2014/main" id="{F663054B-3F63-4184-A001-2BF5AC229D4B}"/>
                    </a:ext>
                  </a:extLst>
                </p:cNvPr>
                <p:cNvSpPr>
                  <a:spLocks/>
                </p:cNvSpPr>
                <p:nvPr/>
              </p:nvSpPr>
              <p:spPr bwMode="auto">
                <a:xfrm>
                  <a:off x="6743701" y="5641975"/>
                  <a:ext cx="20638" cy="0"/>
                </a:xfrm>
                <a:custGeom>
                  <a:avLst/>
                  <a:gdLst>
                    <a:gd name="T0" fmla="*/ 13 w 13"/>
                    <a:gd name="T1" fmla="*/ 13 w 13"/>
                    <a:gd name="T2" fmla="*/ 0 w 13"/>
                  </a:gdLst>
                  <a:ahLst/>
                  <a:cxnLst>
                    <a:cxn ang="0">
                      <a:pos x="T0" y="0"/>
                    </a:cxn>
                    <a:cxn ang="0">
                      <a:pos x="T1" y="0"/>
                    </a:cxn>
                    <a:cxn ang="0">
                      <a:pos x="T2" y="0"/>
                    </a:cxn>
                  </a:cxnLst>
                  <a:rect l="0" t="0" r="r" b="b"/>
                  <a:pathLst>
                    <a:path w="13">
                      <a:moveTo>
                        <a:pt x="13" y="0"/>
                      </a:moveTo>
                      <a:lnTo>
                        <a:pt x="13"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19" name="Freeform 747">
                  <a:extLst>
                    <a:ext uri="{FF2B5EF4-FFF2-40B4-BE49-F238E27FC236}">
                      <a16:creationId xmlns:a16="http://schemas.microsoft.com/office/drawing/2014/main" id="{D01F07E1-B168-41D4-97BB-F079451B0F3A}"/>
                    </a:ext>
                  </a:extLst>
                </p:cNvPr>
                <p:cNvSpPr>
                  <a:spLocks/>
                </p:cNvSpPr>
                <p:nvPr/>
              </p:nvSpPr>
              <p:spPr bwMode="auto">
                <a:xfrm>
                  <a:off x="6784976" y="541972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20" name="Freeform 748">
                  <a:extLst>
                    <a:ext uri="{FF2B5EF4-FFF2-40B4-BE49-F238E27FC236}">
                      <a16:creationId xmlns:a16="http://schemas.microsoft.com/office/drawing/2014/main" id="{AC6CA463-8E80-4F8D-B6A7-3313FDC05D60}"/>
                    </a:ext>
                  </a:extLst>
                </p:cNvPr>
                <p:cNvSpPr>
                  <a:spLocks/>
                </p:cNvSpPr>
                <p:nvPr/>
              </p:nvSpPr>
              <p:spPr bwMode="auto">
                <a:xfrm>
                  <a:off x="6784976" y="5530850"/>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21" name="Freeform 749">
                  <a:extLst>
                    <a:ext uri="{FF2B5EF4-FFF2-40B4-BE49-F238E27FC236}">
                      <a16:creationId xmlns:a16="http://schemas.microsoft.com/office/drawing/2014/main" id="{5AF85E3D-FC0E-4A1D-85A7-5538C226972D}"/>
                    </a:ext>
                  </a:extLst>
                </p:cNvPr>
                <p:cNvSpPr>
                  <a:spLocks/>
                </p:cNvSpPr>
                <p:nvPr/>
              </p:nvSpPr>
              <p:spPr bwMode="auto">
                <a:xfrm>
                  <a:off x="6784976" y="5641975"/>
                  <a:ext cx="17463" cy="0"/>
                </a:xfrm>
                <a:custGeom>
                  <a:avLst/>
                  <a:gdLst>
                    <a:gd name="T0" fmla="*/ 12 w 12"/>
                    <a:gd name="T1" fmla="*/ 12 w 12"/>
                    <a:gd name="T2" fmla="*/ 0 w 12"/>
                  </a:gdLst>
                  <a:ahLst/>
                  <a:cxnLst>
                    <a:cxn ang="0">
                      <a:pos x="T0" y="0"/>
                    </a:cxn>
                    <a:cxn ang="0">
                      <a:pos x="T1" y="0"/>
                    </a:cxn>
                    <a:cxn ang="0">
                      <a:pos x="T2" y="0"/>
                    </a:cxn>
                  </a:cxnLst>
                  <a:rect l="0" t="0" r="r" b="b"/>
                  <a:pathLst>
                    <a:path w="12">
                      <a:moveTo>
                        <a:pt x="12" y="0"/>
                      </a:moveTo>
                      <a:lnTo>
                        <a:pt x="12" y="0"/>
                      </a:lnTo>
                      <a:lnTo>
                        <a:pt x="0" y="0"/>
                      </a:lnTo>
                    </a:path>
                  </a:pathLst>
                </a:custGeom>
                <a:grp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cxnSp>
            <p:nvCxnSpPr>
              <p:cNvPr id="205" name="Straight Connector 204">
                <a:extLst>
                  <a:ext uri="{FF2B5EF4-FFF2-40B4-BE49-F238E27FC236}">
                    <a16:creationId xmlns:a16="http://schemas.microsoft.com/office/drawing/2014/main" id="{6F2701F3-3D27-4F38-B343-AC9DBF64301E}"/>
                  </a:ext>
                </a:extLst>
              </p:cNvPr>
              <p:cNvCxnSpPr>
                <a:cxnSpLocks/>
                <a:endCxn id="207" idx="4"/>
              </p:cNvCxnSpPr>
              <p:nvPr/>
            </p:nvCxnSpPr>
            <p:spPr bwMode="auto">
              <a:xfrm>
                <a:off x="7925100" y="5115863"/>
                <a:ext cx="0" cy="127878"/>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Straight Connector 205">
                <a:extLst>
                  <a:ext uri="{FF2B5EF4-FFF2-40B4-BE49-F238E27FC236}">
                    <a16:creationId xmlns:a16="http://schemas.microsoft.com/office/drawing/2014/main" id="{885936BE-2553-486E-AE25-8965445D2418}"/>
                  </a:ext>
                </a:extLst>
              </p:cNvPr>
              <p:cNvCxnSpPr/>
              <p:nvPr/>
            </p:nvCxnSpPr>
            <p:spPr bwMode="auto">
              <a:xfrm>
                <a:off x="7760977" y="5195789"/>
                <a:ext cx="334126" cy="0"/>
              </a:xfrm>
              <a:prstGeom prst="line">
                <a:avLst/>
              </a:prstGeom>
              <a:solidFill>
                <a:schemeClr val="bg1"/>
              </a:solidFill>
              <a:ln w="15875" cap="flat" cmpd="sng" algn="ctr">
                <a:solidFill>
                  <a:schemeClr val="tx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7" name="Oval 206">
                <a:extLst>
                  <a:ext uri="{FF2B5EF4-FFF2-40B4-BE49-F238E27FC236}">
                    <a16:creationId xmlns:a16="http://schemas.microsoft.com/office/drawing/2014/main" id="{8794E17C-5D73-4ECE-9D74-F0046D4FFD34}"/>
                  </a:ext>
                </a:extLst>
              </p:cNvPr>
              <p:cNvSpPr/>
              <p:nvPr/>
            </p:nvSpPr>
            <p:spPr bwMode="auto">
              <a:xfrm>
                <a:off x="7882187" y="515791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224" name="Group 223"/>
          <p:cNvGrpSpPr/>
          <p:nvPr/>
        </p:nvGrpSpPr>
        <p:grpSpPr>
          <a:xfrm>
            <a:off x="9581827" y="2234696"/>
            <a:ext cx="2004668" cy="609948"/>
            <a:chOff x="9688515" y="2273915"/>
            <a:chExt cx="2005190" cy="610107"/>
          </a:xfrm>
        </p:grpSpPr>
        <p:sp>
          <p:nvSpPr>
            <p:cNvPr id="225" name="Rectangle: Rounded Corners 192">
              <a:extLst>
                <a:ext uri="{FF2B5EF4-FFF2-40B4-BE49-F238E27FC236}">
                  <a16:creationId xmlns:a16="http://schemas.microsoft.com/office/drawing/2014/main" id="{BD2797BB-294E-497C-BF40-2BF0AAAA9E80}"/>
                </a:ext>
              </a:extLst>
            </p:cNvPr>
            <p:cNvSpPr/>
            <p:nvPr/>
          </p:nvSpPr>
          <p:spPr bwMode="auto">
            <a:xfrm>
              <a:off x="9688515" y="2273915"/>
              <a:ext cx="1996148"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226" name="Group 225">
              <a:extLst>
                <a:ext uri="{FF2B5EF4-FFF2-40B4-BE49-F238E27FC236}">
                  <a16:creationId xmlns:a16="http://schemas.microsoft.com/office/drawing/2014/main" id="{C1A35DCB-7180-48DB-AE48-B65FDABED766}"/>
                </a:ext>
              </a:extLst>
            </p:cNvPr>
            <p:cNvGrpSpPr/>
            <p:nvPr/>
          </p:nvGrpSpPr>
          <p:grpSpPr>
            <a:xfrm>
              <a:off x="9864565" y="2405048"/>
              <a:ext cx="1829140" cy="350020"/>
              <a:chOff x="8536119" y="930602"/>
              <a:chExt cx="1799468" cy="346337"/>
            </a:xfrm>
          </p:grpSpPr>
          <p:sp>
            <p:nvSpPr>
              <p:cNvPr id="227" name="TextBox 226">
                <a:extLst>
                  <a:ext uri="{FF2B5EF4-FFF2-40B4-BE49-F238E27FC236}">
                    <a16:creationId xmlns:a16="http://schemas.microsoft.com/office/drawing/2014/main" id="{91642B42-99D0-42AF-92C8-CB337CD1BC0E}"/>
                  </a:ext>
                </a:extLst>
              </p:cNvPr>
              <p:cNvSpPr txBox="1"/>
              <p:nvPr/>
            </p:nvSpPr>
            <p:spPr bwMode="auto">
              <a:xfrm>
                <a:off x="8792855" y="941109"/>
                <a:ext cx="1542732" cy="30456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SAAS</a:t>
                </a:r>
              </a:p>
            </p:txBody>
          </p:sp>
          <p:grpSp>
            <p:nvGrpSpPr>
              <p:cNvPr id="228" name="Graphic 70">
                <a:extLst>
                  <a:ext uri="{FF2B5EF4-FFF2-40B4-BE49-F238E27FC236}">
                    <a16:creationId xmlns:a16="http://schemas.microsoft.com/office/drawing/2014/main" id="{A0583EF9-8D0E-4BDC-9B06-E1B84618AE0C}"/>
                  </a:ext>
                </a:extLst>
              </p:cNvPr>
              <p:cNvGrpSpPr/>
              <p:nvPr/>
            </p:nvGrpSpPr>
            <p:grpSpPr>
              <a:xfrm>
                <a:off x="8536119" y="930602"/>
                <a:ext cx="430583" cy="346337"/>
                <a:chOff x="10366196" y="3234979"/>
                <a:chExt cx="370537" cy="298040"/>
              </a:xfrm>
              <a:noFill/>
            </p:grpSpPr>
            <p:sp>
              <p:nvSpPr>
                <p:cNvPr id="230" name="Freeform: Shape 72">
                  <a:extLst>
                    <a:ext uri="{FF2B5EF4-FFF2-40B4-BE49-F238E27FC236}">
                      <a16:creationId xmlns:a16="http://schemas.microsoft.com/office/drawing/2014/main" id="{FA74EFEA-5526-4EBF-9FCE-CED713E9AB6B}"/>
                    </a:ext>
                  </a:extLst>
                </p:cNvPr>
                <p:cNvSpPr/>
                <p:nvPr/>
              </p:nvSpPr>
              <p:spPr>
                <a:xfrm>
                  <a:off x="10366196" y="3234979"/>
                  <a:ext cx="370537" cy="217488"/>
                </a:xfrm>
                <a:custGeom>
                  <a:avLst/>
                  <a:gdLst>
                    <a:gd name="connsiteX0" fmla="*/ 306097 w 370538"/>
                    <a:gd name="connsiteY0" fmla="*/ 217490 h 217489"/>
                    <a:gd name="connsiteX1" fmla="*/ 314152 w 370538"/>
                    <a:gd name="connsiteY1" fmla="*/ 217490 h 217489"/>
                    <a:gd name="connsiteX2" fmla="*/ 370539 w 370538"/>
                    <a:gd name="connsiteY2" fmla="*/ 161104 h 217489"/>
                    <a:gd name="connsiteX3" fmla="*/ 314152 w 370538"/>
                    <a:gd name="connsiteY3" fmla="*/ 104717 h 217489"/>
                    <a:gd name="connsiteX4" fmla="*/ 297236 w 370538"/>
                    <a:gd name="connsiteY4" fmla="*/ 107134 h 217489"/>
                    <a:gd name="connsiteX5" fmla="*/ 298042 w 370538"/>
                    <a:gd name="connsiteY5" fmla="*/ 96662 h 217489"/>
                    <a:gd name="connsiteX6" fmla="*/ 241656 w 370538"/>
                    <a:gd name="connsiteY6" fmla="*/ 40276 h 217489"/>
                    <a:gd name="connsiteX7" fmla="*/ 204602 w 370538"/>
                    <a:gd name="connsiteY7" fmla="*/ 53970 h 217489"/>
                    <a:gd name="connsiteX8" fmla="*/ 128883 w 370538"/>
                    <a:gd name="connsiteY8" fmla="*/ 0 h 217489"/>
                    <a:gd name="connsiteX9" fmla="*/ 48331 w 370538"/>
                    <a:gd name="connsiteY9" fmla="*/ 80552 h 217489"/>
                    <a:gd name="connsiteX10" fmla="*/ 52359 w 370538"/>
                    <a:gd name="connsiteY10" fmla="*/ 104717 h 217489"/>
                    <a:gd name="connsiteX11" fmla="*/ 0 w 370538"/>
                    <a:gd name="connsiteY11" fmla="*/ 161104 h 217489"/>
                    <a:gd name="connsiteX12" fmla="*/ 56386 w 370538"/>
                    <a:gd name="connsiteY12" fmla="*/ 217490 h 217489"/>
                    <a:gd name="connsiteX13" fmla="*/ 64442 w 370538"/>
                    <a:gd name="connsiteY13" fmla="*/ 217490 h 21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538" h="217489">
                      <a:moveTo>
                        <a:pt x="306097" y="217490"/>
                      </a:moveTo>
                      <a:lnTo>
                        <a:pt x="314152" y="217490"/>
                      </a:lnTo>
                      <a:cubicBezTo>
                        <a:pt x="345568" y="217490"/>
                        <a:pt x="370539" y="192519"/>
                        <a:pt x="370539" y="161104"/>
                      </a:cubicBezTo>
                      <a:cubicBezTo>
                        <a:pt x="370539" y="129688"/>
                        <a:pt x="345568" y="104717"/>
                        <a:pt x="314152" y="104717"/>
                      </a:cubicBezTo>
                      <a:cubicBezTo>
                        <a:pt x="308514" y="104717"/>
                        <a:pt x="302070" y="105523"/>
                        <a:pt x="297236" y="107134"/>
                      </a:cubicBezTo>
                      <a:cubicBezTo>
                        <a:pt x="298042" y="103912"/>
                        <a:pt x="298042" y="100690"/>
                        <a:pt x="298042" y="96662"/>
                      </a:cubicBezTo>
                      <a:cubicBezTo>
                        <a:pt x="298042" y="65247"/>
                        <a:pt x="273071" y="40276"/>
                        <a:pt x="241656" y="40276"/>
                      </a:cubicBezTo>
                      <a:cubicBezTo>
                        <a:pt x="227962" y="40276"/>
                        <a:pt x="215074" y="45109"/>
                        <a:pt x="204602" y="53970"/>
                      </a:cubicBezTo>
                      <a:cubicBezTo>
                        <a:pt x="194130" y="22555"/>
                        <a:pt x="164326" y="0"/>
                        <a:pt x="128883" y="0"/>
                      </a:cubicBezTo>
                      <a:cubicBezTo>
                        <a:pt x="84579" y="0"/>
                        <a:pt x="48331" y="36248"/>
                        <a:pt x="48331" y="80552"/>
                      </a:cubicBezTo>
                      <a:cubicBezTo>
                        <a:pt x="48331" y="89412"/>
                        <a:pt x="49942" y="97468"/>
                        <a:pt x="52359" y="104717"/>
                      </a:cubicBezTo>
                      <a:cubicBezTo>
                        <a:pt x="22555" y="107134"/>
                        <a:pt x="0" y="131299"/>
                        <a:pt x="0" y="161104"/>
                      </a:cubicBezTo>
                      <a:cubicBezTo>
                        <a:pt x="0" y="192519"/>
                        <a:pt x="24971" y="217490"/>
                        <a:pt x="56386" y="217490"/>
                      </a:cubicBezTo>
                      <a:lnTo>
                        <a:pt x="64442" y="21749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1" name="Freeform: Shape 73">
                  <a:extLst>
                    <a:ext uri="{FF2B5EF4-FFF2-40B4-BE49-F238E27FC236}">
                      <a16:creationId xmlns:a16="http://schemas.microsoft.com/office/drawing/2014/main" id="{9F5FF97E-D21A-4C31-9D87-8B26A4951581}"/>
                    </a:ext>
                  </a:extLst>
                </p:cNvPr>
                <p:cNvSpPr/>
                <p:nvPr/>
              </p:nvSpPr>
              <p:spPr>
                <a:xfrm>
                  <a:off x="10570796" y="3288946"/>
                  <a:ext cx="4027" cy="18526"/>
                </a:xfrm>
                <a:custGeom>
                  <a:avLst/>
                  <a:gdLst>
                    <a:gd name="connsiteX0" fmla="*/ 0 w 4027"/>
                    <a:gd name="connsiteY0" fmla="*/ 0 h 18526"/>
                    <a:gd name="connsiteX1" fmla="*/ 4028 w 4027"/>
                    <a:gd name="connsiteY1" fmla="*/ 18527 h 18526"/>
                  </a:gdLst>
                  <a:ahLst/>
                  <a:cxnLst>
                    <a:cxn ang="0">
                      <a:pos x="connsiteX0" y="connsiteY0"/>
                    </a:cxn>
                    <a:cxn ang="0">
                      <a:pos x="connsiteX1" y="connsiteY1"/>
                    </a:cxn>
                  </a:cxnLst>
                  <a:rect l="l" t="t" r="r" b="b"/>
                  <a:pathLst>
                    <a:path w="4027" h="18526">
                      <a:moveTo>
                        <a:pt x="0" y="0"/>
                      </a:moveTo>
                      <a:cubicBezTo>
                        <a:pt x="2417" y="5639"/>
                        <a:pt x="3222" y="12083"/>
                        <a:pt x="4028"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2" name="Freeform: Shape 74">
                  <a:extLst>
                    <a:ext uri="{FF2B5EF4-FFF2-40B4-BE49-F238E27FC236}">
                      <a16:creationId xmlns:a16="http://schemas.microsoft.com/office/drawing/2014/main" id="{49FE44F8-9FBC-4E5F-A40E-D5FEAC5EC293}"/>
                    </a:ext>
                  </a:extLst>
                </p:cNvPr>
                <p:cNvSpPr/>
                <p:nvPr/>
              </p:nvSpPr>
              <p:spPr>
                <a:xfrm>
                  <a:off x="10656188" y="3342112"/>
                  <a:ext cx="7249" cy="18526"/>
                </a:xfrm>
                <a:custGeom>
                  <a:avLst/>
                  <a:gdLst>
                    <a:gd name="connsiteX0" fmla="*/ 7250 w 7249"/>
                    <a:gd name="connsiteY0" fmla="*/ 0 h 18526"/>
                    <a:gd name="connsiteX1" fmla="*/ 0 w 7249"/>
                    <a:gd name="connsiteY1" fmla="*/ 18527 h 18526"/>
                  </a:gdLst>
                  <a:ahLst/>
                  <a:cxnLst>
                    <a:cxn ang="0">
                      <a:pos x="connsiteX0" y="connsiteY0"/>
                    </a:cxn>
                    <a:cxn ang="0">
                      <a:pos x="connsiteX1" y="connsiteY1"/>
                    </a:cxn>
                  </a:cxnLst>
                  <a:rect l="l" t="t" r="r" b="b"/>
                  <a:pathLst>
                    <a:path w="7249" h="18526">
                      <a:moveTo>
                        <a:pt x="7250" y="0"/>
                      </a:moveTo>
                      <a:cubicBezTo>
                        <a:pt x="5639" y="6444"/>
                        <a:pt x="3222" y="12888"/>
                        <a:pt x="0" y="18527"/>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3" name="Freeform: Shape 75">
                  <a:extLst>
                    <a:ext uri="{FF2B5EF4-FFF2-40B4-BE49-F238E27FC236}">
                      <a16:creationId xmlns:a16="http://schemas.microsoft.com/office/drawing/2014/main" id="{FF2E8521-38A0-4A11-8143-685FC33D5838}"/>
                    </a:ext>
                  </a:extLst>
                </p:cNvPr>
                <p:cNvSpPr/>
                <p:nvPr/>
              </p:nvSpPr>
              <p:spPr>
                <a:xfrm>
                  <a:off x="10418569" y="3339394"/>
                  <a:ext cx="20943" cy="2718"/>
                </a:xfrm>
                <a:custGeom>
                  <a:avLst/>
                  <a:gdLst>
                    <a:gd name="connsiteX0" fmla="*/ 0 w 20943"/>
                    <a:gd name="connsiteY0" fmla="*/ 302 h 2718"/>
                    <a:gd name="connsiteX1" fmla="*/ 20943 w 20943"/>
                    <a:gd name="connsiteY1" fmla="*/ 2719 h 2718"/>
                  </a:gdLst>
                  <a:ahLst/>
                  <a:cxnLst>
                    <a:cxn ang="0">
                      <a:pos x="connsiteX0" y="connsiteY0"/>
                    </a:cxn>
                    <a:cxn ang="0">
                      <a:pos x="connsiteX1" y="connsiteY1"/>
                    </a:cxn>
                  </a:cxnLst>
                  <a:rect l="l" t="t" r="r" b="b"/>
                  <a:pathLst>
                    <a:path w="20943" h="2718">
                      <a:moveTo>
                        <a:pt x="0" y="302"/>
                      </a:moveTo>
                      <a:cubicBezTo>
                        <a:pt x="7250" y="-503"/>
                        <a:pt x="13694" y="302"/>
                        <a:pt x="20943" y="2719"/>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4" name="Freeform: Shape 76">
                  <a:extLst>
                    <a:ext uri="{FF2B5EF4-FFF2-40B4-BE49-F238E27FC236}">
                      <a16:creationId xmlns:a16="http://schemas.microsoft.com/office/drawing/2014/main" id="{B81F8686-DD50-47C7-ABB1-339B26F87218}"/>
                    </a:ext>
                  </a:extLst>
                </p:cNvPr>
                <p:cNvSpPr/>
                <p:nvPr/>
              </p:nvSpPr>
              <p:spPr>
                <a:xfrm>
                  <a:off x="10551480" y="3371917"/>
                  <a:ext cx="80551" cy="104717"/>
                </a:xfrm>
                <a:custGeom>
                  <a:avLst/>
                  <a:gdLst>
                    <a:gd name="connsiteX0" fmla="*/ 0 w 80551"/>
                    <a:gd name="connsiteY0" fmla="*/ 0 h 104717"/>
                    <a:gd name="connsiteX1" fmla="*/ 80552 w 80551"/>
                    <a:gd name="connsiteY1" fmla="*/ 80552 h 104717"/>
                    <a:gd name="connsiteX2" fmla="*/ 80552 w 80551"/>
                    <a:gd name="connsiteY2" fmla="*/ 104717 h 104717"/>
                  </a:gdLst>
                  <a:ahLst/>
                  <a:cxnLst>
                    <a:cxn ang="0">
                      <a:pos x="connsiteX0" y="connsiteY0"/>
                    </a:cxn>
                    <a:cxn ang="0">
                      <a:pos x="connsiteX1" y="connsiteY1"/>
                    </a:cxn>
                    <a:cxn ang="0">
                      <a:pos x="connsiteX2" y="connsiteY2"/>
                    </a:cxn>
                  </a:cxnLst>
                  <a:rect l="l" t="t" r="r" b="b"/>
                  <a:pathLst>
                    <a:path w="80551" h="104717">
                      <a:moveTo>
                        <a:pt x="0" y="0"/>
                      </a:moveTo>
                      <a:cubicBezTo>
                        <a:pt x="44304" y="0"/>
                        <a:pt x="80552" y="36248"/>
                        <a:pt x="80552" y="80552"/>
                      </a:cubicBezTo>
                      <a:lnTo>
                        <a:pt x="80552" y="104717"/>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5" name="Freeform: Shape 77">
                  <a:extLst>
                    <a:ext uri="{FF2B5EF4-FFF2-40B4-BE49-F238E27FC236}">
                      <a16:creationId xmlns:a16="http://schemas.microsoft.com/office/drawing/2014/main" id="{21A845DF-AED9-4151-8101-9BD06E7541FD}"/>
                    </a:ext>
                  </a:extLst>
                </p:cNvPr>
                <p:cNvSpPr/>
                <p:nvPr/>
              </p:nvSpPr>
              <p:spPr>
                <a:xfrm>
                  <a:off x="10551480" y="3492743"/>
                  <a:ext cx="70080" cy="40275"/>
                </a:xfrm>
                <a:custGeom>
                  <a:avLst/>
                  <a:gdLst>
                    <a:gd name="connsiteX0" fmla="*/ 70080 w 70080"/>
                    <a:gd name="connsiteY0" fmla="*/ 0 h 40275"/>
                    <a:gd name="connsiteX1" fmla="*/ 0 w 70080"/>
                    <a:gd name="connsiteY1" fmla="*/ 40276 h 40275"/>
                  </a:gdLst>
                  <a:ahLst/>
                  <a:cxnLst>
                    <a:cxn ang="0">
                      <a:pos x="connsiteX0" y="connsiteY0"/>
                    </a:cxn>
                    <a:cxn ang="0">
                      <a:pos x="connsiteX1" y="connsiteY1"/>
                    </a:cxn>
                  </a:cxnLst>
                  <a:rect l="l" t="t" r="r" b="b"/>
                  <a:pathLst>
                    <a:path w="70080" h="40275">
                      <a:moveTo>
                        <a:pt x="70080" y="0"/>
                      </a:moveTo>
                      <a:cubicBezTo>
                        <a:pt x="56386" y="24166"/>
                        <a:pt x="29804" y="40276"/>
                        <a:pt x="0" y="40276"/>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6" name="Freeform: Shape 78">
                  <a:extLst>
                    <a:ext uri="{FF2B5EF4-FFF2-40B4-BE49-F238E27FC236}">
                      <a16:creationId xmlns:a16="http://schemas.microsoft.com/office/drawing/2014/main" id="{26A874DC-D12B-46FE-AD26-5ABF92B06978}"/>
                    </a:ext>
                  </a:extLst>
                </p:cNvPr>
                <p:cNvSpPr/>
                <p:nvPr/>
              </p:nvSpPr>
              <p:spPr>
                <a:xfrm>
                  <a:off x="10607850" y="3452468"/>
                  <a:ext cx="48331" cy="24165"/>
                </a:xfrm>
                <a:custGeom>
                  <a:avLst/>
                  <a:gdLst>
                    <a:gd name="connsiteX0" fmla="*/ 48331 w 48331"/>
                    <a:gd name="connsiteY0" fmla="*/ 0 h 24165"/>
                    <a:gd name="connsiteX1" fmla="*/ 24166 w 48331"/>
                    <a:gd name="connsiteY1" fmla="*/ 24166 h 24165"/>
                    <a:gd name="connsiteX2" fmla="*/ 0 w 48331"/>
                    <a:gd name="connsiteY2" fmla="*/ 0 h 24165"/>
                  </a:gdLst>
                  <a:ahLst/>
                  <a:cxnLst>
                    <a:cxn ang="0">
                      <a:pos x="connsiteX0" y="connsiteY0"/>
                    </a:cxn>
                    <a:cxn ang="0">
                      <a:pos x="connsiteX1" y="connsiteY1"/>
                    </a:cxn>
                    <a:cxn ang="0">
                      <a:pos x="connsiteX2" y="connsiteY2"/>
                    </a:cxn>
                  </a:cxnLst>
                  <a:rect l="l" t="t" r="r" b="b"/>
                  <a:pathLst>
                    <a:path w="48331" h="24165">
                      <a:moveTo>
                        <a:pt x="48331" y="0"/>
                      </a:moveTo>
                      <a:lnTo>
                        <a:pt x="24166" y="24166"/>
                      </a:ln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7" name="Freeform: Shape 79">
                  <a:extLst>
                    <a:ext uri="{FF2B5EF4-FFF2-40B4-BE49-F238E27FC236}">
                      <a16:creationId xmlns:a16="http://schemas.microsoft.com/office/drawing/2014/main" id="{CB896116-1A98-4E60-99FF-3BE629328416}"/>
                    </a:ext>
                  </a:extLst>
                </p:cNvPr>
                <p:cNvSpPr/>
                <p:nvPr/>
              </p:nvSpPr>
              <p:spPr>
                <a:xfrm>
                  <a:off x="10470912" y="3428302"/>
                  <a:ext cx="80551" cy="104717"/>
                </a:xfrm>
                <a:custGeom>
                  <a:avLst/>
                  <a:gdLst>
                    <a:gd name="connsiteX0" fmla="*/ 80552 w 80551"/>
                    <a:gd name="connsiteY0" fmla="*/ 104717 h 104717"/>
                    <a:gd name="connsiteX1" fmla="*/ 0 w 80551"/>
                    <a:gd name="connsiteY1" fmla="*/ 24166 h 104717"/>
                    <a:gd name="connsiteX2" fmla="*/ 0 w 80551"/>
                    <a:gd name="connsiteY2" fmla="*/ 0 h 104717"/>
                  </a:gdLst>
                  <a:ahLst/>
                  <a:cxnLst>
                    <a:cxn ang="0">
                      <a:pos x="connsiteX0" y="connsiteY0"/>
                    </a:cxn>
                    <a:cxn ang="0">
                      <a:pos x="connsiteX1" y="connsiteY1"/>
                    </a:cxn>
                    <a:cxn ang="0">
                      <a:pos x="connsiteX2" y="connsiteY2"/>
                    </a:cxn>
                  </a:cxnLst>
                  <a:rect l="l" t="t" r="r" b="b"/>
                  <a:pathLst>
                    <a:path w="80551" h="104717">
                      <a:moveTo>
                        <a:pt x="80552" y="104717"/>
                      </a:moveTo>
                      <a:cubicBezTo>
                        <a:pt x="36248" y="104717"/>
                        <a:pt x="0" y="68469"/>
                        <a:pt x="0" y="24166"/>
                      </a:cubicBezTo>
                      <a:lnTo>
                        <a:pt x="0" y="0"/>
                      </a:ln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8" name="Freeform: Shape 80">
                  <a:extLst>
                    <a:ext uri="{FF2B5EF4-FFF2-40B4-BE49-F238E27FC236}">
                      <a16:creationId xmlns:a16="http://schemas.microsoft.com/office/drawing/2014/main" id="{27AC7F2D-7A29-4A1A-A641-18F8D5EB3E10}"/>
                    </a:ext>
                  </a:extLst>
                </p:cNvPr>
                <p:cNvSpPr/>
                <p:nvPr/>
              </p:nvSpPr>
              <p:spPr>
                <a:xfrm>
                  <a:off x="10481397" y="3371908"/>
                  <a:ext cx="70080" cy="40274"/>
                </a:xfrm>
                <a:custGeom>
                  <a:avLst/>
                  <a:gdLst>
                    <a:gd name="connsiteX0" fmla="*/ 0 w 70080"/>
                    <a:gd name="connsiteY0" fmla="*/ 40276 h 40275"/>
                    <a:gd name="connsiteX1" fmla="*/ 70080 w 70080"/>
                    <a:gd name="connsiteY1" fmla="*/ 0 h 40275"/>
                  </a:gdLst>
                  <a:ahLst/>
                  <a:cxnLst>
                    <a:cxn ang="0">
                      <a:pos x="connsiteX0" y="connsiteY0"/>
                    </a:cxn>
                    <a:cxn ang="0">
                      <a:pos x="connsiteX1" y="connsiteY1"/>
                    </a:cxn>
                  </a:cxnLst>
                  <a:rect l="l" t="t" r="r" b="b"/>
                  <a:pathLst>
                    <a:path w="70080" h="40275">
                      <a:moveTo>
                        <a:pt x="0" y="40276"/>
                      </a:moveTo>
                      <a:cubicBezTo>
                        <a:pt x="13694" y="16110"/>
                        <a:pt x="40276" y="0"/>
                        <a:pt x="70080" y="0"/>
                      </a:cubicBezTo>
                    </a:path>
                  </a:pathLst>
                </a:custGeom>
                <a:no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39" name="Freeform: Shape 81">
                  <a:extLst>
                    <a:ext uri="{FF2B5EF4-FFF2-40B4-BE49-F238E27FC236}">
                      <a16:creationId xmlns:a16="http://schemas.microsoft.com/office/drawing/2014/main" id="{0FA4BB5F-AC94-41C2-B00A-F241814AFE54}"/>
                    </a:ext>
                  </a:extLst>
                </p:cNvPr>
                <p:cNvSpPr/>
                <p:nvPr/>
              </p:nvSpPr>
              <p:spPr>
                <a:xfrm>
                  <a:off x="10446769" y="3428317"/>
                  <a:ext cx="48331" cy="24165"/>
                </a:xfrm>
                <a:custGeom>
                  <a:avLst/>
                  <a:gdLst>
                    <a:gd name="connsiteX0" fmla="*/ 0 w 48331"/>
                    <a:gd name="connsiteY0" fmla="*/ 24166 h 24165"/>
                    <a:gd name="connsiteX1" fmla="*/ 24166 w 48331"/>
                    <a:gd name="connsiteY1" fmla="*/ 0 h 24165"/>
                    <a:gd name="connsiteX2" fmla="*/ 48331 w 48331"/>
                    <a:gd name="connsiteY2" fmla="*/ 24166 h 24165"/>
                  </a:gdLst>
                  <a:ahLst/>
                  <a:cxnLst>
                    <a:cxn ang="0">
                      <a:pos x="connsiteX0" y="connsiteY0"/>
                    </a:cxn>
                    <a:cxn ang="0">
                      <a:pos x="connsiteX1" y="connsiteY1"/>
                    </a:cxn>
                    <a:cxn ang="0">
                      <a:pos x="connsiteX2" y="connsiteY2"/>
                    </a:cxn>
                  </a:cxnLst>
                  <a:rect l="l" t="t" r="r" b="b"/>
                  <a:pathLst>
                    <a:path w="48331" h="24165">
                      <a:moveTo>
                        <a:pt x="0" y="24166"/>
                      </a:moveTo>
                      <a:lnTo>
                        <a:pt x="24166" y="0"/>
                      </a:lnTo>
                      <a:lnTo>
                        <a:pt x="48331" y="24166"/>
                      </a:lnTo>
                    </a:path>
                  </a:pathLst>
                </a:custGeom>
                <a:noFill/>
                <a:ln w="15875" cap="flat">
                  <a:solidFill>
                    <a:schemeClr val="tx1">
                      <a:lumMod val="75000"/>
                    </a:schemeClr>
                  </a:solidFill>
                  <a:prstDash val="solid"/>
                  <a:round/>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229" name="Oval 228">
                <a:extLst>
                  <a:ext uri="{FF2B5EF4-FFF2-40B4-BE49-F238E27FC236}">
                    <a16:creationId xmlns:a16="http://schemas.microsoft.com/office/drawing/2014/main" id="{763A7B7C-68B1-43D5-8818-8207362A2C44}"/>
                  </a:ext>
                </a:extLst>
              </p:cNvPr>
              <p:cNvSpPr/>
              <p:nvPr/>
            </p:nvSpPr>
            <p:spPr bwMode="auto">
              <a:xfrm>
                <a:off x="8709078" y="1140205"/>
                <a:ext cx="85826" cy="85826"/>
              </a:xfrm>
              <a:prstGeom prst="ellipse">
                <a:avLst/>
              </a:prstGeom>
              <a:solidFill>
                <a:schemeClr val="bg2"/>
              </a:solidFill>
              <a:ln w="15875" algn="ctr">
                <a:solidFill>
                  <a:schemeClr val="tx1">
                    <a:lumMod val="75000"/>
                  </a:schemeClr>
                </a:solid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852" fontAlgn="base">
                  <a:lnSpc>
                    <a:spcPct val="80000"/>
                  </a:lnSpc>
                  <a:spcBef>
                    <a:spcPts val="1200"/>
                  </a:spcBef>
                  <a:buClr>
                    <a:srgbClr val="FF0000"/>
                  </a:buClr>
                  <a:buSzPct val="115000"/>
                  <a:defRPr/>
                </a:pPr>
                <a:endParaRPr lang="en-US" kern="1200" dirty="0">
                  <a:solidFill>
                    <a:srgbClr val="4D4D4F"/>
                  </a:solidFill>
                  <a:latin typeface="+mj-lt"/>
                  <a:ea typeface="+mn-ea"/>
                  <a:cs typeface="Calibri" panose="020F0502020204030204" pitchFamily="34" charset="0"/>
                </a:endParaRPr>
              </a:p>
            </p:txBody>
          </p:sp>
        </p:grpSp>
      </p:grpSp>
      <p:grpSp>
        <p:nvGrpSpPr>
          <p:cNvPr id="240" name="Group 239"/>
          <p:cNvGrpSpPr/>
          <p:nvPr/>
        </p:nvGrpSpPr>
        <p:grpSpPr>
          <a:xfrm>
            <a:off x="9581826" y="1408574"/>
            <a:ext cx="1995629" cy="609948"/>
            <a:chOff x="9688516" y="2966720"/>
            <a:chExt cx="1996149" cy="610107"/>
          </a:xfrm>
        </p:grpSpPr>
        <p:sp>
          <p:nvSpPr>
            <p:cNvPr id="241" name="Rectangle: Rounded Corners 193">
              <a:extLst>
                <a:ext uri="{FF2B5EF4-FFF2-40B4-BE49-F238E27FC236}">
                  <a16:creationId xmlns:a16="http://schemas.microsoft.com/office/drawing/2014/main" id="{20BE177B-3FCA-49C0-88C7-F5C55DC47EF5}"/>
                </a:ext>
              </a:extLst>
            </p:cNvPr>
            <p:cNvSpPr/>
            <p:nvPr/>
          </p:nvSpPr>
          <p:spPr bwMode="auto">
            <a:xfrm>
              <a:off x="9688516" y="2966720"/>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rgbClr val="920053"/>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242" name="Group 241">
              <a:extLst>
                <a:ext uri="{FF2B5EF4-FFF2-40B4-BE49-F238E27FC236}">
                  <a16:creationId xmlns:a16="http://schemas.microsoft.com/office/drawing/2014/main" id="{42FF0A0B-CFEF-489D-AAF4-BE77840503E3}"/>
                </a:ext>
              </a:extLst>
            </p:cNvPr>
            <p:cNvGrpSpPr/>
            <p:nvPr/>
          </p:nvGrpSpPr>
          <p:grpSpPr>
            <a:xfrm>
              <a:off x="9871816" y="3024347"/>
              <a:ext cx="1795129" cy="511474"/>
              <a:chOff x="6033979" y="1347240"/>
              <a:chExt cx="1795596" cy="511607"/>
            </a:xfrm>
          </p:grpSpPr>
          <p:sp>
            <p:nvSpPr>
              <p:cNvPr id="243" name="TextBox 242">
                <a:extLst>
                  <a:ext uri="{FF2B5EF4-FFF2-40B4-BE49-F238E27FC236}">
                    <a16:creationId xmlns:a16="http://schemas.microsoft.com/office/drawing/2014/main" id="{F77BA6B0-F0C8-4094-9D69-EA22211F0930}"/>
                  </a:ext>
                </a:extLst>
              </p:cNvPr>
              <p:cNvSpPr txBox="1"/>
              <p:nvPr/>
            </p:nvSpPr>
            <p:spPr bwMode="auto">
              <a:xfrm>
                <a:off x="6382142" y="1440597"/>
                <a:ext cx="1447433" cy="307888"/>
              </a:xfrm>
              <a:prstGeom prst="rect">
                <a:avLst/>
              </a:prstGeom>
              <a:noFill/>
              <a:ln w="19050">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WWW</a:t>
                </a:r>
              </a:p>
            </p:txBody>
          </p:sp>
          <p:sp>
            <p:nvSpPr>
              <p:cNvPr id="244" name="Freeform: Shape 29">
                <a:extLst>
                  <a:ext uri="{FF2B5EF4-FFF2-40B4-BE49-F238E27FC236}">
                    <a16:creationId xmlns:a16="http://schemas.microsoft.com/office/drawing/2014/main" id="{9944BD7E-9B93-4FA0-A158-A3B3CD25F529}"/>
                  </a:ext>
                </a:extLst>
              </p:cNvPr>
              <p:cNvSpPr/>
              <p:nvPr/>
            </p:nvSpPr>
            <p:spPr>
              <a:xfrm>
                <a:off x="6309164" y="1409522"/>
                <a:ext cx="91728" cy="54496"/>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45" name="Freeform: Shape 30">
                <a:extLst>
                  <a:ext uri="{FF2B5EF4-FFF2-40B4-BE49-F238E27FC236}">
                    <a16:creationId xmlns:a16="http://schemas.microsoft.com/office/drawing/2014/main" id="{6EC57326-56D8-4EF3-821A-CEE9EF95A197}"/>
                  </a:ext>
                </a:extLst>
              </p:cNvPr>
              <p:cNvSpPr/>
              <p:nvPr/>
            </p:nvSpPr>
            <p:spPr>
              <a:xfrm>
                <a:off x="6447876" y="1547434"/>
                <a:ext cx="11186" cy="111219"/>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46" name="Freeform: Shape 31">
                <a:extLst>
                  <a:ext uri="{FF2B5EF4-FFF2-40B4-BE49-F238E27FC236}">
                    <a16:creationId xmlns:a16="http://schemas.microsoft.com/office/drawing/2014/main" id="{B272364B-F875-4B3A-BB91-292796089377}"/>
                  </a:ext>
                </a:extLst>
              </p:cNvPr>
              <p:cNvSpPr/>
              <p:nvPr/>
            </p:nvSpPr>
            <p:spPr>
              <a:xfrm>
                <a:off x="6067538" y="1547434"/>
                <a:ext cx="11186" cy="111219"/>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47" name="Freeform: Shape 32">
                <a:extLst>
                  <a:ext uri="{FF2B5EF4-FFF2-40B4-BE49-F238E27FC236}">
                    <a16:creationId xmlns:a16="http://schemas.microsoft.com/office/drawing/2014/main" id="{2A74E3AA-5E29-4CA1-B687-44FCD4124974}"/>
                  </a:ext>
                </a:extLst>
              </p:cNvPr>
              <p:cNvSpPr/>
              <p:nvPr/>
            </p:nvSpPr>
            <p:spPr>
              <a:xfrm>
                <a:off x="6114522" y="1409522"/>
                <a:ext cx="91729" cy="54496"/>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48" name="Freeform: Shape 33">
                <a:extLst>
                  <a:ext uri="{FF2B5EF4-FFF2-40B4-BE49-F238E27FC236}">
                    <a16:creationId xmlns:a16="http://schemas.microsoft.com/office/drawing/2014/main" id="{5C467E6E-135D-46DB-BC9B-C134D9464C75}"/>
                  </a:ext>
                </a:extLst>
              </p:cNvPr>
              <p:cNvSpPr/>
              <p:nvPr/>
            </p:nvSpPr>
            <p:spPr>
              <a:xfrm>
                <a:off x="6309164" y="1743180"/>
                <a:ext cx="91728" cy="54496"/>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49" name="Freeform: Shape 34">
                <a:extLst>
                  <a:ext uri="{FF2B5EF4-FFF2-40B4-BE49-F238E27FC236}">
                    <a16:creationId xmlns:a16="http://schemas.microsoft.com/office/drawing/2014/main" id="{E63AB3AF-3392-479D-830B-128AD866E6BA}"/>
                  </a:ext>
                </a:extLst>
              </p:cNvPr>
              <p:cNvSpPr/>
              <p:nvPr/>
            </p:nvSpPr>
            <p:spPr>
              <a:xfrm>
                <a:off x="6114522" y="1743180"/>
                <a:ext cx="91729" cy="54496"/>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0" name="Freeform: Shape 35">
                <a:extLst>
                  <a:ext uri="{FF2B5EF4-FFF2-40B4-BE49-F238E27FC236}">
                    <a16:creationId xmlns:a16="http://schemas.microsoft.com/office/drawing/2014/main" id="{994C1072-41E1-42D0-9ECE-C95141C71F00}"/>
                  </a:ext>
                </a:extLst>
              </p:cNvPr>
              <p:cNvSpPr/>
              <p:nvPr/>
            </p:nvSpPr>
            <p:spPr>
              <a:xfrm>
                <a:off x="6224148" y="1347240"/>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1" name="Freeform: Shape 36">
                <a:extLst>
                  <a:ext uri="{FF2B5EF4-FFF2-40B4-BE49-F238E27FC236}">
                    <a16:creationId xmlns:a16="http://schemas.microsoft.com/office/drawing/2014/main" id="{9641CC1E-03E0-446D-83C5-F9BC662B5838}"/>
                  </a:ext>
                </a:extLst>
              </p:cNvPr>
              <p:cNvSpPr/>
              <p:nvPr/>
            </p:nvSpPr>
            <p:spPr>
              <a:xfrm>
                <a:off x="6224087" y="1792116"/>
                <a:ext cx="67238" cy="66731"/>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2" name="Freeform: Shape 37">
                <a:extLst>
                  <a:ext uri="{FF2B5EF4-FFF2-40B4-BE49-F238E27FC236}">
                    <a16:creationId xmlns:a16="http://schemas.microsoft.com/office/drawing/2014/main" id="{38077D82-7E41-4ECC-A30E-462FC825657B}"/>
                  </a:ext>
                </a:extLst>
              </p:cNvPr>
              <p:cNvSpPr/>
              <p:nvPr/>
            </p:nvSpPr>
            <p:spPr>
              <a:xfrm>
                <a:off x="6414317"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3" name="Freeform: Shape 38">
                <a:extLst>
                  <a:ext uri="{FF2B5EF4-FFF2-40B4-BE49-F238E27FC236}">
                    <a16:creationId xmlns:a16="http://schemas.microsoft.com/office/drawing/2014/main" id="{70F87242-66D2-4C92-866C-D4EB854A6F9F}"/>
                  </a:ext>
                </a:extLst>
              </p:cNvPr>
              <p:cNvSpPr/>
              <p:nvPr/>
            </p:nvSpPr>
            <p:spPr>
              <a:xfrm>
                <a:off x="6033979" y="1680898"/>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4" name="Freeform: Shape 39">
                <a:extLst>
                  <a:ext uri="{FF2B5EF4-FFF2-40B4-BE49-F238E27FC236}">
                    <a16:creationId xmlns:a16="http://schemas.microsoft.com/office/drawing/2014/main" id="{A470986A-7961-4CBA-ABA9-70AFCC95C32D}"/>
                  </a:ext>
                </a:extLst>
              </p:cNvPr>
              <p:cNvSpPr/>
              <p:nvPr/>
            </p:nvSpPr>
            <p:spPr>
              <a:xfrm>
                <a:off x="6033979"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5" name="Freeform: Shape 40">
                <a:extLst>
                  <a:ext uri="{FF2B5EF4-FFF2-40B4-BE49-F238E27FC236}">
                    <a16:creationId xmlns:a16="http://schemas.microsoft.com/office/drawing/2014/main" id="{40F2ADF2-0E1F-408A-BDED-CB6AB1A3E8B3}"/>
                  </a:ext>
                </a:extLst>
              </p:cNvPr>
              <p:cNvSpPr/>
              <p:nvPr/>
            </p:nvSpPr>
            <p:spPr>
              <a:xfrm>
                <a:off x="6123470" y="1469581"/>
                <a:ext cx="268474" cy="266926"/>
              </a:xfrm>
              <a:custGeom>
                <a:avLst/>
                <a:gdLst>
                  <a:gd name="connsiteX0" fmla="*/ 114300 w 228600"/>
                  <a:gd name="connsiteY0" fmla="*/ 228600 h 228600"/>
                  <a:gd name="connsiteX1" fmla="*/ 228600 w 228600"/>
                  <a:gd name="connsiteY1" fmla="*/ 114300 h 228600"/>
                  <a:gd name="connsiteX2" fmla="*/ 114300 w 228600"/>
                  <a:gd name="connsiteY2" fmla="*/ 0 h 228600"/>
                  <a:gd name="connsiteX3" fmla="*/ 0 w 228600"/>
                  <a:gd name="connsiteY3" fmla="*/ 114300 h 228600"/>
                  <a:gd name="connsiteX4" fmla="*/ 114300 w 228600"/>
                  <a:gd name="connsiteY4" fmla="*/ 2286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228600"/>
                    </a:moveTo>
                    <a:cubicBezTo>
                      <a:pt x="177165" y="228600"/>
                      <a:pt x="228600" y="177165"/>
                      <a:pt x="228600" y="114300"/>
                    </a:cubicBezTo>
                    <a:cubicBezTo>
                      <a:pt x="228600" y="51435"/>
                      <a:pt x="177165" y="0"/>
                      <a:pt x="114300" y="0"/>
                    </a:cubicBezTo>
                    <a:cubicBezTo>
                      <a:pt x="51435" y="0"/>
                      <a:pt x="0" y="51435"/>
                      <a:pt x="0" y="114300"/>
                    </a:cubicBezTo>
                    <a:cubicBezTo>
                      <a:pt x="0" y="177165"/>
                      <a:pt x="51435" y="228600"/>
                      <a:pt x="114300" y="228600"/>
                    </a:cubicBezTo>
                    <a:close/>
                  </a:path>
                </a:pathLst>
              </a:custGeom>
              <a:solidFill>
                <a:schemeClr val="bg1"/>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6" name="Freeform: Shape 41">
                <a:extLst>
                  <a:ext uri="{FF2B5EF4-FFF2-40B4-BE49-F238E27FC236}">
                    <a16:creationId xmlns:a16="http://schemas.microsoft.com/office/drawing/2014/main" id="{4E31B966-4FA2-47C3-ADC6-1D1C48D2D576}"/>
                  </a:ext>
                </a:extLst>
              </p:cNvPr>
              <p:cNvSpPr/>
              <p:nvPr/>
            </p:nvSpPr>
            <p:spPr>
              <a:xfrm>
                <a:off x="6190589" y="1469581"/>
                <a:ext cx="134237" cy="266926"/>
              </a:xfrm>
              <a:custGeom>
                <a:avLst/>
                <a:gdLst>
                  <a:gd name="connsiteX0" fmla="*/ 57150 w 114300"/>
                  <a:gd name="connsiteY0" fmla="*/ 0 h 228600"/>
                  <a:gd name="connsiteX1" fmla="*/ 0 w 114300"/>
                  <a:gd name="connsiteY1" fmla="*/ 114300 h 228600"/>
                  <a:gd name="connsiteX2" fmla="*/ 57150 w 114300"/>
                  <a:gd name="connsiteY2" fmla="*/ 228600 h 228600"/>
                  <a:gd name="connsiteX3" fmla="*/ 114300 w 114300"/>
                  <a:gd name="connsiteY3" fmla="*/ 114300 h 228600"/>
                  <a:gd name="connsiteX4" fmla="*/ 57150 w 1143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28600">
                    <a:moveTo>
                      <a:pt x="57150" y="0"/>
                    </a:moveTo>
                    <a:cubicBezTo>
                      <a:pt x="25718" y="0"/>
                      <a:pt x="0" y="51435"/>
                      <a:pt x="0" y="114300"/>
                    </a:cubicBezTo>
                    <a:cubicBezTo>
                      <a:pt x="0" y="177165"/>
                      <a:pt x="25718" y="228600"/>
                      <a:pt x="57150" y="228600"/>
                    </a:cubicBezTo>
                    <a:cubicBezTo>
                      <a:pt x="88582" y="228600"/>
                      <a:pt x="114300" y="177165"/>
                      <a:pt x="114300" y="114300"/>
                    </a:cubicBezTo>
                    <a:cubicBezTo>
                      <a:pt x="114300" y="51435"/>
                      <a:pt x="88582" y="0"/>
                      <a:pt x="57150" y="0"/>
                    </a:cubicBezTo>
                    <a:close/>
                  </a:path>
                </a:pathLst>
              </a:custGeom>
              <a:no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7" name="Freeform: Shape 42">
                <a:extLst>
                  <a:ext uri="{FF2B5EF4-FFF2-40B4-BE49-F238E27FC236}">
                    <a16:creationId xmlns:a16="http://schemas.microsoft.com/office/drawing/2014/main" id="{24C16153-6934-467A-84C4-C89B84623FF2}"/>
                  </a:ext>
                </a:extLst>
              </p:cNvPr>
              <p:cNvSpPr/>
              <p:nvPr/>
            </p:nvSpPr>
            <p:spPr>
              <a:xfrm>
                <a:off x="6134656" y="1558556"/>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8" name="Freeform: Shape 43">
                <a:extLst>
                  <a:ext uri="{FF2B5EF4-FFF2-40B4-BE49-F238E27FC236}">
                    <a16:creationId xmlns:a16="http://schemas.microsoft.com/office/drawing/2014/main" id="{91840EE9-27D2-4EDB-87B9-BEC38AF11DBF}"/>
                  </a:ext>
                </a:extLst>
              </p:cNvPr>
              <p:cNvSpPr/>
              <p:nvPr/>
            </p:nvSpPr>
            <p:spPr>
              <a:xfrm>
                <a:off x="6134656" y="1647532"/>
                <a:ext cx="246101" cy="11122"/>
              </a:xfrm>
              <a:custGeom>
                <a:avLst/>
                <a:gdLst>
                  <a:gd name="connsiteX0" fmla="*/ 209550 w 209550"/>
                  <a:gd name="connsiteY0" fmla="*/ 0 h 9525"/>
                  <a:gd name="connsiteX1" fmla="*/ 0 w 209550"/>
                  <a:gd name="connsiteY1" fmla="*/ 0 h 9525"/>
                </a:gdLst>
                <a:ahLst/>
                <a:cxnLst>
                  <a:cxn ang="0">
                    <a:pos x="connsiteX0" y="connsiteY0"/>
                  </a:cxn>
                  <a:cxn ang="0">
                    <a:pos x="connsiteX1" y="connsiteY1"/>
                  </a:cxn>
                </a:cxnLst>
                <a:rect l="l" t="t" r="r" b="b"/>
                <a:pathLst>
                  <a:path w="209550" h="9525">
                    <a:moveTo>
                      <a:pt x="209550" y="0"/>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59" name="Freeform: Shape 44">
                <a:extLst>
                  <a:ext uri="{FF2B5EF4-FFF2-40B4-BE49-F238E27FC236}">
                    <a16:creationId xmlns:a16="http://schemas.microsoft.com/office/drawing/2014/main" id="{5637FA39-9EE5-42BD-BC7E-DB87A41570B9}"/>
                  </a:ext>
                </a:extLst>
              </p:cNvPr>
              <p:cNvSpPr/>
              <p:nvPr/>
            </p:nvSpPr>
            <p:spPr>
              <a:xfrm>
                <a:off x="6257707" y="1469581"/>
                <a:ext cx="11186" cy="266926"/>
              </a:xfrm>
              <a:custGeom>
                <a:avLst/>
                <a:gdLst>
                  <a:gd name="connsiteX0" fmla="*/ 0 w 9525"/>
                  <a:gd name="connsiteY0" fmla="*/ 0 h 228600"/>
                  <a:gd name="connsiteX1" fmla="*/ 0 w 9525"/>
                  <a:gd name="connsiteY1" fmla="*/ 228600 h 228600"/>
                </a:gdLst>
                <a:ahLst/>
                <a:cxnLst>
                  <a:cxn ang="0">
                    <a:pos x="connsiteX0" y="connsiteY0"/>
                  </a:cxn>
                  <a:cxn ang="0">
                    <a:pos x="connsiteX1" y="connsiteY1"/>
                  </a:cxn>
                </a:cxnLst>
                <a:rect l="l" t="t" r="r" b="b"/>
                <a:pathLst>
                  <a:path w="9525" h="228600">
                    <a:moveTo>
                      <a:pt x="0" y="0"/>
                    </a:moveTo>
                    <a:lnTo>
                      <a:pt x="0" y="22860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0" name="Freeform: Shape 45">
                <a:extLst>
                  <a:ext uri="{FF2B5EF4-FFF2-40B4-BE49-F238E27FC236}">
                    <a16:creationId xmlns:a16="http://schemas.microsoft.com/office/drawing/2014/main" id="{96C2CFF1-7644-497B-A31F-D64F86AD6063}"/>
                  </a:ext>
                </a:extLst>
              </p:cNvPr>
              <p:cNvSpPr/>
              <p:nvPr/>
            </p:nvSpPr>
            <p:spPr>
              <a:xfrm>
                <a:off x="6096623" y="1678673"/>
                <a:ext cx="25728" cy="1668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1" name="Freeform: Shape 46">
                <a:extLst>
                  <a:ext uri="{FF2B5EF4-FFF2-40B4-BE49-F238E27FC236}">
                    <a16:creationId xmlns:a16="http://schemas.microsoft.com/office/drawing/2014/main" id="{22E3463B-86CB-4E0E-8776-60C8595739BD}"/>
                  </a:ext>
                </a:extLst>
              </p:cNvPr>
              <p:cNvSpPr/>
              <p:nvPr/>
            </p:nvSpPr>
            <p:spPr>
              <a:xfrm>
                <a:off x="6393062" y="1678673"/>
                <a:ext cx="24609" cy="1668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2" name="Freeform: Shape 47">
                <a:extLst>
                  <a:ext uri="{FF2B5EF4-FFF2-40B4-BE49-F238E27FC236}">
                    <a16:creationId xmlns:a16="http://schemas.microsoft.com/office/drawing/2014/main" id="{C663E5FA-A946-49ED-B156-2EF5ABA70D2E}"/>
                  </a:ext>
                </a:extLst>
              </p:cNvPr>
              <p:cNvSpPr/>
              <p:nvPr/>
            </p:nvSpPr>
            <p:spPr>
              <a:xfrm>
                <a:off x="6393062" y="1510731"/>
                <a:ext cx="24609" cy="1668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3" name="Freeform: Shape 48">
                <a:extLst>
                  <a:ext uri="{FF2B5EF4-FFF2-40B4-BE49-F238E27FC236}">
                    <a16:creationId xmlns:a16="http://schemas.microsoft.com/office/drawing/2014/main" id="{19817207-07CA-469D-9B7F-62431848C245}"/>
                  </a:ext>
                </a:extLst>
              </p:cNvPr>
              <p:cNvSpPr/>
              <p:nvPr/>
            </p:nvSpPr>
            <p:spPr>
              <a:xfrm>
                <a:off x="6096623" y="1510731"/>
                <a:ext cx="25728" cy="1668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4" name="Freeform: Shape 49">
                <a:extLst>
                  <a:ext uri="{FF2B5EF4-FFF2-40B4-BE49-F238E27FC236}">
                    <a16:creationId xmlns:a16="http://schemas.microsoft.com/office/drawing/2014/main" id="{0CB100A4-BF60-49A1-AA43-83D07B0E62DB}"/>
                  </a:ext>
                </a:extLst>
              </p:cNvPr>
              <p:cNvSpPr/>
              <p:nvPr/>
            </p:nvSpPr>
            <p:spPr>
              <a:xfrm>
                <a:off x="6414317" y="1458459"/>
                <a:ext cx="67118" cy="66731"/>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5" name="Freeform: Shape 50">
                <a:extLst>
                  <a:ext uri="{FF2B5EF4-FFF2-40B4-BE49-F238E27FC236}">
                    <a16:creationId xmlns:a16="http://schemas.microsoft.com/office/drawing/2014/main" id="{E20B8C80-0DB2-465A-A11C-4A6CCC1EEDDF}"/>
                  </a:ext>
                </a:extLst>
              </p:cNvPr>
              <p:cNvSpPr/>
              <p:nvPr/>
            </p:nvSpPr>
            <p:spPr>
              <a:xfrm>
                <a:off x="6257707" y="1413971"/>
                <a:ext cx="11186" cy="3336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266" name="Freeform: Shape 51">
                <a:extLst>
                  <a:ext uri="{FF2B5EF4-FFF2-40B4-BE49-F238E27FC236}">
                    <a16:creationId xmlns:a16="http://schemas.microsoft.com/office/drawing/2014/main" id="{F2A7C72E-F59C-4D59-B311-688A0621899D}"/>
                  </a:ext>
                </a:extLst>
              </p:cNvPr>
              <p:cNvSpPr/>
              <p:nvPr/>
            </p:nvSpPr>
            <p:spPr>
              <a:xfrm>
                <a:off x="6257707" y="1758751"/>
                <a:ext cx="11186" cy="3336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9050"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grpSp>
      <p:grpSp>
        <p:nvGrpSpPr>
          <p:cNvPr id="267" name="Group 266"/>
          <p:cNvGrpSpPr/>
          <p:nvPr/>
        </p:nvGrpSpPr>
        <p:grpSpPr>
          <a:xfrm>
            <a:off x="9581825" y="5539185"/>
            <a:ext cx="2047488" cy="609948"/>
            <a:chOff x="9673791" y="5082071"/>
            <a:chExt cx="2023633" cy="610107"/>
          </a:xfrm>
        </p:grpSpPr>
        <p:sp>
          <p:nvSpPr>
            <p:cNvPr id="268" name="Rectangle: Rounded Corners 417">
              <a:extLst>
                <a:ext uri="{FF2B5EF4-FFF2-40B4-BE49-F238E27FC236}">
                  <a16:creationId xmlns:a16="http://schemas.microsoft.com/office/drawing/2014/main" id="{C46A7504-1C41-4EC9-8E5D-820CA9CF0628}"/>
                </a:ext>
              </a:extLst>
            </p:cNvPr>
            <p:cNvSpPr/>
            <p:nvPr/>
          </p:nvSpPr>
          <p:spPr bwMode="auto">
            <a:xfrm>
              <a:off x="9673791" y="5082071"/>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269" name="Group 268">
              <a:extLst>
                <a:ext uri="{FF2B5EF4-FFF2-40B4-BE49-F238E27FC236}">
                  <a16:creationId xmlns:a16="http://schemas.microsoft.com/office/drawing/2014/main" id="{37A10922-E7CE-4EDC-A190-08842B11D4D7}"/>
                </a:ext>
              </a:extLst>
            </p:cNvPr>
            <p:cNvGrpSpPr/>
            <p:nvPr/>
          </p:nvGrpSpPr>
          <p:grpSpPr>
            <a:xfrm>
              <a:off x="9832675" y="5155486"/>
              <a:ext cx="447339" cy="511475"/>
              <a:chOff x="2602899" y="5149856"/>
              <a:chExt cx="440082" cy="506093"/>
            </a:xfrm>
          </p:grpSpPr>
          <p:sp>
            <p:nvSpPr>
              <p:cNvPr id="271" name="Freeform: Shape 29">
                <a:extLst>
                  <a:ext uri="{FF2B5EF4-FFF2-40B4-BE49-F238E27FC236}">
                    <a16:creationId xmlns:a16="http://schemas.microsoft.com/office/drawing/2014/main" id="{8245B637-CA34-42CD-AF1E-60682DA7890F}"/>
                  </a:ext>
                </a:extLst>
              </p:cNvPr>
              <p:cNvSpPr/>
              <p:nvPr/>
            </p:nvSpPr>
            <p:spPr>
              <a:xfrm>
                <a:off x="2873549" y="5211467"/>
                <a:ext cx="90216" cy="53909"/>
              </a:xfrm>
              <a:custGeom>
                <a:avLst/>
                <a:gdLst>
                  <a:gd name="connsiteX0" fmla="*/ 78105 w 78104"/>
                  <a:gd name="connsiteY0" fmla="*/ 46673 h 46672"/>
                  <a:gd name="connsiteX1" fmla="*/ 0 w 78104"/>
                  <a:gd name="connsiteY1" fmla="*/ 0 h 46672"/>
                </a:gdLst>
                <a:ahLst/>
                <a:cxnLst>
                  <a:cxn ang="0">
                    <a:pos x="connsiteX0" y="connsiteY0"/>
                  </a:cxn>
                  <a:cxn ang="0">
                    <a:pos x="connsiteX1" y="connsiteY1"/>
                  </a:cxn>
                </a:cxnLst>
                <a:rect l="l" t="t" r="r" b="b"/>
                <a:pathLst>
                  <a:path w="78104"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2" name="Freeform: Shape 30">
                <a:extLst>
                  <a:ext uri="{FF2B5EF4-FFF2-40B4-BE49-F238E27FC236}">
                    <a16:creationId xmlns:a16="http://schemas.microsoft.com/office/drawing/2014/main" id="{C32D1BDB-032B-4DED-A2DA-6FE4C7EE49EA}"/>
                  </a:ext>
                </a:extLst>
              </p:cNvPr>
              <p:cNvSpPr/>
              <p:nvPr/>
            </p:nvSpPr>
            <p:spPr>
              <a:xfrm>
                <a:off x="3009975" y="5347892"/>
                <a:ext cx="11002" cy="110020"/>
              </a:xfrm>
              <a:custGeom>
                <a:avLst/>
                <a:gdLst>
                  <a:gd name="connsiteX0" fmla="*/ 0 w 9525"/>
                  <a:gd name="connsiteY0" fmla="*/ 95250 h 95250"/>
                  <a:gd name="connsiteX1" fmla="*/ 0 w 9525"/>
                  <a:gd name="connsiteY1" fmla="*/ 0 h 95250"/>
                </a:gdLst>
                <a:ahLst/>
                <a:cxnLst>
                  <a:cxn ang="0">
                    <a:pos x="connsiteX0" y="connsiteY0"/>
                  </a:cxn>
                  <a:cxn ang="0">
                    <a:pos x="connsiteX1" y="connsiteY1"/>
                  </a:cxn>
                </a:cxnLst>
                <a:rect l="l" t="t" r="r" b="b"/>
                <a:pathLst>
                  <a:path w="9525" h="95250">
                    <a:moveTo>
                      <a:pt x="0" y="95250"/>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3" name="Freeform: Shape 31">
                <a:extLst>
                  <a:ext uri="{FF2B5EF4-FFF2-40B4-BE49-F238E27FC236}">
                    <a16:creationId xmlns:a16="http://schemas.microsoft.com/office/drawing/2014/main" id="{5284D388-056E-49FF-AD65-C854200F3098}"/>
                  </a:ext>
                </a:extLst>
              </p:cNvPr>
              <p:cNvSpPr/>
              <p:nvPr/>
            </p:nvSpPr>
            <p:spPr>
              <a:xfrm>
                <a:off x="2635905" y="5347892"/>
                <a:ext cx="11002" cy="110020"/>
              </a:xfrm>
              <a:custGeom>
                <a:avLst/>
                <a:gdLst>
                  <a:gd name="connsiteX0" fmla="*/ 0 w 9525"/>
                  <a:gd name="connsiteY0" fmla="*/ 0 h 95250"/>
                  <a:gd name="connsiteX1" fmla="*/ 0 w 9525"/>
                  <a:gd name="connsiteY1" fmla="*/ 95250 h 95250"/>
                </a:gdLst>
                <a:ahLst/>
                <a:cxnLst>
                  <a:cxn ang="0">
                    <a:pos x="connsiteX0" y="connsiteY0"/>
                  </a:cxn>
                  <a:cxn ang="0">
                    <a:pos x="connsiteX1" y="connsiteY1"/>
                  </a:cxn>
                </a:cxnLst>
                <a:rect l="l" t="t" r="r" b="b"/>
                <a:pathLst>
                  <a:path w="9525" h="95250">
                    <a:moveTo>
                      <a:pt x="0" y="0"/>
                    </a:moveTo>
                    <a:lnTo>
                      <a:pt x="0" y="9525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4" name="Freeform: Shape 32">
                <a:extLst>
                  <a:ext uri="{FF2B5EF4-FFF2-40B4-BE49-F238E27FC236}">
                    <a16:creationId xmlns:a16="http://schemas.microsoft.com/office/drawing/2014/main" id="{A21C3D99-DCEE-48F7-B7EE-587A57901359}"/>
                  </a:ext>
                </a:extLst>
              </p:cNvPr>
              <p:cNvSpPr/>
              <p:nvPr/>
            </p:nvSpPr>
            <p:spPr>
              <a:xfrm>
                <a:off x="2682114" y="5211467"/>
                <a:ext cx="90217" cy="53909"/>
              </a:xfrm>
              <a:custGeom>
                <a:avLst/>
                <a:gdLst>
                  <a:gd name="connsiteX0" fmla="*/ 78105 w 78105"/>
                  <a:gd name="connsiteY0" fmla="*/ 0 h 46672"/>
                  <a:gd name="connsiteX1" fmla="*/ 0 w 78105"/>
                  <a:gd name="connsiteY1" fmla="*/ 46673 h 46672"/>
                </a:gdLst>
                <a:ahLst/>
                <a:cxnLst>
                  <a:cxn ang="0">
                    <a:pos x="connsiteX0" y="connsiteY0"/>
                  </a:cxn>
                  <a:cxn ang="0">
                    <a:pos x="connsiteX1" y="connsiteY1"/>
                  </a:cxn>
                </a:cxnLst>
                <a:rect l="l" t="t" r="r" b="b"/>
                <a:pathLst>
                  <a:path w="78105"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5" name="Freeform: Shape 33">
                <a:extLst>
                  <a:ext uri="{FF2B5EF4-FFF2-40B4-BE49-F238E27FC236}">
                    <a16:creationId xmlns:a16="http://schemas.microsoft.com/office/drawing/2014/main" id="{4A7C643C-B416-4A72-A58C-76CA48DFB22F}"/>
                  </a:ext>
                </a:extLst>
              </p:cNvPr>
              <p:cNvSpPr/>
              <p:nvPr/>
            </p:nvSpPr>
            <p:spPr>
              <a:xfrm>
                <a:off x="2873549" y="5541528"/>
                <a:ext cx="90216" cy="53909"/>
              </a:xfrm>
              <a:custGeom>
                <a:avLst/>
                <a:gdLst>
                  <a:gd name="connsiteX0" fmla="*/ 78105 w 78104"/>
                  <a:gd name="connsiteY0" fmla="*/ 0 h 46672"/>
                  <a:gd name="connsiteX1" fmla="*/ 0 w 78104"/>
                  <a:gd name="connsiteY1" fmla="*/ 46673 h 46672"/>
                </a:gdLst>
                <a:ahLst/>
                <a:cxnLst>
                  <a:cxn ang="0">
                    <a:pos x="connsiteX0" y="connsiteY0"/>
                  </a:cxn>
                  <a:cxn ang="0">
                    <a:pos x="connsiteX1" y="connsiteY1"/>
                  </a:cxn>
                </a:cxnLst>
                <a:rect l="l" t="t" r="r" b="b"/>
                <a:pathLst>
                  <a:path w="78104" h="46672">
                    <a:moveTo>
                      <a:pt x="78105" y="0"/>
                    </a:moveTo>
                    <a:lnTo>
                      <a:pt x="0" y="46673"/>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6" name="Freeform: Shape 34">
                <a:extLst>
                  <a:ext uri="{FF2B5EF4-FFF2-40B4-BE49-F238E27FC236}">
                    <a16:creationId xmlns:a16="http://schemas.microsoft.com/office/drawing/2014/main" id="{C2DC16D5-BE4D-4907-93D8-E3FB88470157}"/>
                  </a:ext>
                </a:extLst>
              </p:cNvPr>
              <p:cNvSpPr/>
              <p:nvPr/>
            </p:nvSpPr>
            <p:spPr>
              <a:xfrm>
                <a:off x="2682114" y="5541528"/>
                <a:ext cx="90217" cy="53909"/>
              </a:xfrm>
              <a:custGeom>
                <a:avLst/>
                <a:gdLst>
                  <a:gd name="connsiteX0" fmla="*/ 78105 w 78105"/>
                  <a:gd name="connsiteY0" fmla="*/ 46673 h 46672"/>
                  <a:gd name="connsiteX1" fmla="*/ 0 w 78105"/>
                  <a:gd name="connsiteY1" fmla="*/ 0 h 46672"/>
                </a:gdLst>
                <a:ahLst/>
                <a:cxnLst>
                  <a:cxn ang="0">
                    <a:pos x="connsiteX0" y="connsiteY0"/>
                  </a:cxn>
                  <a:cxn ang="0">
                    <a:pos x="connsiteX1" y="connsiteY1"/>
                  </a:cxn>
                </a:cxnLst>
                <a:rect l="l" t="t" r="r" b="b"/>
                <a:pathLst>
                  <a:path w="78105" h="46672">
                    <a:moveTo>
                      <a:pt x="78105" y="46673"/>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7" name="Freeform: Shape 35">
                <a:extLst>
                  <a:ext uri="{FF2B5EF4-FFF2-40B4-BE49-F238E27FC236}">
                    <a16:creationId xmlns:a16="http://schemas.microsoft.com/office/drawing/2014/main" id="{CB45A2DD-82D2-4A0B-8DEB-A469A0477CAA}"/>
                  </a:ext>
                </a:extLst>
              </p:cNvPr>
              <p:cNvSpPr/>
              <p:nvPr/>
            </p:nvSpPr>
            <p:spPr>
              <a:xfrm>
                <a:off x="2789934" y="514985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8" name="Freeform: Shape 36">
                <a:extLst>
                  <a:ext uri="{FF2B5EF4-FFF2-40B4-BE49-F238E27FC236}">
                    <a16:creationId xmlns:a16="http://schemas.microsoft.com/office/drawing/2014/main" id="{2A842E54-4220-450E-98A7-32D302D783B4}"/>
                  </a:ext>
                </a:extLst>
              </p:cNvPr>
              <p:cNvSpPr/>
              <p:nvPr/>
            </p:nvSpPr>
            <p:spPr>
              <a:xfrm>
                <a:off x="2789874" y="5589937"/>
                <a:ext cx="66130" cy="66012"/>
              </a:xfrm>
              <a:custGeom>
                <a:avLst/>
                <a:gdLst>
                  <a:gd name="connsiteX0" fmla="*/ 27674 w 57252"/>
                  <a:gd name="connsiteY0" fmla="*/ 57150 h 57150"/>
                  <a:gd name="connsiteX1" fmla="*/ 51 w 57252"/>
                  <a:gd name="connsiteY1" fmla="*/ 28575 h 57150"/>
                  <a:gd name="connsiteX2" fmla="*/ 29579 w 57252"/>
                  <a:gd name="connsiteY2" fmla="*/ 0 h 57150"/>
                  <a:gd name="connsiteX3" fmla="*/ 57201 w 57252"/>
                  <a:gd name="connsiteY3" fmla="*/ 28575 h 57150"/>
                  <a:gd name="connsiteX4" fmla="*/ 27674 w 57252"/>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52" h="57150">
                    <a:moveTo>
                      <a:pt x="27674" y="57150"/>
                    </a:moveTo>
                    <a:cubicBezTo>
                      <a:pt x="11481" y="57150"/>
                      <a:pt x="-901" y="44768"/>
                      <a:pt x="51" y="28575"/>
                    </a:cubicBezTo>
                    <a:cubicBezTo>
                      <a:pt x="51" y="13335"/>
                      <a:pt x="13386" y="0"/>
                      <a:pt x="29579" y="0"/>
                    </a:cubicBezTo>
                    <a:cubicBezTo>
                      <a:pt x="45771" y="0"/>
                      <a:pt x="58154" y="12382"/>
                      <a:pt x="57201" y="28575"/>
                    </a:cubicBezTo>
                    <a:cubicBezTo>
                      <a:pt x="57201" y="43815"/>
                      <a:pt x="43866" y="57150"/>
                      <a:pt x="27674" y="57150"/>
                    </a:cubicBezTo>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79" name="Freeform: Shape 37">
                <a:extLst>
                  <a:ext uri="{FF2B5EF4-FFF2-40B4-BE49-F238E27FC236}">
                    <a16:creationId xmlns:a16="http://schemas.microsoft.com/office/drawing/2014/main" id="{575A9593-10C1-4EE7-98C2-7BFCC445CB3B}"/>
                  </a:ext>
                </a:extLst>
              </p:cNvPr>
              <p:cNvSpPr/>
              <p:nvPr/>
            </p:nvSpPr>
            <p:spPr>
              <a:xfrm>
                <a:off x="297696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2"/>
                      <a:pt x="12382"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0" name="Freeform: Shape 38">
                <a:extLst>
                  <a:ext uri="{FF2B5EF4-FFF2-40B4-BE49-F238E27FC236}">
                    <a16:creationId xmlns:a16="http://schemas.microsoft.com/office/drawing/2014/main" id="{8F3A1232-E0E7-48FC-835C-EAB4428C0628}"/>
                  </a:ext>
                </a:extLst>
              </p:cNvPr>
              <p:cNvSpPr/>
              <p:nvPr/>
            </p:nvSpPr>
            <p:spPr>
              <a:xfrm>
                <a:off x="2602899" y="5479917"/>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2"/>
                      <a:pt x="12383" y="0"/>
                      <a:pt x="28575" y="0"/>
                    </a:cubicBezTo>
                    <a:cubicBezTo>
                      <a:pt x="44768" y="0"/>
                      <a:pt x="57150" y="12382"/>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1" name="Freeform: Shape 39">
                <a:extLst>
                  <a:ext uri="{FF2B5EF4-FFF2-40B4-BE49-F238E27FC236}">
                    <a16:creationId xmlns:a16="http://schemas.microsoft.com/office/drawing/2014/main" id="{A04B1511-3697-406B-ACFF-A806AA3275AB}"/>
                  </a:ext>
                </a:extLst>
              </p:cNvPr>
              <p:cNvSpPr/>
              <p:nvPr/>
            </p:nvSpPr>
            <p:spPr>
              <a:xfrm>
                <a:off x="260289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3" y="57150"/>
                      <a:pt x="0" y="44768"/>
                      <a:pt x="0" y="28575"/>
                    </a:cubicBezTo>
                    <a:cubicBezTo>
                      <a:pt x="0" y="12383"/>
                      <a:pt x="12383"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2" name="Freeform: Shape 45">
                <a:extLst>
                  <a:ext uri="{FF2B5EF4-FFF2-40B4-BE49-F238E27FC236}">
                    <a16:creationId xmlns:a16="http://schemas.microsoft.com/office/drawing/2014/main" id="{5CCB0879-4509-48FD-880F-D3083B4E906E}"/>
                  </a:ext>
                </a:extLst>
              </p:cNvPr>
              <p:cNvSpPr/>
              <p:nvPr/>
            </p:nvSpPr>
            <p:spPr>
              <a:xfrm>
                <a:off x="2664510" y="5477716"/>
                <a:ext cx="25304" cy="16502"/>
              </a:xfrm>
              <a:custGeom>
                <a:avLst/>
                <a:gdLst>
                  <a:gd name="connsiteX0" fmla="*/ 21907 w 21907"/>
                  <a:gd name="connsiteY0" fmla="*/ 0 h 14287"/>
                  <a:gd name="connsiteX1" fmla="*/ 0 w 21907"/>
                  <a:gd name="connsiteY1" fmla="*/ 14287 h 14287"/>
                </a:gdLst>
                <a:ahLst/>
                <a:cxnLst>
                  <a:cxn ang="0">
                    <a:pos x="connsiteX0" y="connsiteY0"/>
                  </a:cxn>
                  <a:cxn ang="0">
                    <a:pos x="connsiteX1" y="connsiteY1"/>
                  </a:cxn>
                </a:cxnLst>
                <a:rect l="l" t="t" r="r" b="b"/>
                <a:pathLst>
                  <a:path w="21907" h="14287">
                    <a:moveTo>
                      <a:pt x="21907" y="0"/>
                    </a:moveTo>
                    <a:lnTo>
                      <a:pt x="0"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3" name="Freeform: Shape 46">
                <a:extLst>
                  <a:ext uri="{FF2B5EF4-FFF2-40B4-BE49-F238E27FC236}">
                    <a16:creationId xmlns:a16="http://schemas.microsoft.com/office/drawing/2014/main" id="{C55D314E-01FB-4687-95A9-63A231F3C2A9}"/>
                  </a:ext>
                </a:extLst>
              </p:cNvPr>
              <p:cNvSpPr/>
              <p:nvPr/>
            </p:nvSpPr>
            <p:spPr>
              <a:xfrm>
                <a:off x="2956064" y="5477716"/>
                <a:ext cx="24203" cy="16502"/>
              </a:xfrm>
              <a:custGeom>
                <a:avLst/>
                <a:gdLst>
                  <a:gd name="connsiteX0" fmla="*/ 0 w 20954"/>
                  <a:gd name="connsiteY0" fmla="*/ 0 h 14287"/>
                  <a:gd name="connsiteX1" fmla="*/ 20955 w 20954"/>
                  <a:gd name="connsiteY1" fmla="*/ 14287 h 14287"/>
                </a:gdLst>
                <a:ahLst/>
                <a:cxnLst>
                  <a:cxn ang="0">
                    <a:pos x="connsiteX0" y="connsiteY0"/>
                  </a:cxn>
                  <a:cxn ang="0">
                    <a:pos x="connsiteX1" y="connsiteY1"/>
                  </a:cxn>
                </a:cxnLst>
                <a:rect l="l" t="t" r="r" b="b"/>
                <a:pathLst>
                  <a:path w="20954" h="14287">
                    <a:moveTo>
                      <a:pt x="0" y="0"/>
                    </a:moveTo>
                    <a:lnTo>
                      <a:pt x="20955" y="14287"/>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4" name="Freeform: Shape 47">
                <a:extLst>
                  <a:ext uri="{FF2B5EF4-FFF2-40B4-BE49-F238E27FC236}">
                    <a16:creationId xmlns:a16="http://schemas.microsoft.com/office/drawing/2014/main" id="{41E56D8F-B5C1-41F1-9A19-7F137A850BB9}"/>
                  </a:ext>
                </a:extLst>
              </p:cNvPr>
              <p:cNvSpPr/>
              <p:nvPr/>
            </p:nvSpPr>
            <p:spPr>
              <a:xfrm>
                <a:off x="2956064" y="5311585"/>
                <a:ext cx="24203" cy="16502"/>
              </a:xfrm>
              <a:custGeom>
                <a:avLst/>
                <a:gdLst>
                  <a:gd name="connsiteX0" fmla="*/ 0 w 20954"/>
                  <a:gd name="connsiteY0" fmla="*/ 14288 h 14287"/>
                  <a:gd name="connsiteX1" fmla="*/ 20955 w 20954"/>
                  <a:gd name="connsiteY1" fmla="*/ 0 h 14287"/>
                </a:gdLst>
                <a:ahLst/>
                <a:cxnLst>
                  <a:cxn ang="0">
                    <a:pos x="connsiteX0" y="connsiteY0"/>
                  </a:cxn>
                  <a:cxn ang="0">
                    <a:pos x="connsiteX1" y="connsiteY1"/>
                  </a:cxn>
                </a:cxnLst>
                <a:rect l="l" t="t" r="r" b="b"/>
                <a:pathLst>
                  <a:path w="20954" h="14287">
                    <a:moveTo>
                      <a:pt x="0" y="14288"/>
                    </a:moveTo>
                    <a:lnTo>
                      <a:pt x="20955"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5" name="Freeform: Shape 48">
                <a:extLst>
                  <a:ext uri="{FF2B5EF4-FFF2-40B4-BE49-F238E27FC236}">
                    <a16:creationId xmlns:a16="http://schemas.microsoft.com/office/drawing/2014/main" id="{51EEBFD5-E7C5-47B5-B93A-E88C61424518}"/>
                  </a:ext>
                </a:extLst>
              </p:cNvPr>
              <p:cNvSpPr/>
              <p:nvPr/>
            </p:nvSpPr>
            <p:spPr>
              <a:xfrm>
                <a:off x="2664510" y="5311585"/>
                <a:ext cx="25304" cy="16502"/>
              </a:xfrm>
              <a:custGeom>
                <a:avLst/>
                <a:gdLst>
                  <a:gd name="connsiteX0" fmla="*/ 21907 w 21907"/>
                  <a:gd name="connsiteY0" fmla="*/ 14288 h 14287"/>
                  <a:gd name="connsiteX1" fmla="*/ 0 w 21907"/>
                  <a:gd name="connsiteY1" fmla="*/ 0 h 14287"/>
                </a:gdLst>
                <a:ahLst/>
                <a:cxnLst>
                  <a:cxn ang="0">
                    <a:pos x="connsiteX0" y="connsiteY0"/>
                  </a:cxn>
                  <a:cxn ang="0">
                    <a:pos x="connsiteX1" y="connsiteY1"/>
                  </a:cxn>
                </a:cxnLst>
                <a:rect l="l" t="t" r="r" b="b"/>
                <a:pathLst>
                  <a:path w="21907" h="14287">
                    <a:moveTo>
                      <a:pt x="21907" y="14288"/>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7" name="Freeform: Shape 49">
                <a:extLst>
                  <a:ext uri="{FF2B5EF4-FFF2-40B4-BE49-F238E27FC236}">
                    <a16:creationId xmlns:a16="http://schemas.microsoft.com/office/drawing/2014/main" id="{F67D7364-3D6B-409B-9FC2-D9460CC6645D}"/>
                  </a:ext>
                </a:extLst>
              </p:cNvPr>
              <p:cNvSpPr/>
              <p:nvPr/>
            </p:nvSpPr>
            <p:spPr>
              <a:xfrm>
                <a:off x="2976969" y="5259876"/>
                <a:ext cx="66012" cy="66012"/>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768"/>
                      <a:pt x="44768" y="57150"/>
                      <a:pt x="28575" y="57150"/>
                    </a:cubicBezTo>
                    <a:cubicBezTo>
                      <a:pt x="12382" y="57150"/>
                      <a:pt x="0" y="44768"/>
                      <a:pt x="0" y="28575"/>
                    </a:cubicBezTo>
                    <a:cubicBezTo>
                      <a:pt x="0" y="12383"/>
                      <a:pt x="12382" y="0"/>
                      <a:pt x="28575" y="0"/>
                    </a:cubicBezTo>
                    <a:cubicBezTo>
                      <a:pt x="44768" y="0"/>
                      <a:pt x="57150" y="12383"/>
                      <a:pt x="57150" y="28575"/>
                    </a:cubicBezTo>
                    <a:close/>
                  </a:path>
                </a:pathLst>
              </a:custGeom>
              <a:solidFill>
                <a:schemeClr val="bg2"/>
              </a:solidFill>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8" name="Freeform: Shape 50">
                <a:extLst>
                  <a:ext uri="{FF2B5EF4-FFF2-40B4-BE49-F238E27FC236}">
                    <a16:creationId xmlns:a16="http://schemas.microsoft.com/office/drawing/2014/main" id="{B5F93D10-D050-49A8-98B5-EFAB8FA98316}"/>
                  </a:ext>
                </a:extLst>
              </p:cNvPr>
              <p:cNvSpPr/>
              <p:nvPr/>
            </p:nvSpPr>
            <p:spPr>
              <a:xfrm>
                <a:off x="2822940" y="5215868"/>
                <a:ext cx="11002" cy="33006"/>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89" name="Freeform: Shape 51">
                <a:extLst>
                  <a:ext uri="{FF2B5EF4-FFF2-40B4-BE49-F238E27FC236}">
                    <a16:creationId xmlns:a16="http://schemas.microsoft.com/office/drawing/2014/main" id="{EB9C4585-9282-493D-81E2-F408914FA25B}"/>
                  </a:ext>
                </a:extLst>
              </p:cNvPr>
              <p:cNvSpPr/>
              <p:nvPr/>
            </p:nvSpPr>
            <p:spPr>
              <a:xfrm>
                <a:off x="2822940" y="5556931"/>
                <a:ext cx="11002" cy="33006"/>
              </a:xfrm>
              <a:custGeom>
                <a:avLst/>
                <a:gdLst>
                  <a:gd name="connsiteX0" fmla="*/ 0 w 9525"/>
                  <a:gd name="connsiteY0" fmla="*/ 28575 h 28575"/>
                  <a:gd name="connsiteX1" fmla="*/ 0 w 9525"/>
                  <a:gd name="connsiteY1" fmla="*/ 0 h 28575"/>
                </a:gdLst>
                <a:ahLst/>
                <a:cxnLst>
                  <a:cxn ang="0">
                    <a:pos x="connsiteX0" y="connsiteY0"/>
                  </a:cxn>
                  <a:cxn ang="0">
                    <a:pos x="connsiteX1" y="connsiteY1"/>
                  </a:cxn>
                </a:cxnLst>
                <a:rect l="l" t="t" r="r" b="b"/>
                <a:pathLst>
                  <a:path w="9525" h="28575">
                    <a:moveTo>
                      <a:pt x="0" y="28575"/>
                    </a:moveTo>
                    <a:lnTo>
                      <a:pt x="0" y="0"/>
                    </a:lnTo>
                  </a:path>
                </a:pathLst>
              </a:custGeom>
              <a:ln w="15875" cap="flat">
                <a:solidFill>
                  <a:schemeClr val="tx1">
                    <a:lumMod val="75000"/>
                  </a:schemeClr>
                </a:solidFill>
                <a:prstDash val="solid"/>
                <a:round/>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nvGrpSpPr>
              <p:cNvPr id="290" name="Graphic 52">
                <a:extLst>
                  <a:ext uri="{FF2B5EF4-FFF2-40B4-BE49-F238E27FC236}">
                    <a16:creationId xmlns:a16="http://schemas.microsoft.com/office/drawing/2014/main" id="{507CF272-CA77-4C99-81D0-025E97E6DEDA}"/>
                  </a:ext>
                </a:extLst>
              </p:cNvPr>
              <p:cNvGrpSpPr/>
              <p:nvPr/>
            </p:nvGrpSpPr>
            <p:grpSpPr>
              <a:xfrm>
                <a:off x="2724318" y="5292882"/>
                <a:ext cx="199973" cy="269194"/>
                <a:chOff x="9334200" y="1398702"/>
                <a:chExt cx="247650" cy="333375"/>
              </a:xfrm>
              <a:noFill/>
            </p:grpSpPr>
            <p:sp>
              <p:nvSpPr>
                <p:cNvPr id="291" name="Freeform: Shape 54">
                  <a:extLst>
                    <a:ext uri="{FF2B5EF4-FFF2-40B4-BE49-F238E27FC236}">
                      <a16:creationId xmlns:a16="http://schemas.microsoft.com/office/drawing/2014/main" id="{C5644662-C654-4DED-99FC-4FBD1D1F2ECD}"/>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2" name="Freeform: Shape 55">
                  <a:extLst>
                    <a:ext uri="{FF2B5EF4-FFF2-40B4-BE49-F238E27FC236}">
                      <a16:creationId xmlns:a16="http://schemas.microsoft.com/office/drawing/2014/main" id="{7532CCB2-716B-415B-B9C3-A352BE9A9B78}"/>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3" name="Freeform: Shape 56">
                  <a:extLst>
                    <a:ext uri="{FF2B5EF4-FFF2-40B4-BE49-F238E27FC236}">
                      <a16:creationId xmlns:a16="http://schemas.microsoft.com/office/drawing/2014/main" id="{2D7CE9B2-8243-446C-846D-3869A2E7D61B}"/>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4" name="Freeform: Shape 57">
                  <a:extLst>
                    <a:ext uri="{FF2B5EF4-FFF2-40B4-BE49-F238E27FC236}">
                      <a16:creationId xmlns:a16="http://schemas.microsoft.com/office/drawing/2014/main" id="{862A44A7-D869-441C-B1F8-FE698F753FF5}"/>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5" name="Freeform: Shape 58">
                  <a:extLst>
                    <a:ext uri="{FF2B5EF4-FFF2-40B4-BE49-F238E27FC236}">
                      <a16:creationId xmlns:a16="http://schemas.microsoft.com/office/drawing/2014/main" id="{133E45F4-F813-42E7-99B1-4B79EC574E04}"/>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6" name="Freeform: Shape 59">
                  <a:extLst>
                    <a:ext uri="{FF2B5EF4-FFF2-40B4-BE49-F238E27FC236}">
                      <a16:creationId xmlns:a16="http://schemas.microsoft.com/office/drawing/2014/main" id="{66D86444-0490-4D09-9CD3-AAA2196D0DCE}"/>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7" name="Freeform: Shape 60">
                  <a:extLst>
                    <a:ext uri="{FF2B5EF4-FFF2-40B4-BE49-F238E27FC236}">
                      <a16:creationId xmlns:a16="http://schemas.microsoft.com/office/drawing/2014/main" id="{3027EF53-6D53-4C1D-824D-8343F679794E}"/>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8" name="Freeform: Shape 61">
                  <a:extLst>
                    <a:ext uri="{FF2B5EF4-FFF2-40B4-BE49-F238E27FC236}">
                      <a16:creationId xmlns:a16="http://schemas.microsoft.com/office/drawing/2014/main" id="{63973E57-8308-4B8C-B272-A0FDEFF9C7B2}"/>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299" name="Freeform: Shape 66">
                  <a:extLst>
                    <a:ext uri="{FF2B5EF4-FFF2-40B4-BE49-F238E27FC236}">
                      <a16:creationId xmlns:a16="http://schemas.microsoft.com/office/drawing/2014/main" id="{5D82B998-2F89-40E6-B3B3-C8DC1AAB6A69}"/>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300" name="Freeform: Shape 67">
                  <a:extLst>
                    <a:ext uri="{FF2B5EF4-FFF2-40B4-BE49-F238E27FC236}">
                      <a16:creationId xmlns:a16="http://schemas.microsoft.com/office/drawing/2014/main" id="{DFF42C9B-E3B9-4589-806B-F40D46234D4F}"/>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301" name="Freeform: Shape 68">
                  <a:extLst>
                    <a:ext uri="{FF2B5EF4-FFF2-40B4-BE49-F238E27FC236}">
                      <a16:creationId xmlns:a16="http://schemas.microsoft.com/office/drawing/2014/main" id="{4960DFFE-794C-406E-B99F-393C1D3363A5}"/>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sp>
              <p:nvSpPr>
                <p:cNvPr id="302" name="Freeform: Shape 69">
                  <a:extLst>
                    <a:ext uri="{FF2B5EF4-FFF2-40B4-BE49-F238E27FC236}">
                      <a16:creationId xmlns:a16="http://schemas.microsoft.com/office/drawing/2014/main" id="{49E0D5B5-5ACF-46F4-9C68-73C8139C7B66}"/>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sz="2798" kern="1200" dirty="0">
                    <a:solidFill>
                      <a:srgbClr val="4D4D4F"/>
                    </a:solidFill>
                    <a:latin typeface="+mj-lt"/>
                    <a:ea typeface="+mn-ea"/>
                    <a:cs typeface="Calibri" panose="020F0502020204030204" pitchFamily="34" charset="0"/>
                  </a:endParaRPr>
                </a:p>
              </p:txBody>
            </p:sp>
          </p:grpSp>
        </p:grpSp>
        <p:sp>
          <p:nvSpPr>
            <p:cNvPr id="270" name="TextBox 269">
              <a:extLst>
                <a:ext uri="{FF2B5EF4-FFF2-40B4-BE49-F238E27FC236}">
                  <a16:creationId xmlns:a16="http://schemas.microsoft.com/office/drawing/2014/main" id="{F7CF893B-59BC-4088-B8C4-226CA90F1D13}"/>
                </a:ext>
              </a:extLst>
            </p:cNvPr>
            <p:cNvSpPr txBox="1"/>
            <p:nvPr/>
          </p:nvSpPr>
          <p:spPr bwMode="auto">
            <a:xfrm>
              <a:off x="10355672" y="5241074"/>
              <a:ext cx="1341752" cy="307808"/>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INTRANET</a:t>
              </a:r>
            </a:p>
          </p:txBody>
        </p:sp>
      </p:grpSp>
      <p:grpSp>
        <p:nvGrpSpPr>
          <p:cNvPr id="303" name="Group 302"/>
          <p:cNvGrpSpPr/>
          <p:nvPr/>
        </p:nvGrpSpPr>
        <p:grpSpPr>
          <a:xfrm>
            <a:off x="9581825" y="4713061"/>
            <a:ext cx="2047489" cy="609948"/>
            <a:chOff x="9673791" y="4360076"/>
            <a:chExt cx="2048022" cy="610107"/>
          </a:xfrm>
        </p:grpSpPr>
        <p:sp>
          <p:nvSpPr>
            <p:cNvPr id="304" name="Rectangle: Rounded Corners 195">
              <a:extLst>
                <a:ext uri="{FF2B5EF4-FFF2-40B4-BE49-F238E27FC236}">
                  <a16:creationId xmlns:a16="http://schemas.microsoft.com/office/drawing/2014/main" id="{91DF2152-D28B-4B7D-87F0-4FD808371D65}"/>
                </a:ext>
              </a:extLst>
            </p:cNvPr>
            <p:cNvSpPr/>
            <p:nvPr/>
          </p:nvSpPr>
          <p:spPr bwMode="auto">
            <a:xfrm>
              <a:off x="9673791" y="4360076"/>
              <a:ext cx="2048022"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05" name="Group 304"/>
            <p:cNvGrpSpPr/>
            <p:nvPr/>
          </p:nvGrpSpPr>
          <p:grpSpPr>
            <a:xfrm>
              <a:off x="9725664" y="4419276"/>
              <a:ext cx="1918470" cy="523309"/>
              <a:chOff x="9795983" y="4419276"/>
              <a:chExt cx="1918470" cy="523309"/>
            </a:xfrm>
          </p:grpSpPr>
          <p:grpSp>
            <p:nvGrpSpPr>
              <p:cNvPr id="306" name="Group 305">
                <a:extLst>
                  <a:ext uri="{FF2B5EF4-FFF2-40B4-BE49-F238E27FC236}">
                    <a16:creationId xmlns:a16="http://schemas.microsoft.com/office/drawing/2014/main" id="{083DB3FB-2099-4337-AB30-C5E27BC6D019}"/>
                  </a:ext>
                </a:extLst>
              </p:cNvPr>
              <p:cNvGrpSpPr/>
              <p:nvPr/>
            </p:nvGrpSpPr>
            <p:grpSpPr>
              <a:xfrm>
                <a:off x="9795983" y="4421203"/>
                <a:ext cx="478403" cy="478403"/>
                <a:chOff x="9733030" y="4421460"/>
                <a:chExt cx="478528" cy="478528"/>
              </a:xfrm>
            </p:grpSpPr>
            <p:sp>
              <p:nvSpPr>
                <p:cNvPr id="308" name="Oval 307">
                  <a:extLst>
                    <a:ext uri="{FF2B5EF4-FFF2-40B4-BE49-F238E27FC236}">
                      <a16:creationId xmlns:a16="http://schemas.microsoft.com/office/drawing/2014/main" id="{23965E66-E6FF-433B-A0B4-4A91DCB1E49D}"/>
                    </a:ext>
                  </a:extLst>
                </p:cNvPr>
                <p:cNvSpPr/>
                <p:nvPr/>
              </p:nvSpPr>
              <p:spPr bwMode="auto">
                <a:xfrm>
                  <a:off x="9868294" y="4556750"/>
                  <a:ext cx="212099" cy="212099"/>
                </a:xfrm>
                <a:prstGeom prst="ellipse">
                  <a:avLst/>
                </a:prstGeom>
                <a:solidFill>
                  <a:schemeClr val="bg2"/>
                </a:solidFill>
                <a:ln w="12700" algn="ctr">
                  <a:noFill/>
                  <a:miter lim="800000"/>
                  <a:headEnd/>
                  <a:tailEn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fontAlgn="base">
                    <a:lnSpc>
                      <a:spcPct val="80000"/>
                    </a:lnSpc>
                    <a:spcBef>
                      <a:spcPts val="1200"/>
                    </a:spcBef>
                    <a:buClr>
                      <a:srgbClr val="FF0000"/>
                    </a:buClr>
                    <a:buSzPct val="115000"/>
                    <a:defRPr/>
                  </a:pPr>
                  <a:endParaRPr lang="en-US" sz="2398" kern="1200" dirty="0" err="1">
                    <a:solidFill>
                      <a:srgbClr val="4D4D4F"/>
                    </a:solidFill>
                    <a:latin typeface="+mj-lt"/>
                    <a:ea typeface="+mn-ea"/>
                    <a:cs typeface="Calibri" panose="020F0502020204030204" pitchFamily="34" charset="0"/>
                  </a:endParaRPr>
                </a:p>
              </p:txBody>
            </p:sp>
            <p:pic>
              <p:nvPicPr>
                <p:cNvPr id="309" name="Graphic 165">
                  <a:extLst>
                    <a:ext uri="{FF2B5EF4-FFF2-40B4-BE49-F238E27FC236}">
                      <a16:creationId xmlns:a16="http://schemas.microsoft.com/office/drawing/2014/main" id="{3FC4EB70-B6A7-44CF-BC3C-FA8BFA9DC2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33030" y="4421460"/>
                  <a:ext cx="478528" cy="478528"/>
                </a:xfrm>
                <a:prstGeom prst="rect">
                  <a:avLst/>
                </a:prstGeom>
              </p:spPr>
            </p:pic>
          </p:grpSp>
          <p:sp>
            <p:nvSpPr>
              <p:cNvPr id="307" name="TextBox 306">
                <a:extLst>
                  <a:ext uri="{FF2B5EF4-FFF2-40B4-BE49-F238E27FC236}">
                    <a16:creationId xmlns:a16="http://schemas.microsoft.com/office/drawing/2014/main" id="{3E21AF7F-BCF5-44DF-B2AD-6E3F9D1D0998}"/>
                  </a:ext>
                </a:extLst>
              </p:cNvPr>
              <p:cNvSpPr txBox="1"/>
              <p:nvPr/>
            </p:nvSpPr>
            <p:spPr bwMode="auto">
              <a:xfrm>
                <a:off x="10339906" y="4419276"/>
                <a:ext cx="1374547" cy="523309"/>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REMOTE DESKTOP</a:t>
                </a:r>
              </a:p>
            </p:txBody>
          </p:sp>
        </p:grpSp>
      </p:grpSp>
      <p:grpSp>
        <p:nvGrpSpPr>
          <p:cNvPr id="310" name="Group 309"/>
          <p:cNvGrpSpPr/>
          <p:nvPr/>
        </p:nvGrpSpPr>
        <p:grpSpPr>
          <a:xfrm>
            <a:off x="9581826" y="3060818"/>
            <a:ext cx="1995629" cy="609948"/>
            <a:chOff x="9688518" y="1581109"/>
            <a:chExt cx="1996149" cy="610107"/>
          </a:xfrm>
        </p:grpSpPr>
        <p:sp>
          <p:nvSpPr>
            <p:cNvPr id="311" name="Rectangle: Rounded Corners 191">
              <a:extLst>
                <a:ext uri="{FF2B5EF4-FFF2-40B4-BE49-F238E27FC236}">
                  <a16:creationId xmlns:a16="http://schemas.microsoft.com/office/drawing/2014/main" id="{076AF032-900F-42E8-8F14-21A9FE6A317F}"/>
                </a:ext>
              </a:extLst>
            </p:cNvPr>
            <p:cNvSpPr/>
            <p:nvPr/>
          </p:nvSpPr>
          <p:spPr bwMode="auto">
            <a:xfrm>
              <a:off x="9688518" y="1581109"/>
              <a:ext cx="1996149" cy="610107"/>
            </a:xfrm>
            <a:prstGeom prst="roundRect">
              <a:avLst/>
            </a:prstGeom>
            <a:gradFill flip="none" rotWithShape="1">
              <a:gsLst>
                <a:gs pos="100000">
                  <a:schemeClr val="bg1">
                    <a:lumMod val="85000"/>
                  </a:schemeClr>
                </a:gs>
                <a:gs pos="0">
                  <a:schemeClr val="bg1"/>
                </a:gs>
              </a:gsLst>
              <a:lin ang="13500000" scaled="1"/>
              <a:tileRect/>
            </a:gradFill>
            <a:ln w="12700" algn="ctr">
              <a:solidFill>
                <a:schemeClr val="tx2"/>
              </a:solidFill>
              <a:miter lim="800000"/>
              <a:headEnd/>
              <a:tailEn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defTabSz="913578" fontAlgn="base">
                <a:lnSpc>
                  <a:spcPct val="80000"/>
                </a:lnSpc>
                <a:spcBef>
                  <a:spcPct val="20000"/>
                </a:spcBef>
                <a:spcAft>
                  <a:spcPct val="0"/>
                </a:spcAft>
                <a:buClr>
                  <a:srgbClr val="FF0000"/>
                </a:buClr>
                <a:buSzPct val="115000"/>
                <a:defRPr/>
              </a:pPr>
              <a:endParaRPr lang="aa-ET" kern="1200" dirty="0" err="1">
                <a:solidFill>
                  <a:srgbClr val="FFFFFF"/>
                </a:solidFill>
                <a:latin typeface="+mj-lt"/>
                <a:ea typeface="+mn-ea"/>
                <a:cs typeface="Calibri" panose="020F0502020204030204" pitchFamily="34" charset="0"/>
              </a:endParaRPr>
            </a:p>
          </p:txBody>
        </p:sp>
        <p:grpSp>
          <p:nvGrpSpPr>
            <p:cNvPr id="312" name="Graphic 52">
              <a:extLst>
                <a:ext uri="{FF2B5EF4-FFF2-40B4-BE49-F238E27FC236}">
                  <a16:creationId xmlns:a16="http://schemas.microsoft.com/office/drawing/2014/main" id="{4EB51446-F139-4905-AE56-B12EEEDA68AB}"/>
                </a:ext>
              </a:extLst>
            </p:cNvPr>
            <p:cNvGrpSpPr/>
            <p:nvPr/>
          </p:nvGrpSpPr>
          <p:grpSpPr>
            <a:xfrm>
              <a:off x="9823929" y="1681273"/>
              <a:ext cx="440895" cy="447883"/>
              <a:chOff x="9248475" y="1284402"/>
              <a:chExt cx="438150" cy="447675"/>
            </a:xfrm>
            <a:noFill/>
          </p:grpSpPr>
          <p:sp>
            <p:nvSpPr>
              <p:cNvPr id="314" name="Freeform: Shape 54">
                <a:extLst>
                  <a:ext uri="{FF2B5EF4-FFF2-40B4-BE49-F238E27FC236}">
                    <a16:creationId xmlns:a16="http://schemas.microsoft.com/office/drawing/2014/main" id="{94E30462-CC4F-4BE5-A52F-DFD67917C0E5}"/>
                  </a:ext>
                </a:extLst>
              </p:cNvPr>
              <p:cNvSpPr/>
              <p:nvPr/>
            </p:nvSpPr>
            <p:spPr>
              <a:xfrm>
                <a:off x="9334200" y="14368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15" name="Freeform: Shape 55">
                <a:extLst>
                  <a:ext uri="{FF2B5EF4-FFF2-40B4-BE49-F238E27FC236}">
                    <a16:creationId xmlns:a16="http://schemas.microsoft.com/office/drawing/2014/main" id="{CF6323B9-4C34-409B-B7CC-03C437A245D2}"/>
                  </a:ext>
                </a:extLst>
              </p:cNvPr>
              <p:cNvSpPr/>
              <p:nvPr/>
            </p:nvSpPr>
            <p:spPr>
              <a:xfrm>
                <a:off x="9524700" y="145585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16" name="Freeform: Shape 56">
                <a:extLst>
                  <a:ext uri="{FF2B5EF4-FFF2-40B4-BE49-F238E27FC236}">
                    <a16:creationId xmlns:a16="http://schemas.microsoft.com/office/drawing/2014/main" id="{F19B9C41-504C-4777-9D9D-9895C08E95FC}"/>
                  </a:ext>
                </a:extLst>
              </p:cNvPr>
              <p:cNvSpPr/>
              <p:nvPr/>
            </p:nvSpPr>
            <p:spPr>
              <a:xfrm>
                <a:off x="9524700" y="15511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17" name="Freeform: Shape 57">
                <a:extLst>
                  <a:ext uri="{FF2B5EF4-FFF2-40B4-BE49-F238E27FC236}">
                    <a16:creationId xmlns:a16="http://schemas.microsoft.com/office/drawing/2014/main" id="{6016843C-6AE0-4393-AAC8-CF878353C899}"/>
                  </a:ext>
                </a:extLst>
              </p:cNvPr>
              <p:cNvSpPr/>
              <p:nvPr/>
            </p:nvSpPr>
            <p:spPr>
              <a:xfrm>
                <a:off x="9429450" y="1398702"/>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2"/>
              </a:solid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18" name="Freeform: Shape 58">
                <a:extLst>
                  <a:ext uri="{FF2B5EF4-FFF2-40B4-BE49-F238E27FC236}">
                    <a16:creationId xmlns:a16="http://schemas.microsoft.com/office/drawing/2014/main" id="{B46645A2-1172-4C80-99DF-17DBDDDAF8FE}"/>
                  </a:ext>
                </a:extLst>
              </p:cNvPr>
              <p:cNvSpPr/>
              <p:nvPr/>
            </p:nvSpPr>
            <p:spPr>
              <a:xfrm>
                <a:off x="9458025" y="1455852"/>
                <a:ext cx="9525" cy="276225"/>
              </a:xfrm>
              <a:custGeom>
                <a:avLst/>
                <a:gdLst>
                  <a:gd name="connsiteX0" fmla="*/ 0 w 9525"/>
                  <a:gd name="connsiteY0" fmla="*/ 0 h 276225"/>
                  <a:gd name="connsiteX1" fmla="*/ 0 w 9525"/>
                  <a:gd name="connsiteY1" fmla="*/ 276225 h 276225"/>
                </a:gdLst>
                <a:ahLst/>
                <a:cxnLst>
                  <a:cxn ang="0">
                    <a:pos x="connsiteX0" y="connsiteY0"/>
                  </a:cxn>
                  <a:cxn ang="0">
                    <a:pos x="connsiteX1" y="connsiteY1"/>
                  </a:cxn>
                </a:cxnLst>
                <a:rect l="l" t="t" r="r" b="b"/>
                <a:pathLst>
                  <a:path w="9525" h="276225">
                    <a:moveTo>
                      <a:pt x="0" y="0"/>
                    </a:moveTo>
                    <a:lnTo>
                      <a:pt x="0" y="276225"/>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19" name="Freeform: Shape 59">
                <a:extLst>
                  <a:ext uri="{FF2B5EF4-FFF2-40B4-BE49-F238E27FC236}">
                    <a16:creationId xmlns:a16="http://schemas.microsoft.com/office/drawing/2014/main" id="{8491C85D-1CD1-4794-B77C-5B6F2D78F848}"/>
                  </a:ext>
                </a:extLst>
              </p:cNvPr>
              <p:cNvSpPr/>
              <p:nvPr/>
            </p:nvSpPr>
            <p:spPr>
              <a:xfrm>
                <a:off x="9496125" y="1503477"/>
                <a:ext cx="38100" cy="95250"/>
              </a:xfrm>
              <a:custGeom>
                <a:avLst/>
                <a:gdLst>
                  <a:gd name="connsiteX0" fmla="*/ 38100 w 38100"/>
                  <a:gd name="connsiteY0" fmla="*/ 0 h 95250"/>
                  <a:gd name="connsiteX1" fmla="*/ 0 w 38100"/>
                  <a:gd name="connsiteY1" fmla="*/ 38100 h 95250"/>
                  <a:gd name="connsiteX2" fmla="*/ 0 w 38100"/>
                  <a:gd name="connsiteY2" fmla="*/ 95250 h 95250"/>
                </a:gdLst>
                <a:ahLst/>
                <a:cxnLst>
                  <a:cxn ang="0">
                    <a:pos x="connsiteX0" y="connsiteY0"/>
                  </a:cxn>
                  <a:cxn ang="0">
                    <a:pos x="connsiteX1" y="connsiteY1"/>
                  </a:cxn>
                  <a:cxn ang="0">
                    <a:pos x="connsiteX2" y="connsiteY2"/>
                  </a:cxn>
                </a:cxnLst>
                <a:rect l="l" t="t" r="r" b="b"/>
                <a:pathLst>
                  <a:path w="38100" h="95250">
                    <a:moveTo>
                      <a:pt x="38100" y="0"/>
                    </a:moveTo>
                    <a:lnTo>
                      <a:pt x="0" y="38100"/>
                    </a:lnTo>
                    <a:lnTo>
                      <a:pt x="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20" name="Freeform: Shape 60">
                <a:extLst>
                  <a:ext uri="{FF2B5EF4-FFF2-40B4-BE49-F238E27FC236}">
                    <a16:creationId xmlns:a16="http://schemas.microsoft.com/office/drawing/2014/main" id="{DD70E446-DEA4-444E-A5EC-4115937AA8BC}"/>
                  </a:ext>
                </a:extLst>
              </p:cNvPr>
              <p:cNvSpPr/>
              <p:nvPr/>
            </p:nvSpPr>
            <p:spPr>
              <a:xfrm>
                <a:off x="9381825" y="1484427"/>
                <a:ext cx="38100" cy="95250"/>
              </a:xfrm>
              <a:custGeom>
                <a:avLst/>
                <a:gdLst>
                  <a:gd name="connsiteX0" fmla="*/ 0 w 38100"/>
                  <a:gd name="connsiteY0" fmla="*/ 0 h 95250"/>
                  <a:gd name="connsiteX1" fmla="*/ 38100 w 38100"/>
                  <a:gd name="connsiteY1" fmla="*/ 38100 h 95250"/>
                  <a:gd name="connsiteX2" fmla="*/ 38100 w 38100"/>
                  <a:gd name="connsiteY2" fmla="*/ 95250 h 95250"/>
                </a:gdLst>
                <a:ahLst/>
                <a:cxnLst>
                  <a:cxn ang="0">
                    <a:pos x="connsiteX0" y="connsiteY0"/>
                  </a:cxn>
                  <a:cxn ang="0">
                    <a:pos x="connsiteX1" y="connsiteY1"/>
                  </a:cxn>
                  <a:cxn ang="0">
                    <a:pos x="connsiteX2" y="connsiteY2"/>
                  </a:cxn>
                </a:cxnLst>
                <a:rect l="l" t="t" r="r" b="b"/>
                <a:pathLst>
                  <a:path w="38100" h="95250">
                    <a:moveTo>
                      <a:pt x="0" y="0"/>
                    </a:moveTo>
                    <a:lnTo>
                      <a:pt x="38100" y="38100"/>
                    </a:lnTo>
                    <a:lnTo>
                      <a:pt x="38100" y="95250"/>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321" name="Freeform: Shape 61">
                <a:extLst>
                  <a:ext uri="{FF2B5EF4-FFF2-40B4-BE49-F238E27FC236}">
                    <a16:creationId xmlns:a16="http://schemas.microsoft.com/office/drawing/2014/main" id="{B5FB915A-5970-4EF2-9EC2-7DECFC8E54A4}"/>
                  </a:ext>
                </a:extLst>
              </p:cNvPr>
              <p:cNvSpPr/>
              <p:nvPr/>
            </p:nvSpPr>
            <p:spPr>
              <a:xfrm>
                <a:off x="9496125" y="1608252"/>
                <a:ext cx="38100" cy="66675"/>
              </a:xfrm>
              <a:custGeom>
                <a:avLst/>
                <a:gdLst>
                  <a:gd name="connsiteX0" fmla="*/ 38100 w 38100"/>
                  <a:gd name="connsiteY0" fmla="*/ 0 h 66675"/>
                  <a:gd name="connsiteX1" fmla="*/ 0 w 38100"/>
                  <a:gd name="connsiteY1" fmla="*/ 38100 h 66675"/>
                  <a:gd name="connsiteX2" fmla="*/ 0 w 38100"/>
                  <a:gd name="connsiteY2" fmla="*/ 66675 h 66675"/>
                </a:gdLst>
                <a:ahLst/>
                <a:cxnLst>
                  <a:cxn ang="0">
                    <a:pos x="connsiteX0" y="connsiteY0"/>
                  </a:cxn>
                  <a:cxn ang="0">
                    <a:pos x="connsiteX1" y="connsiteY1"/>
                  </a:cxn>
                  <a:cxn ang="0">
                    <a:pos x="connsiteX2" y="connsiteY2"/>
                  </a:cxn>
                </a:cxnLst>
                <a:rect l="l" t="t" r="r" b="b"/>
                <a:pathLst>
                  <a:path w="38100" h="66675">
                    <a:moveTo>
                      <a:pt x="38100" y="0"/>
                    </a:moveTo>
                    <a:lnTo>
                      <a:pt x="0" y="38100"/>
                    </a:lnTo>
                    <a:lnTo>
                      <a:pt x="0" y="66675"/>
                    </a:ln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4" name="Freeform: Shape 62">
                <a:extLst>
                  <a:ext uri="{FF2B5EF4-FFF2-40B4-BE49-F238E27FC236}">
                    <a16:creationId xmlns:a16="http://schemas.microsoft.com/office/drawing/2014/main" id="{2195C3ED-C374-4E91-8A52-BA355ECC5EA7}"/>
                  </a:ext>
                </a:extLst>
              </p:cNvPr>
              <p:cNvSpPr/>
              <p:nvPr/>
            </p:nvSpPr>
            <p:spPr>
              <a:xfrm>
                <a:off x="9248475" y="1284402"/>
                <a:ext cx="438150" cy="257175"/>
              </a:xfrm>
              <a:custGeom>
                <a:avLst/>
                <a:gdLst>
                  <a:gd name="connsiteX0" fmla="*/ 361950 w 438150"/>
                  <a:gd name="connsiteY0" fmla="*/ 257175 h 257175"/>
                  <a:gd name="connsiteX1" fmla="*/ 371475 w 438150"/>
                  <a:gd name="connsiteY1" fmla="*/ 257175 h 257175"/>
                  <a:gd name="connsiteX2" fmla="*/ 438150 w 438150"/>
                  <a:gd name="connsiteY2" fmla="*/ 190500 h 257175"/>
                  <a:gd name="connsiteX3" fmla="*/ 371475 w 438150"/>
                  <a:gd name="connsiteY3" fmla="*/ 123825 h 257175"/>
                  <a:gd name="connsiteX4" fmla="*/ 351473 w 438150"/>
                  <a:gd name="connsiteY4" fmla="*/ 126683 h 257175"/>
                  <a:gd name="connsiteX5" fmla="*/ 352425 w 438150"/>
                  <a:gd name="connsiteY5" fmla="*/ 114300 h 257175"/>
                  <a:gd name="connsiteX6" fmla="*/ 285750 w 438150"/>
                  <a:gd name="connsiteY6" fmla="*/ 47625 h 257175"/>
                  <a:gd name="connsiteX7" fmla="*/ 241935 w 438150"/>
                  <a:gd name="connsiteY7" fmla="*/ 63818 h 257175"/>
                  <a:gd name="connsiteX8" fmla="*/ 152400 w 438150"/>
                  <a:gd name="connsiteY8" fmla="*/ 0 h 257175"/>
                  <a:gd name="connsiteX9" fmla="*/ 57150 w 438150"/>
                  <a:gd name="connsiteY9" fmla="*/ 95250 h 257175"/>
                  <a:gd name="connsiteX10" fmla="*/ 61913 w 438150"/>
                  <a:gd name="connsiteY10" fmla="*/ 123825 h 257175"/>
                  <a:gd name="connsiteX11" fmla="*/ 0 w 438150"/>
                  <a:gd name="connsiteY11" fmla="*/ 190500 h 257175"/>
                  <a:gd name="connsiteX12" fmla="*/ 66675 w 438150"/>
                  <a:gd name="connsiteY12" fmla="*/ 257175 h 257175"/>
                  <a:gd name="connsiteX13" fmla="*/ 142875 w 438150"/>
                  <a:gd name="connsiteY13"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50" h="257175">
                    <a:moveTo>
                      <a:pt x="361950" y="257175"/>
                    </a:moveTo>
                    <a:lnTo>
                      <a:pt x="371475" y="257175"/>
                    </a:lnTo>
                    <a:cubicBezTo>
                      <a:pt x="408623" y="257175"/>
                      <a:pt x="438150" y="227648"/>
                      <a:pt x="438150" y="190500"/>
                    </a:cubicBezTo>
                    <a:cubicBezTo>
                      <a:pt x="438150" y="153353"/>
                      <a:pt x="408623" y="123825"/>
                      <a:pt x="371475" y="123825"/>
                    </a:cubicBezTo>
                    <a:cubicBezTo>
                      <a:pt x="364808" y="123825"/>
                      <a:pt x="357188" y="124778"/>
                      <a:pt x="351473" y="126683"/>
                    </a:cubicBezTo>
                    <a:cubicBezTo>
                      <a:pt x="352425" y="122873"/>
                      <a:pt x="352425" y="119063"/>
                      <a:pt x="352425" y="114300"/>
                    </a:cubicBezTo>
                    <a:cubicBezTo>
                      <a:pt x="352425" y="77153"/>
                      <a:pt x="322898" y="47625"/>
                      <a:pt x="285750" y="47625"/>
                    </a:cubicBezTo>
                    <a:cubicBezTo>
                      <a:pt x="269558" y="47625"/>
                      <a:pt x="254318" y="53340"/>
                      <a:pt x="241935" y="63818"/>
                    </a:cubicBezTo>
                    <a:cubicBezTo>
                      <a:pt x="229553" y="26670"/>
                      <a:pt x="194310" y="0"/>
                      <a:pt x="152400" y="0"/>
                    </a:cubicBezTo>
                    <a:cubicBezTo>
                      <a:pt x="100013" y="0"/>
                      <a:pt x="57150" y="42863"/>
                      <a:pt x="57150" y="95250"/>
                    </a:cubicBezTo>
                    <a:cubicBezTo>
                      <a:pt x="57150" y="105728"/>
                      <a:pt x="59055" y="115253"/>
                      <a:pt x="61913" y="123825"/>
                    </a:cubicBezTo>
                    <a:cubicBezTo>
                      <a:pt x="26670" y="126683"/>
                      <a:pt x="0" y="155258"/>
                      <a:pt x="0" y="190500"/>
                    </a:cubicBezTo>
                    <a:cubicBezTo>
                      <a:pt x="0" y="227648"/>
                      <a:pt x="29528" y="257175"/>
                      <a:pt x="66675" y="257175"/>
                    </a:cubicBezTo>
                    <a:lnTo>
                      <a:pt x="142875" y="257175"/>
                    </a:ln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5" name="Freeform: Shape 63">
                <a:extLst>
                  <a:ext uri="{FF2B5EF4-FFF2-40B4-BE49-F238E27FC236}">
                    <a16:creationId xmlns:a16="http://schemas.microsoft.com/office/drawing/2014/main" id="{B6834A96-EC62-4E65-B31F-057D2F95B56F}"/>
                  </a:ext>
                </a:extLst>
              </p:cNvPr>
              <p:cNvSpPr/>
              <p:nvPr/>
            </p:nvSpPr>
            <p:spPr>
              <a:xfrm>
                <a:off x="9490409" y="1348219"/>
                <a:ext cx="4762" cy="21907"/>
              </a:xfrm>
              <a:custGeom>
                <a:avLst/>
                <a:gdLst>
                  <a:gd name="connsiteX0" fmla="*/ 0 w 4762"/>
                  <a:gd name="connsiteY0" fmla="*/ 0 h 21907"/>
                  <a:gd name="connsiteX1" fmla="*/ 4763 w 4762"/>
                  <a:gd name="connsiteY1" fmla="*/ 21908 h 21907"/>
                </a:gdLst>
                <a:ahLst/>
                <a:cxnLst>
                  <a:cxn ang="0">
                    <a:pos x="connsiteX0" y="connsiteY0"/>
                  </a:cxn>
                  <a:cxn ang="0">
                    <a:pos x="connsiteX1" y="connsiteY1"/>
                  </a:cxn>
                </a:cxnLst>
                <a:rect l="l" t="t" r="r" b="b"/>
                <a:pathLst>
                  <a:path w="4762" h="21907">
                    <a:moveTo>
                      <a:pt x="0" y="0"/>
                    </a:moveTo>
                    <a:cubicBezTo>
                      <a:pt x="2858" y="6667"/>
                      <a:pt x="3810" y="14288"/>
                      <a:pt x="4763" y="21908"/>
                    </a:cubicBezTo>
                  </a:path>
                </a:pathLst>
              </a:custGeom>
              <a:noFill/>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6" name="Freeform: Shape 64">
                <a:extLst>
                  <a:ext uri="{FF2B5EF4-FFF2-40B4-BE49-F238E27FC236}">
                    <a16:creationId xmlns:a16="http://schemas.microsoft.com/office/drawing/2014/main" id="{20F9784A-6FBC-41FB-9FC6-BAB96F8DACCD}"/>
                  </a:ext>
                </a:extLst>
              </p:cNvPr>
              <p:cNvSpPr/>
              <p:nvPr/>
            </p:nvSpPr>
            <p:spPr>
              <a:xfrm>
                <a:off x="9591375" y="1411084"/>
                <a:ext cx="8572" cy="21907"/>
              </a:xfrm>
              <a:custGeom>
                <a:avLst/>
                <a:gdLst>
                  <a:gd name="connsiteX0" fmla="*/ 8573 w 8572"/>
                  <a:gd name="connsiteY0" fmla="*/ 0 h 21907"/>
                  <a:gd name="connsiteX1" fmla="*/ 0 w 8572"/>
                  <a:gd name="connsiteY1" fmla="*/ 21908 h 21907"/>
                </a:gdLst>
                <a:ahLst/>
                <a:cxnLst>
                  <a:cxn ang="0">
                    <a:pos x="connsiteX0" y="connsiteY0"/>
                  </a:cxn>
                  <a:cxn ang="0">
                    <a:pos x="connsiteX1" y="connsiteY1"/>
                  </a:cxn>
                </a:cxnLst>
                <a:rect l="l" t="t" r="r" b="b"/>
                <a:pathLst>
                  <a:path w="8572" h="21907">
                    <a:moveTo>
                      <a:pt x="8573" y="0"/>
                    </a:moveTo>
                    <a:cubicBezTo>
                      <a:pt x="6668" y="7620"/>
                      <a:pt x="3810" y="15240"/>
                      <a:pt x="0" y="21908"/>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7" name="Freeform: Shape 65">
                <a:extLst>
                  <a:ext uri="{FF2B5EF4-FFF2-40B4-BE49-F238E27FC236}">
                    <a16:creationId xmlns:a16="http://schemas.microsoft.com/office/drawing/2014/main" id="{F73D9E2B-29C9-429C-8BDF-A8B1ED8754EC}"/>
                  </a:ext>
                </a:extLst>
              </p:cNvPr>
              <p:cNvSpPr/>
              <p:nvPr/>
            </p:nvSpPr>
            <p:spPr>
              <a:xfrm>
                <a:off x="9310387" y="1407869"/>
                <a:ext cx="24765" cy="3214"/>
              </a:xfrm>
              <a:custGeom>
                <a:avLst/>
                <a:gdLst>
                  <a:gd name="connsiteX0" fmla="*/ 0 w 24765"/>
                  <a:gd name="connsiteY0" fmla="*/ 357 h 3214"/>
                  <a:gd name="connsiteX1" fmla="*/ 24765 w 24765"/>
                  <a:gd name="connsiteY1" fmla="*/ 3215 h 3214"/>
                </a:gdLst>
                <a:ahLst/>
                <a:cxnLst>
                  <a:cxn ang="0">
                    <a:pos x="connsiteX0" y="connsiteY0"/>
                  </a:cxn>
                  <a:cxn ang="0">
                    <a:pos x="connsiteX1" y="connsiteY1"/>
                  </a:cxn>
                </a:cxnLst>
                <a:rect l="l" t="t" r="r" b="b"/>
                <a:pathLst>
                  <a:path w="24765" h="3214">
                    <a:moveTo>
                      <a:pt x="0" y="357"/>
                    </a:moveTo>
                    <a:cubicBezTo>
                      <a:pt x="8572" y="-595"/>
                      <a:pt x="16192" y="357"/>
                      <a:pt x="24765" y="3215"/>
                    </a:cubicBezTo>
                  </a:path>
                </a:pathLst>
              </a:custGeom>
              <a:noFill/>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8" name="Freeform: Shape 66">
                <a:extLst>
                  <a:ext uri="{FF2B5EF4-FFF2-40B4-BE49-F238E27FC236}">
                    <a16:creationId xmlns:a16="http://schemas.microsoft.com/office/drawing/2014/main" id="{DD64FBDD-E327-46E2-91AC-20C634A66368}"/>
                  </a:ext>
                </a:extLst>
              </p:cNvPr>
              <p:cNvSpPr/>
              <p:nvPr/>
            </p:nvSpPr>
            <p:spPr>
              <a:xfrm>
                <a:off x="9419925" y="15987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69" name="Freeform: Shape 67">
                <a:extLst>
                  <a:ext uri="{FF2B5EF4-FFF2-40B4-BE49-F238E27FC236}">
                    <a16:creationId xmlns:a16="http://schemas.microsoft.com/office/drawing/2014/main" id="{A45DAF7B-58B0-416A-AA81-AB64EB94EA03}"/>
                  </a:ext>
                </a:extLst>
              </p:cNvPr>
              <p:cNvSpPr/>
              <p:nvPr/>
            </p:nvSpPr>
            <p:spPr>
              <a:xfrm>
                <a:off x="9419925" y="16368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70" name="Freeform: Shape 68">
                <a:extLst>
                  <a:ext uri="{FF2B5EF4-FFF2-40B4-BE49-F238E27FC236}">
                    <a16:creationId xmlns:a16="http://schemas.microsoft.com/office/drawing/2014/main" id="{CC8F0058-F4D8-4DB6-B5C9-9F6BF9490446}"/>
                  </a:ext>
                </a:extLst>
              </p:cNvPr>
              <p:cNvSpPr/>
              <p:nvPr/>
            </p:nvSpPr>
            <p:spPr>
              <a:xfrm>
                <a:off x="9496125" y="169397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defTabSz="913852"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sp>
            <p:nvSpPr>
              <p:cNvPr id="471" name="Freeform: Shape 69">
                <a:extLst>
                  <a:ext uri="{FF2B5EF4-FFF2-40B4-BE49-F238E27FC236}">
                    <a16:creationId xmlns:a16="http://schemas.microsoft.com/office/drawing/2014/main" id="{2FFB1F9A-CCCF-442D-B983-C91C1BC94292}"/>
                  </a:ext>
                </a:extLst>
              </p:cNvPr>
              <p:cNvSpPr/>
              <p:nvPr/>
            </p:nvSpPr>
            <p:spPr>
              <a:xfrm>
                <a:off x="9419925" y="1674927"/>
                <a:ext cx="9525" cy="19050"/>
              </a:xfrm>
              <a:custGeom>
                <a:avLst/>
                <a:gdLst>
                  <a:gd name="connsiteX0" fmla="*/ 0 w 9525"/>
                  <a:gd name="connsiteY0" fmla="*/ 0 h 19050"/>
                  <a:gd name="connsiteX1" fmla="*/ 0 w 9525"/>
                  <a:gd name="connsiteY1" fmla="*/ 19050 h 19050"/>
                </a:gdLst>
                <a:ahLst/>
                <a:cxnLst>
                  <a:cxn ang="0">
                    <a:pos x="connsiteX0" y="connsiteY0"/>
                  </a:cxn>
                  <a:cxn ang="0">
                    <a:pos x="connsiteX1" y="connsiteY1"/>
                  </a:cxn>
                </a:cxnLst>
                <a:rect l="l" t="t" r="r" b="b"/>
                <a:pathLst>
                  <a:path w="9525" h="19050">
                    <a:moveTo>
                      <a:pt x="0" y="0"/>
                    </a:moveTo>
                    <a:lnTo>
                      <a:pt x="0" y="19050"/>
                    </a:lnTo>
                  </a:path>
                </a:pathLst>
              </a:custGeom>
              <a:ln w="15875" cap="flat">
                <a:solidFill>
                  <a:schemeClr val="tx1">
                    <a:lumMod val="75000"/>
                  </a:schemeClr>
                </a:solidFill>
                <a:prstDash val="solid"/>
                <a:miter/>
              </a:ln>
            </p:spPr>
            <p:txBody>
              <a:bodyPr rtlCol="0" anchor="ctr"/>
              <a:lstStyle/>
              <a:p>
                <a:pPr algn="r" defTabSz="913852" rtl="1" fontAlgn="base">
                  <a:spcBef>
                    <a:spcPct val="20000"/>
                  </a:spcBef>
                  <a:spcAft>
                    <a:spcPct val="0"/>
                  </a:spcAft>
                  <a:buClr>
                    <a:srgbClr val="FF0000"/>
                  </a:buClr>
                  <a:buSzPct val="65000"/>
                  <a:defRPr/>
                </a:pPr>
                <a:endParaRPr lang="en-US" kern="1200" dirty="0">
                  <a:solidFill>
                    <a:srgbClr val="4D4D4F"/>
                  </a:solidFill>
                  <a:latin typeface="+mj-lt"/>
                  <a:ea typeface="+mn-ea"/>
                  <a:cs typeface="Calibri" panose="020F0502020204030204" pitchFamily="34" charset="0"/>
                </a:endParaRPr>
              </a:p>
            </p:txBody>
          </p:sp>
        </p:grpSp>
        <p:sp>
          <p:nvSpPr>
            <p:cNvPr id="313" name="TextBox 312">
              <a:extLst>
                <a:ext uri="{FF2B5EF4-FFF2-40B4-BE49-F238E27FC236}">
                  <a16:creationId xmlns:a16="http://schemas.microsoft.com/office/drawing/2014/main" id="{A1655CB5-CDFF-4C39-91A1-51496BDFC4CD}"/>
                </a:ext>
              </a:extLst>
            </p:cNvPr>
            <p:cNvSpPr txBox="1"/>
            <p:nvPr/>
          </p:nvSpPr>
          <p:spPr bwMode="auto">
            <a:xfrm>
              <a:off x="10149891" y="1736132"/>
              <a:ext cx="1534774" cy="307808"/>
            </a:xfrm>
            <a:prstGeom prst="rect">
              <a:avLst/>
            </a:prstGeom>
            <a:noFill/>
            <a:ln>
              <a:noFill/>
            </a:ln>
            <a:effectLst/>
          </p:spPr>
          <p:txBody>
            <a:bodyPr vert="horz" wrap="square" lIns="91392" tIns="45696" rIns="91392" bIns="45696" numCol="1" rtlCol="0" anchor="t" anchorCtr="0" compatLnSpc="1">
              <a:prstTxWarp prst="textNoShape">
                <a:avLst/>
              </a:prstTxWarp>
              <a:spAutoFit/>
            </a:bodyPr>
            <a:lstStyle/>
            <a:p>
              <a:pPr algn="ctr" defTabSz="913852" fontAlgn="base">
                <a:spcAft>
                  <a:spcPct val="0"/>
                </a:spcAft>
                <a:buClr>
                  <a:srgbClr val="FF0000"/>
                </a:buClr>
                <a:buSzPct val="65000"/>
                <a:defRPr/>
              </a:pPr>
              <a:r>
                <a:rPr lang="en-US" b="1" kern="1200" dirty="0">
                  <a:solidFill>
                    <a:srgbClr val="4D4D4F"/>
                  </a:solidFill>
                  <a:latin typeface="+mj-lt"/>
                  <a:ea typeface="+mn-ea"/>
                  <a:cs typeface="Calibri" panose="020F0502020204030204" pitchFamily="34" charset="0"/>
                </a:rPr>
                <a:t>CLOUD</a:t>
              </a:r>
            </a:p>
          </p:txBody>
        </p:sp>
      </p:grpSp>
      <p:sp>
        <p:nvSpPr>
          <p:cNvPr id="472" name="TextBox 471">
            <a:extLst>
              <a:ext uri="{FF2B5EF4-FFF2-40B4-BE49-F238E27FC236}">
                <a16:creationId xmlns:a16="http://schemas.microsoft.com/office/drawing/2014/main" id="{364E3CFB-73B8-437F-97D1-50D91A69D2DB}"/>
              </a:ext>
            </a:extLst>
          </p:cNvPr>
          <p:cNvSpPr txBox="1"/>
          <p:nvPr/>
        </p:nvSpPr>
        <p:spPr bwMode="auto">
          <a:xfrm rot="5400000">
            <a:off x="11007781" y="5004298"/>
            <a:ext cx="1560838"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On-Premise</a:t>
            </a:r>
            <a:endParaRPr lang="aa-ET" sz="1799" b="1" kern="1200" dirty="0">
              <a:solidFill>
                <a:srgbClr val="4D4D4F"/>
              </a:solidFill>
              <a:latin typeface="+mj-lt"/>
              <a:ea typeface="+mn-ea"/>
              <a:cs typeface="Calibri" panose="020F0502020204030204" pitchFamily="34" charset="0"/>
            </a:endParaRPr>
          </a:p>
        </p:txBody>
      </p:sp>
      <p:sp>
        <p:nvSpPr>
          <p:cNvPr id="473" name="TextBox 472">
            <a:extLst>
              <a:ext uri="{FF2B5EF4-FFF2-40B4-BE49-F238E27FC236}">
                <a16:creationId xmlns:a16="http://schemas.microsoft.com/office/drawing/2014/main" id="{8D518139-1C51-4AD7-B845-E6D0A7E8C904}"/>
              </a:ext>
            </a:extLst>
          </p:cNvPr>
          <p:cNvSpPr txBox="1"/>
          <p:nvPr/>
        </p:nvSpPr>
        <p:spPr bwMode="auto">
          <a:xfrm rot="5400000">
            <a:off x="11279172" y="2885457"/>
            <a:ext cx="930372"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Cloud</a:t>
            </a:r>
            <a:endParaRPr lang="aa-ET" sz="1799" b="1" kern="1200" dirty="0">
              <a:solidFill>
                <a:srgbClr val="4D4D4F"/>
              </a:solidFill>
              <a:latin typeface="+mj-lt"/>
              <a:ea typeface="+mn-ea"/>
              <a:cs typeface="Calibri" panose="020F0502020204030204" pitchFamily="34" charset="0"/>
            </a:endParaRPr>
          </a:p>
        </p:txBody>
      </p:sp>
      <p:sp>
        <p:nvSpPr>
          <p:cNvPr id="474" name="TextBox 473">
            <a:extLst>
              <a:ext uri="{FF2B5EF4-FFF2-40B4-BE49-F238E27FC236}">
                <a16:creationId xmlns:a16="http://schemas.microsoft.com/office/drawing/2014/main" id="{8D518139-1C51-4AD7-B845-E6D0A7E8C904}"/>
              </a:ext>
            </a:extLst>
          </p:cNvPr>
          <p:cNvSpPr txBox="1"/>
          <p:nvPr/>
        </p:nvSpPr>
        <p:spPr bwMode="auto">
          <a:xfrm rot="5400000">
            <a:off x="11365673" y="1713176"/>
            <a:ext cx="757370" cy="369236"/>
          </a:xfrm>
          <a:prstGeom prst="rect">
            <a:avLst/>
          </a:prstGeom>
          <a:noFill/>
          <a:ln>
            <a:noFill/>
          </a:ln>
          <a:effectLst/>
        </p:spPr>
        <p:txBody>
          <a:bodyPr vert="horz" wrap="square" lIns="91416" tIns="45708" rIns="91416" bIns="45708" numCol="1" rtlCol="0" anchor="ctr" anchorCtr="0" compatLnSpc="1">
            <a:prstTxWarp prst="textNoShape">
              <a:avLst/>
            </a:prstTxWarp>
            <a:spAutoFit/>
          </a:bodyPr>
          <a:lstStyle/>
          <a:p>
            <a:pPr defTabSz="914126">
              <a:buClrTx/>
              <a:defRPr/>
            </a:pPr>
            <a:r>
              <a:rPr lang="en-US" sz="1799" b="1" kern="1200" dirty="0">
                <a:solidFill>
                  <a:srgbClr val="4D4D4F"/>
                </a:solidFill>
                <a:latin typeface="+mj-lt"/>
                <a:ea typeface="+mn-ea"/>
                <a:cs typeface="Calibri" panose="020F0502020204030204" pitchFamily="34" charset="0"/>
              </a:rPr>
              <a:t>Web</a:t>
            </a:r>
            <a:endParaRPr lang="aa-ET" sz="1799" b="1" kern="1200" dirty="0">
              <a:solidFill>
                <a:srgbClr val="4D4D4F"/>
              </a:solidFill>
              <a:latin typeface="+mj-lt"/>
              <a:ea typeface="+mn-ea"/>
              <a:cs typeface="Calibri" panose="020F0502020204030204" pitchFamily="34" charset="0"/>
            </a:endParaRPr>
          </a:p>
        </p:txBody>
      </p:sp>
      <p:sp>
        <p:nvSpPr>
          <p:cNvPr id="3" name="Footer Placeholder 2" hidden="1"/>
          <p:cNvSpPr>
            <a:spLocks noGrp="1"/>
          </p:cNvSpPr>
          <p:nvPr>
            <p:ph type="ftr" sz="quarter" idx="11"/>
          </p:nvPr>
        </p:nvSpPr>
        <p:spPr/>
        <p:txBody>
          <a:bodyPr/>
          <a:lstStyle/>
          <a:p>
            <a:r>
              <a:rPr lang="en-US" dirty="0"/>
              <a:t> [Internal Use] for Check Point employees​</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7700" y="3372770"/>
            <a:ext cx="1112431" cy="1092205"/>
          </a:xfrm>
          <a:prstGeom prst="rect">
            <a:avLst/>
          </a:prstGeom>
        </p:spPr>
      </p:pic>
    </p:spTree>
    <p:extLst>
      <p:ext uri="{BB962C8B-B14F-4D97-AF65-F5344CB8AC3E}">
        <p14:creationId xmlns:p14="http://schemas.microsoft.com/office/powerpoint/2010/main" val="32031172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3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2.xml><?xml version="1.0" encoding="utf-8"?>
<a:theme xmlns:a="http://schemas.openxmlformats.org/drawingml/2006/main" name="4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3.xml><?xml version="1.0" encoding="utf-8"?>
<a:theme xmlns:a="http://schemas.openxmlformats.org/drawingml/2006/main" name="6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4.xml><?xml version="1.0" encoding="utf-8"?>
<a:theme xmlns:a="http://schemas.openxmlformats.org/drawingml/2006/main" name="5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5.xml><?xml version="1.0" encoding="utf-8"?>
<a:theme xmlns:a="http://schemas.openxmlformats.org/drawingml/2006/main" name="1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6.xml><?xml version="1.0" encoding="utf-8"?>
<a:theme xmlns:a="http://schemas.openxmlformats.org/drawingml/2006/main" name="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none" lIns="91440" tIns="45720" rIns="91440" bIns="45720" numCol="1" rtlCol="0" anchor="ctr" anchorCtr="0" compatLnSpc="1">
        <a:prstTxWarp prst="textNoShape">
          <a:avLst/>
        </a:prstTxWarp>
        <a:spAutoFit/>
      </a:bodyPr>
      <a:lstStyle>
        <a:defPPr>
          <a:spcBef>
            <a:spcPts val="0"/>
          </a:spcBef>
          <a:defRPr sz="2400" dirty="0" err="1" smtClean="0">
            <a:solidFill>
              <a:schemeClr val="bg2">
                <a:lumMod val="50000"/>
              </a:schemeClr>
            </a:solidFill>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618ECDDB-D929-4510-A940-912DE9E6A437}" vid="{DC4871D6-64F3-4FE2-A789-CEC1023A02AE}"/>
    </a:ext>
  </a:extLst>
</a:theme>
</file>

<file path=ppt/theme/theme7.xml><?xml version="1.0" encoding="utf-8"?>
<a:theme xmlns:a="http://schemas.openxmlformats.org/drawingml/2006/main" name="7_CP_CorpTemp2020 (1)">
  <a:themeElements>
    <a:clrScheme name="Custom 12">
      <a:dk1>
        <a:srgbClr val="4D4D4F"/>
      </a:dk1>
      <a:lt1>
        <a:srgbClr val="FFFFFF"/>
      </a:lt1>
      <a:dk2>
        <a:srgbClr val="920053"/>
      </a:dk2>
      <a:lt2>
        <a:srgbClr val="D51067"/>
      </a:lt2>
      <a:accent1>
        <a:srgbClr val="D51067"/>
      </a:accent1>
      <a:accent2>
        <a:srgbClr val="FF0000"/>
      </a:accent2>
      <a:accent3>
        <a:srgbClr val="FFC000"/>
      </a:accent3>
      <a:accent4>
        <a:srgbClr val="FF6600"/>
      </a:accent4>
      <a:accent5>
        <a:srgbClr val="B6DB19"/>
      </a:accent5>
      <a:accent6>
        <a:srgbClr val="002060"/>
      </a:accent6>
      <a:hlink>
        <a:srgbClr val="293896"/>
      </a:hlink>
      <a:folHlink>
        <a:srgbClr val="00B0F0"/>
      </a:folHlink>
    </a:clrScheme>
    <a:fontScheme name="Check Point 2016">
      <a:majorFont>
        <a:latin typeface="Calibri"/>
        <a:ea typeface=""/>
        <a:cs typeface=""/>
      </a:majorFont>
      <a:minorFont>
        <a:latin typeface="Calibri"/>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lgn="ctr">
          <a:no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80000"/>
          </a:lnSpc>
          <a:spcBef>
            <a:spcPts val="1200"/>
          </a:spcBef>
          <a:spcAft>
            <a:spcPts val="0"/>
          </a:spcAft>
          <a:buSzPct val="115000"/>
          <a:defRPr sz="2400" dirty="0" err="1" smtClean="0">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spPr>
      <a:bodyPr vert="horz" wrap="square" lIns="91440" tIns="45720" rIns="91440" bIns="45720" numCol="1" rtlCol="0" anchor="ctr" anchorCtr="0" compatLnSpc="1">
        <a:prstTxWarp prst="textNoShape">
          <a:avLst/>
        </a:prstTxWarp>
        <a:spAutoFit/>
      </a:bodyPr>
      <a:lstStyle>
        <a:defPPr>
          <a:spcBef>
            <a:spcPts val="0"/>
          </a:spcBef>
          <a:defRPr sz="2400" dirty="0" smtClean="0">
            <a:latin typeface="Arial" panose="020B0604020202020204" pitchFamily="34" charset="0"/>
            <a:cs typeface="Arial" panose="020B0604020202020204" pitchFamily="34" charset="0"/>
          </a:defRPr>
        </a:defPPr>
      </a:lstStyle>
    </a:txDef>
  </a:objectDefaults>
  <a:extraClrSchemeLst>
    <a:extraClrScheme>
      <a:clrScheme name="PPTtemplates_10_01_26_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s_10_01_26_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s_10_01_26_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s_10_01_26_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s_10_01_26_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s_10_01_26_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s_10_01_26_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s_10_01_26_rp 8">
        <a:dk1>
          <a:srgbClr val="4E4E4E"/>
        </a:dk1>
        <a:lt1>
          <a:srgbClr val="FFFFFF"/>
        </a:lt1>
        <a:dk2>
          <a:srgbClr val="245491"/>
        </a:dk2>
        <a:lt2>
          <a:srgbClr val="777777"/>
        </a:lt2>
        <a:accent1>
          <a:srgbClr val="6553A0"/>
        </a:accent1>
        <a:accent2>
          <a:srgbClr val="000073"/>
        </a:accent2>
        <a:accent3>
          <a:srgbClr val="FFFFFF"/>
        </a:accent3>
        <a:accent4>
          <a:srgbClr val="414141"/>
        </a:accent4>
        <a:accent5>
          <a:srgbClr val="B8B3CD"/>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
      <a:clrScheme name="PPTtemplates_10_01_26_rp 9">
        <a:dk1>
          <a:srgbClr val="4E4E4E"/>
        </a:dk1>
        <a:lt1>
          <a:srgbClr val="FFFFFF"/>
        </a:lt1>
        <a:dk2>
          <a:srgbClr val="245491"/>
        </a:dk2>
        <a:lt2>
          <a:srgbClr val="777777"/>
        </a:lt2>
        <a:accent1>
          <a:srgbClr val="95B8CF"/>
        </a:accent1>
        <a:accent2>
          <a:srgbClr val="000073"/>
        </a:accent2>
        <a:accent3>
          <a:srgbClr val="FFFFFF"/>
        </a:accent3>
        <a:accent4>
          <a:srgbClr val="414141"/>
        </a:accent4>
        <a:accent5>
          <a:srgbClr val="C8D8E4"/>
        </a:accent5>
        <a:accent6>
          <a:srgbClr val="000068"/>
        </a:accent6>
        <a:hlink>
          <a:srgbClr val="F06414"/>
        </a:hlink>
        <a:folHlink>
          <a:srgbClr val="A2B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025B39BA-F25C-447C-937E-96BAE47189D4}" vid="{505B4C0F-2AEF-4B5C-8F2D-E8965B74110E}"/>
    </a:ext>
  </a:extLst>
</a:theme>
</file>

<file path=ppt/theme/theme8.xml><?xml version="1.0" encoding="utf-8"?>
<a:theme xmlns:a="http://schemas.openxmlformats.org/drawingml/2006/main" name="Office Theme">
  <a:themeElements>
    <a:clrScheme name="Checkpoint">
      <a:dk1>
        <a:srgbClr val="4D4D4F"/>
      </a:dk1>
      <a:lt1>
        <a:srgbClr val="FFFFFF"/>
      </a:lt1>
      <a:dk2>
        <a:srgbClr val="777777"/>
      </a:dk2>
      <a:lt2>
        <a:srgbClr val="D5D5D5"/>
      </a:lt2>
      <a:accent1>
        <a:srgbClr val="F599B1"/>
      </a:accent1>
      <a:accent2>
        <a:srgbClr val="E45785"/>
      </a:accent2>
      <a:accent3>
        <a:srgbClr val="A82B52"/>
      </a:accent3>
      <a:accent4>
        <a:srgbClr val="72173D"/>
      </a:accent4>
      <a:accent5>
        <a:srgbClr val="E06025"/>
      </a:accent5>
      <a:accent6>
        <a:srgbClr val="FFE600"/>
      </a:accent6>
      <a:hlink>
        <a:srgbClr val="293896"/>
      </a:hlink>
      <a:folHlink>
        <a:srgbClr val="59235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e0cf9a1c-2cb1-4d38-9733-321b2d511f49}" enabled="1" method="Privileged" siteId="{612a5289-89a8-45c2-a40d-f36fadb6d37c}" contentBits="0" removed="0"/>
</clbl:labelList>
</file>

<file path=docProps/app.xml><?xml version="1.0" encoding="utf-8"?>
<Properties xmlns="http://schemas.openxmlformats.org/officeDocument/2006/extended-properties" xmlns:vt="http://schemas.openxmlformats.org/officeDocument/2006/docPropsVTypes">
  <Template/>
  <TotalTime>12626</TotalTime>
  <Words>4600</Words>
  <Application>Microsoft Office PowerPoint</Application>
  <PresentationFormat>Custom</PresentationFormat>
  <Paragraphs>564</Paragraphs>
  <Slides>31</Slides>
  <Notes>31</Notes>
  <HiddenSlides>1</HiddenSlides>
  <MMClips>0</MMClips>
  <ScaleCrop>false</ScaleCrop>
  <HeadingPairs>
    <vt:vector size="6" baseType="variant">
      <vt:variant>
        <vt:lpstr>Fonts Used</vt:lpstr>
      </vt:variant>
      <vt:variant>
        <vt:i4>10</vt:i4>
      </vt:variant>
      <vt:variant>
        <vt:lpstr>Theme</vt:lpstr>
      </vt:variant>
      <vt:variant>
        <vt:i4>7</vt:i4>
      </vt:variant>
      <vt:variant>
        <vt:lpstr>Slide Titles</vt:lpstr>
      </vt:variant>
      <vt:variant>
        <vt:i4>31</vt:i4>
      </vt:variant>
    </vt:vector>
  </HeadingPairs>
  <TitlesOfParts>
    <vt:vector size="48" baseType="lpstr">
      <vt:lpstr>Segoe UI</vt:lpstr>
      <vt:lpstr>Arial</vt:lpstr>
      <vt:lpstr>Arial Narrow</vt:lpstr>
      <vt:lpstr>Wingdings</vt:lpstr>
      <vt:lpstr>Noto Sans Symbols</vt:lpstr>
      <vt:lpstr>Helvetica</vt:lpstr>
      <vt:lpstr>Calibri</vt:lpstr>
      <vt:lpstr>Helvetica Neue</vt:lpstr>
      <vt:lpstr>Arial Black</vt:lpstr>
      <vt:lpstr>Ciscolight</vt:lpstr>
      <vt:lpstr>3_CP_CorpTemp2020 (1)</vt:lpstr>
      <vt:lpstr>4_CP_CorpTemp2020 (1)</vt:lpstr>
      <vt:lpstr>6_CP_CorpTemp2020 (1)</vt:lpstr>
      <vt:lpstr>5_CP_CorpTemp2020 (1)</vt:lpstr>
      <vt:lpstr>1_CP_CorpTemp2020 (1)</vt:lpstr>
      <vt:lpstr>CP_CorpTemp2020 (1)</vt:lpstr>
      <vt:lpstr>7_CP_CorpTemp2020 (1)</vt:lpstr>
      <vt:lpstr>PowerPoint Presentation</vt:lpstr>
      <vt:lpstr>PowerPoint Presentation</vt:lpstr>
      <vt:lpstr>PowerPoint Presentation</vt:lpstr>
      <vt:lpstr>PowerPoint Presentation</vt:lpstr>
      <vt:lpstr>THE NEW WORLD of the “everywhere employee”</vt:lpstr>
      <vt:lpstr>IN THE NEW WORLD  WE WANT TO USE ANY DEVICE TO ACCESS ANY APPLICATION</vt:lpstr>
      <vt:lpstr>IN THE NEW WORLD  WE WANT TO USE ANY DEVICE TO ACCESS ANY APPLICATION</vt:lpstr>
      <vt:lpstr>IN THE NEW WORLD  WE WANT TO USE ANY DEVICE TO ACCESS ANY APPLICATION</vt:lpstr>
      <vt:lpstr>CHECK POINT HARMONY  UNIFIED SECURITY FOR USERS &amp; AC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ST ZERO-DAY PROTECTION  POWERED BY THE WORLD’S MOST POWERFUL THREAT INTELLIGENCE AND 60+ SECURITY ENGINES </vt:lpstr>
      <vt:lpstr>PowerPoint Presentation</vt:lpstr>
      <vt:lpstr>HARMONY: 360° USER PROTECTION  AGAINST KNOWN AND ZERO-DAYS THREATS</vt:lpstr>
      <vt:lpstr>HARMONY: 360° MALWARE PROTECTION  </vt:lpstr>
      <vt:lpstr>HARMONY: 360° MALWARE PROTECTION</vt:lpstr>
      <vt:lpstr>HARMONY: 360° MALWARE PROTECTION</vt:lpstr>
      <vt:lpstr>HARMONY: 360° MALWARE PROTECTION</vt:lpstr>
      <vt:lpstr>PowerPoint Presentation</vt:lpstr>
      <vt:lpstr>HARMONY: 360° PHISHING PROTECTION  </vt:lpstr>
      <vt:lpstr>HARMONY: 360° DATA PROTECTION  </vt:lpstr>
      <vt:lpstr>PowerPoint Presentation</vt:lpstr>
      <vt:lpstr>REGISTER FOR OUR UPCOMING WEBINAR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ai Greenberg</dc:creator>
  <cp:lastModifiedBy>Steve Grimes</cp:lastModifiedBy>
  <cp:revision>282</cp:revision>
  <dcterms:created xsi:type="dcterms:W3CDTF">2020-10-04T20:46:00Z</dcterms:created>
  <dcterms:modified xsi:type="dcterms:W3CDTF">2024-02-29T14:3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
    <vt:lpwstr>NoClassification</vt:lpwstr>
  </property>
  <property fmtid="{D5CDD505-2E9C-101B-9397-08002B2CF9AE}" pid="3" name="ClassificationDisplay">
    <vt:lpwstr>[No Classification] </vt:lpwstr>
  </property>
  <property fmtid="{D5CDD505-2E9C-101B-9397-08002B2CF9AE}" pid="4" name="ClassificationEntries">
    <vt:lpwstr>50</vt:lpwstr>
  </property>
  <property fmtid="{D5CDD505-2E9C-101B-9397-08002B2CF9AE}" pid="5" name="Classification_1">
    <vt:lpwstr>WGB8ZnR5dHdGZkpmfmpwanSJPnOXICeDOz0rm46QczeDLSQubzs0Nj4nVFE=</vt:lpwstr>
  </property>
  <property fmtid="{D5CDD505-2E9C-101B-9397-08002B2CF9AE}" pid="6" name="Classification_2">
    <vt:lpwstr>WGB8ZnR5dHdGZEpifGp2YXSJPnOGKjqRIDAtgZ+dKSlIOjUgNYJfIS8pJSpATw==</vt:lpwstr>
  </property>
  <property fmtid="{D5CDD505-2E9C-101B-9397-08002B2CF9AE}" pid="7" name="Classification_3">
    <vt:lpwstr>WGB8ZnR5dHdGZEpifGp2Z3SJPnOVNzuDLDc8io9POjWWKS5+hjkhMjRcVA==</vt:lpwstr>
  </property>
  <property fmtid="{D5CDD505-2E9C-101B-9397-08002B2CF9AE}" pid="8" name="Classification_4">
    <vt:lpwstr>WGB8ZnR5dHdGZEpifGp2ZHSJPnONLDOfJS1oPY6HPDeaKzEgMFKWg5qNj1oiLyQ0NEBC</vt:lpwstr>
  </property>
  <property fmtid="{D5CDD505-2E9C-101B-9397-08002B2CF9AE}" pid="9" name="Classification_5">
    <vt:lpwstr>WGB1f2l7dXVVd0FidWJ8aGduU4mIfoaSOiA6hoiALSFIOjUgNYJfIS8pJSpATw==</vt:lpwstr>
  </property>
  <property fmtid="{D5CDD505-2E9C-101B-9397-08002B2CF9AE}" pid="10" name="Verifier">
    <vt:lpwstr>IyCHJSc6Ni2APpMzOzkqPA==</vt:lpwstr>
  </property>
  <property fmtid="{D5CDD505-2E9C-101B-9397-08002B2CF9AE}" pid="11" name="PolicyName">
    <vt:lpwstr>IyBkiiooNjePMZkxLiQsPTo=</vt:lpwstr>
  </property>
  <property fmtid="{D5CDD505-2E9C-101B-9397-08002B2CF9AE}" pid="12" name="Version">
    <vt:lpwstr>Xw==</vt:lpwstr>
  </property>
  <property fmtid="{D5CDD505-2E9C-101B-9397-08002B2CF9AE}" pid="13" name="PolicyID">
    <vt:lpwstr/>
  </property>
  <property fmtid="{D5CDD505-2E9C-101B-9397-08002B2CF9AE}" pid="14" name="DomainID">
    <vt:lpwstr/>
  </property>
  <property fmtid="{D5CDD505-2E9C-101B-9397-08002B2CF9AE}" pid="15" name="HText">
    <vt:lpwstr/>
  </property>
  <property fmtid="{D5CDD505-2E9C-101B-9397-08002B2CF9AE}" pid="16" name="FText">
    <vt:lpwstr/>
  </property>
  <property fmtid="{D5CDD505-2E9C-101B-9397-08002B2CF9AE}" pid="17" name="WMark">
    <vt:lpwstr/>
  </property>
  <property fmtid="{D5CDD505-2E9C-101B-9397-08002B2CF9AE}" pid="18" name="Set">
    <vt:lpwstr>Ky4oOiM=</vt:lpwstr>
  </property>
  <property fmtid="{D5CDD505-2E9C-101B-9397-08002B2CF9AE}" pid="19" name="Classification_6">
    <vt:lpwstr>W2B1eml7dXVVd0FidWR8aGZpU4mIfoaSOiA6hoiALSFILC4wJoaAkj+PjISTlJGalp6GQZOKn08tLiY8OigtIFY=</vt:lpwstr>
  </property>
  <property fmtid="{D5CDD505-2E9C-101B-9397-08002B2CF9AE}" pid="20" name="Classification_7">
    <vt:lpwstr>VWBzZnR5dHBGbkphfmp0anSYPnOGKjqRIDAtgZ+dKSlIKy8sNSmHm5qPj5Gflo+BUZOdgksmOD0oSDcrOSA=</vt:lpwstr>
  </property>
  <property fmtid="{D5CDD505-2E9C-101B-9397-08002B2CF9AE}" pid="21" name="Classification_8">
    <vt:lpwstr>VWBzZnR5dHBGbkpneGp0ZHSYPnOVNzuDLDc8io9PKy+aKYUmPIyHmI+DjY+EUYKakksxJTkkXzAsKT8=</vt:lpwstr>
  </property>
  <property fmtid="{D5CDD505-2E9C-101B-9397-08002B2CF9AE}" pid="22" name="Classification_9">
    <vt:lpwstr>VWBzZnR5dHBGZkBofmB/YGZ5MoV+jT2QITgxTzmROzGBISYxMY1fkJWFhSGTl4SWlICdhp6RXJeGiEgtPyUtPSIyMzs=</vt:lpwstr>
  </property>
  <property fmtid="{D5CDD505-2E9C-101B-9397-08002B2CF9AE}" pid="23" name="Classification_10">
    <vt:lpwstr>VWB8ZnR5dHBGZkpnfWp2YnSJPnOGKjqRIDAtgZ+dKSlIKy8sNSmHm5qPj5Gflo+BUZOdgksmOD0oSDcrOSA=</vt:lpwstr>
  </property>
  <property fmtid="{D5CDD505-2E9C-101B-9397-08002B2CF9AE}" pid="24" name="Classification_11">
    <vt:lpwstr>VWB8ZnR5dHBGZkpne2p3ZHSJPnOVNzuDLDc8io9PKy+aKYUmPIyHmI+DjY+EUYKakksxJTkkXzAsKT8=</vt:lpwstr>
  </property>
  <property fmtid="{D5CDD505-2E9C-101B-9397-08002B2CF9AE}" pid="25" name="Classification_12">
    <vt:lpwstr>VGB9ZnR5dHBGY0pgd2p0a3SJPnOGKjqRIDAtgZ+dKSlIKy8sNSmHm5qPj5Gflo+BUZOdgksmOD0oSD5YQlxcPVZH</vt:lpwstr>
  </property>
  <property fmtid="{D5CDD505-2E9C-101B-9397-08002B2CF9AE}" pid="26" name="Classification_13">
    <vt:lpwstr>VGB9ZnR5dHBGY0pgd2p2YXSJPnOVNzuDLDc8io9PKy+aKYUmPIyHmI+DjY+EUYKakksxJTkkXzlfUkNeWFxc</vt:lpwstr>
  </property>
  <property fmtid="{D5CDD505-2E9C-101B-9397-08002B2CF9AE}" pid="27" name="Classification_14">
    <vt:lpwstr>XH5re3Zmd3RXY1BhdWVyaGRgU5iIfpeYJzIhi46aPCySJH4mPoCFM5yEgYKbj46ckYRcjJ+ISTcjLDJDOFpbIFZaT0Y=</vt:lpwstr>
  </property>
  <property fmtid="{D5CDD505-2E9C-101B-9397-08002B2CF9AE}" pid="28" name="Classification_15">
    <vt:lpwstr>XH5re3Zmd3RXY1BmdWBxaGVuU5iIfoSFJiAtjJ+RLH6QIiwklIqMlpyHlI6ZkZVbnJ+fVDMvOzVEKEVZRVxBIFc=</vt:lpwstr>
  </property>
  <property fmtid="{D5CDD505-2E9C-101B-9397-08002B2CF9AE}" pid="29" name="Classification_16">
    <vt:lpwstr>XH1rfWl7dXVSd0FidWF8aGZhU4mIfoaSOiA6hoiALSFIKy8sNSmHm5qPj5Gflo+BUZOdgksmOD0oSD5YQlxcPVZG</vt:lpwstr>
  </property>
  <property fmtid="{D5CDD505-2E9C-101B-9397-08002B2CF9AE}" pid="30" name="Classification_17">
    <vt:lpwstr>XH1rfWl7dXVSd0FidWF8aGdhU4mIfoSFJiAtjJ+RLH6QIiwklIqMlpyHlI6ZkZVbnJ+fVDMvOzVEKEVZRVxBIFc=</vt:lpwstr>
  </property>
  <property fmtid="{D5CDD505-2E9C-101B-9397-08002B2CF9AE}" pid="31" name="Classification_18">
    <vt:lpwstr>XH1rfWl7dXVSd0FidWNzaGFpU4mIfpeYJzIhi46aPCySJH4mPoCFM5yEgYKbj46ckYRcjJ+ISTcjLDJDOFpbIFZaT0Y=</vt:lpwstr>
  </property>
  <property fmtid="{D5CDD505-2E9C-101B-9397-08002B2CF9AE}" pid="32" name="Classification_19">
    <vt:lpwstr>XH1rfWl7dXVSd0FidWN9aGRtU4mIfoSFJiAtjJ+RLH6QIiwklIqMlpyHlI6ZkZVbnJ+fVDMvOzVEKEVZRVxBIFc=</vt:lpwstr>
  </property>
  <property fmtid="{D5CDD505-2E9C-101B-9397-08002B2CF9AE}" pid="33" name="Classification_20">
    <vt:lpwstr>XH1rcWl7dXVSd0NofmR/Z2x5I4V+iztXijgpnJidLiyQKTEsO4dfmYuEi4yAjI41nJiXjJuVnZ2HkV2NmoFXWjI/MDogLCBPLiAvOENc</vt:lpwstr>
  </property>
  <property fmtid="{D5CDD505-2E9C-101B-9397-08002B2CF9AE}" pid="34" name="Classification_21">
    <vt:lpwstr>XH1reHBmd3RXY1Bjf2p1ZW5sQWiEiG8lLCc8nYKXPCCXc36PgCErPi8/K0w0Oi05T0E=</vt:lpwstr>
  </property>
  <property fmtid="{D5CDD505-2E9C-101B-9397-08002B2CF9AE}" pid="35" name="Classification_22">
    <vt:lpwstr>XH1reHBmd3RXY1Bjf2p1am5pR2iEiG8nOzs8ioiALSFIIjEtO4SUgJAsh4mVnIqFkJmcm16GnZlSLycmOiE8QylaOzI8M19T</vt:lpwstr>
  </property>
  <property fmtid="{D5CDD505-2E9C-101B-9397-08002B2CF9AE}" pid="36" name="Classification_23">
    <vt:lpwstr>XH1re3Nmd3RXY1BjfWpxYm5rR2iViG85JnSLg4qHOyyVISYkIICLnUSei4SZjCGWl5WRhICKm5qdS5CBmFc/US41Pjw6LQ==</vt:lpwstr>
  </property>
  <property fmtid="{D5CDD505-2E9C-101B-9397-08002B2CF9AE}" pid="37" name="Classification_24">
    <vt:lpwstr>XGB1cGl7dXVTd0FidWN3aGBqU4mIfoaSOiA6hoiALSFIc4aPnShJPklbVFFdT1A=</vt:lpwstr>
  </property>
  <property fmtid="{D5CDD505-2E9C-101B-9397-08002B2CF9AE}" pid="38" name="Classification_25">
    <vt:lpwstr>XGB1cGl7dXVTd0FidWR8aGZvU4mIfoSFJiAtjJ+RLH6QIiwklIqMlpyHlI6ZkZVbnJ+fVDMvOzVEKEVZRVxBIFc=</vt:lpwstr>
  </property>
  <property fmtid="{D5CDD505-2E9C-101B-9397-08002B2CF9AE}" pid="39" name="Classification_26">
    <vt:lpwstr>XGB1cGl7dXVTd0FidWV1aGdrU4mIfpeYJzIhi46aPCySJH4mPoCFM5yEgYKbj46ckYRcjJ+ISTcjLDJDOFpbIFZaT0Y=</vt:lpwstr>
  </property>
  <property fmtid="{D5CDD505-2E9C-101B-9397-08002B2CF9AE}" pid="40" name="Classification_27">
    <vt:lpwstr>XGB1cGl7dXVTd0FidWV0aGZgU4mIfoSFJiAtjJ+RLH6QIiwklIqMlpyHlI6ZkZVbnJ+fVDMvOzVEKEVZRVxBIFc=</vt:lpwstr>
  </property>
  <property fmtid="{D5CDD505-2E9C-101B-9397-08002B2CF9AE}" pid="41" name="Classification_28">
    <vt:lpwstr>XGB2eWl7dXVTd0lofml/Ymx5MoV+iztXijgpnJidLiyQKTEsO4dfkJWFhSGTl4SWlICdhp6RXJeGiEgtPyUtPStBSEdAUl9T</vt:lpwstr>
  </property>
  <property fmtid="{D5CDD505-2E9C-101B-9397-08002B2CF9AE}" pid="42" name="Classification_29">
    <vt:lpwstr>XGB2eWl7dXVTd0lofWd/Y2d5MoV+lzGEPSYhjJ+RLH5Ii4+MlUQpRUhcVExATg==</vt:lpwstr>
  </property>
  <property fmtid="{D5CDD505-2E9C-101B-9397-08002B2CF9AE}" pid="43" name="Classification_30">
    <vt:lpwstr>XGB2eWl7dXVTd0lofWh/Z2x5MoV+iztXijgpnJidLiyQKTEsO4dfkJWFhSGTl4SWlICdhp6RXJeGiEgtPyUtPStBSEdAUl9T</vt:lpwstr>
  </property>
  <property fmtid="{D5CDD505-2E9C-101B-9397-08002B2CF9AE}" pid="44" name="Classification_31">
    <vt:lpwstr>XGB2eWl7dXVTd0lofGR/YWd5MoV+lzGEPSYhjJ+RLH5Ii4+MlUQpRUhcVExATg==</vt:lpwstr>
  </property>
  <property fmtid="{D5CDD505-2E9C-101B-9397-08002B2CF9AE}" pid="45" name="Classification_32">
    <vt:lpwstr>XGB2eWl7dXVTd0lofGV/Ym15MoV+iztXijgpnJidLiyQKTEsO4dfkJWFhSGTl4SWlICdhp6RXJeGiEgtPyUtPStBSEdAUl9T</vt:lpwstr>
  </property>
  <property fmtid="{D5CDD505-2E9C-101B-9397-08002B2CF9AE}" pid="46" name="Classification_33">
    <vt:lpwstr>XGB2eWl7dXVTd0loe2B/Y2R5MoV+lzGEPSYhjJ+RLH5Ii4+MlUQpRUhcVExATg==</vt:lpwstr>
  </property>
  <property fmtid="{D5CDD505-2E9C-101B-9397-08002B2CF9AE}" pid="47" name="Classification_34">
    <vt:lpwstr>XGB2eWl7dXVTd0loe2J/YWZ5MoV+iztXijgpnJidLiyQKTEsO4dfkJWFhSGTl4SWlICdhp6RXJeGiEgtPyUtPStBSEdAUl9T</vt:lpwstr>
  </property>
  <property fmtid="{D5CDD505-2E9C-101B-9397-08002B2CF9AE}" pid="48" name="Classification_35">
    <vt:lpwstr>XGB2eWl7dXVTd0Fof2F/Z2d5I4V+lzGEPSYhjJ+RLH5Ii4+MlUQpRUhcVExATg==</vt:lpwstr>
  </property>
  <property fmtid="{D5CDD505-2E9C-101B-9397-08002B2CF9AE}" pid="49" name="Classification_36">
    <vt:lpwstr>XGB2eWl7dXVTd0FoemB/Ymd5I4V+iztXijgpnJidLiyQKTEsO4dfmYuEi4yAjI41nJiXjJuVnZ2HkV2NmoFXWjI/MDogLCBPLiAvOENc</vt:lpwstr>
  </property>
  <property fmtid="{D5CDD505-2E9C-101B-9397-08002B2CF9AE}" pid="50" name="Classification_37">
    <vt:lpwstr>XGB2eWl7dXVTd0Nofmd/Y2B5I4V+lzGEPSYhjJ+RLH5Ii4+MlUQpRUhcVExATg==</vt:lpwstr>
  </property>
  <property fmtid="{D5CDD505-2E9C-101B-9397-08002B2CF9AE}" pid="51" name="Classification_38">
    <vt:lpwstr>XGB2eWl7dXVTd0Nofmd/YGV5I4V+iztXijgpnJidLiyQKTEsO4dfkJWFhSGTl4SWlICdhp6RXJeGiEgtPyUtPStBSEdAUl9T</vt:lpwstr>
  </property>
  <property fmtid="{D5CDD505-2E9C-101B-9397-08002B2CF9AE}" pid="52" name="Classification_39">
    <vt:lpwstr>XGB2eWl7dXVTd0NofGZ/Y2N5I4V+lzGEPSYhjJ+RLH5IgpGNmyQ0IDBBICQ8M1FE</vt:lpwstr>
  </property>
  <property fmtid="{D5CDD505-2E9C-101B-9397-08002B2CF9AE}" pid="53" name="Classification_40">
    <vt:lpwstr>XGB2eWl7dXVTd0dof2Z/YWd5I4V+iztXijgpnJidLiyQKTEsO4dfkJWFhSGTl4SWlICdhp6RXJeGiEgtPyUtPStBSEdAUl9T</vt:lpwstr>
  </property>
  <property fmtid="{D5CDD505-2E9C-101B-9397-08002B2CF9AE}" pid="54" name="Classification_41">
    <vt:lpwstr>XGB2eGl7dXVTd0lofmd/ZmN5MoV+lzGEPSYhjJ+RLH5Ii4+MlUQpRUhcVExATg==</vt:lpwstr>
  </property>
  <property fmtid="{D5CDD505-2E9C-101B-9397-08002B2CF9AE}" pid="55" name="Classification_42">
    <vt:lpwstr>XGB2eGl7dXVTd0FidWF2aGFuU4mIfpqYaZckjpiHISOaKyQxPYaKSJyGjYAwnImQnJuCgJmLhlqKip5VNiYlUUs6SUBAT0JSWw==</vt:lpwstr>
  </property>
  <property fmtid="{D5CDD505-2E9C-101B-9397-08002B2CF9AE}" pid="56" name="Classification_43">
    <vt:lpwstr>XGB2eGl7dXVTd0FidWFxaGdgU4mIfoaSOiA6hoiALSFIKy8sNSmHm5qPj5Gflo+BUZOdgksmOD0oSD5YQlxcPVZG</vt:lpwstr>
  </property>
  <property fmtid="{D5CDD505-2E9C-101B-9397-08002B2CF9AE}" pid="57" name="Classification_44">
    <vt:lpwstr>XGB2eGl7dXVTd0FidWFwaGFvU4mIfoSFJiAtjJ+RLH6QIiwklIqMlpyHlI6ZkZVbnJ+fVDMvOzVEKEVZRVxBIFc=</vt:lpwstr>
  </property>
  <property fmtid="{D5CDD505-2E9C-101B-9397-08002B2CF9AE}" pid="58" name="Classification_45">
    <vt:lpwstr>XGB2eGl7dXVTd0FidWFyaGRhU4mIfpqYaZckjpiHISOaKyQxPYaKSJyGjYAwnImQnJuCgJmLhlqKip5VNiYlUUs6SUBAT0JSWw==</vt:lpwstr>
  </property>
  <property fmtid="{D5CDD505-2E9C-101B-9397-08002B2CF9AE}" pid="59" name="Classification_46">
    <vt:lpwstr>XGB2cWl7dXVTd0FidWN3aGdtU4mIfpeYJzIhi46aPCySJH4mPoCFM5yEgYKbj46ckYRcjJ+ISTcjLDJDOFpbIFZaT0Y=</vt:lpwstr>
  </property>
  <property fmtid="{D5CDD505-2E9C-101B-9397-08002B2CF9AE}" pid="60" name="Classification_47">
    <vt:lpwstr>XGB2cWl7dXVTd0FidWN3aGBhU4mIfoSFJiAtjJ+RLH6QIiwklIqMlpyHlI6ZkZVbnJ+fVDMvOzVEKEVZRVxBIFc=</vt:lpwstr>
  </property>
  <property fmtid="{D5CDD505-2E9C-101B-9397-08002B2CF9AE}" pid="61" name="Classification_48">
    <vt:lpwstr>XGB2cWl7dXVTd0FidWN3aGFuU4mIfpqYaZckjpiHISOaKyQxPYaKSJyGjYAwnImQnJuCgJmLhlqKip5VNiYlUUs6SUBAT0JSWw==</vt:lpwstr>
  </property>
  <property fmtid="{D5CDD505-2E9C-101B-9397-08002B2CF9AE}" pid="62" name="Classification_49">
    <vt:lpwstr>XGB2cWl7dXVTd0FidWN2aGRqU4mIfoaSOiA6hoiALSFIKy8sNSmHm5qPj5Gflo+BUZOdgksmOD0oSD5YQlxcPVZG</vt:lpwstr>
  </property>
  <property fmtid="{D5CDD505-2E9C-101B-9397-08002B2CF9AE}" pid="63" name="Classification_50">
    <vt:lpwstr>XGB2cWl7dXVTd0FidWN2aGRgU4mIfoSFJiAtjJ+RLH6QIiwklIqMlpyHlI6ZkZVbnJ+fVDMvOzVEKEVZRVxBIFc=</vt:lpwstr>
  </property>
  <property fmtid="{D5CDD505-2E9C-101B-9397-08002B2CF9AE}" pid="64" name="lqminfo">
    <vt:i4>3</vt:i4>
  </property>
  <property fmtid="{D5CDD505-2E9C-101B-9397-08002B2CF9AE}" pid="65" name="lqmsess">
    <vt:lpwstr>1a5f720e-7d00-4620-88a5-38245ece3927</vt:lpwstr>
  </property>
</Properties>
</file>